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42" r:id="rId2"/>
    <p:sldId id="343" r:id="rId3"/>
    <p:sldId id="344" r:id="rId4"/>
    <p:sldId id="345" r:id="rId5"/>
    <p:sldId id="346" r:id="rId6"/>
    <p:sldId id="312" r:id="rId7"/>
    <p:sldId id="323" r:id="rId8"/>
    <p:sldId id="338" r:id="rId9"/>
    <p:sldId id="328" r:id="rId10"/>
    <p:sldId id="339" r:id="rId11"/>
    <p:sldId id="326" r:id="rId12"/>
    <p:sldId id="337" r:id="rId13"/>
    <p:sldId id="341" r:id="rId14"/>
    <p:sldId id="318" r:id="rId15"/>
    <p:sldId id="340" r:id="rId16"/>
  </p:sldIdLst>
  <p:sldSz cx="9144000" cy="6858000" type="screen4x3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93" autoAdjust="0"/>
    <p:restoredTop sz="97257" autoAdjust="0"/>
  </p:normalViewPr>
  <p:slideViewPr>
    <p:cSldViewPr>
      <p:cViewPr>
        <p:scale>
          <a:sx n="110" d="100"/>
          <a:sy n="110" d="100"/>
        </p:scale>
        <p:origin x="-170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9840" cy="497682"/>
          </a:xfrm>
          <a:prstGeom prst="rect">
            <a:avLst/>
          </a:prstGeom>
        </p:spPr>
        <p:txBody>
          <a:bodyPr vert="horz" lIns="91537" tIns="45769" rIns="91537" bIns="4576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187" y="4"/>
            <a:ext cx="2949840" cy="497682"/>
          </a:xfrm>
          <a:prstGeom prst="rect">
            <a:avLst/>
          </a:prstGeom>
        </p:spPr>
        <p:txBody>
          <a:bodyPr vert="horz" lIns="91537" tIns="45769" rIns="91537" bIns="45769" rtlCol="0"/>
          <a:lstStyle>
            <a:lvl1pPr algn="r">
              <a:defRPr sz="1200"/>
            </a:lvl1pPr>
          </a:lstStyle>
          <a:p>
            <a:fld id="{5238A60F-1780-460B-9A11-B329CEFC4796}" type="datetimeFigureOut">
              <a:rPr lang="ru-RU" smtClean="0"/>
              <a:pPr/>
              <a:t>10.09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44832"/>
            <a:ext cx="2949840" cy="497682"/>
          </a:xfrm>
          <a:prstGeom prst="rect">
            <a:avLst/>
          </a:prstGeom>
        </p:spPr>
        <p:txBody>
          <a:bodyPr vert="horz" lIns="91537" tIns="45769" rIns="91537" bIns="4576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187" y="9444832"/>
            <a:ext cx="2949840" cy="497682"/>
          </a:xfrm>
          <a:prstGeom prst="rect">
            <a:avLst/>
          </a:prstGeom>
        </p:spPr>
        <p:txBody>
          <a:bodyPr vert="horz" lIns="91537" tIns="45769" rIns="91537" bIns="45769" rtlCol="0" anchor="b"/>
          <a:lstStyle>
            <a:lvl1pPr algn="r">
              <a:defRPr sz="1200"/>
            </a:lvl1pPr>
          </a:lstStyle>
          <a:p>
            <a:fld id="{BF25C2A9-248C-4D34-8841-3719B513141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95777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5"/>
            <a:ext cx="2949099" cy="497204"/>
          </a:xfrm>
          <a:prstGeom prst="rect">
            <a:avLst/>
          </a:prstGeom>
        </p:spPr>
        <p:txBody>
          <a:bodyPr vert="horz" lIns="91537" tIns="45769" rIns="91537" bIns="4576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2" y="5"/>
            <a:ext cx="2949099" cy="497204"/>
          </a:xfrm>
          <a:prstGeom prst="rect">
            <a:avLst/>
          </a:prstGeom>
        </p:spPr>
        <p:txBody>
          <a:bodyPr vert="horz" lIns="91537" tIns="45769" rIns="91537" bIns="45769" rtlCol="0"/>
          <a:lstStyle>
            <a:lvl1pPr algn="r">
              <a:defRPr sz="1200"/>
            </a:lvl1pPr>
          </a:lstStyle>
          <a:p>
            <a:fld id="{3DB86BD8-3B78-42AF-AFBD-3D03C0771501}" type="datetimeFigureOut">
              <a:rPr lang="ru-RU" smtClean="0"/>
              <a:pPr/>
              <a:t>10.09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37" tIns="45769" rIns="91537" bIns="4576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23450"/>
            <a:ext cx="5444490" cy="4474844"/>
          </a:xfrm>
          <a:prstGeom prst="rect">
            <a:avLst/>
          </a:prstGeom>
        </p:spPr>
        <p:txBody>
          <a:bodyPr vert="horz" lIns="91537" tIns="45769" rIns="91537" bIns="45769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45175"/>
            <a:ext cx="2949099" cy="497204"/>
          </a:xfrm>
          <a:prstGeom prst="rect">
            <a:avLst/>
          </a:prstGeom>
        </p:spPr>
        <p:txBody>
          <a:bodyPr vert="horz" lIns="91537" tIns="45769" rIns="91537" bIns="4576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2" y="9445175"/>
            <a:ext cx="2949099" cy="497204"/>
          </a:xfrm>
          <a:prstGeom prst="rect">
            <a:avLst/>
          </a:prstGeom>
        </p:spPr>
        <p:txBody>
          <a:bodyPr vert="horz" lIns="91537" tIns="45769" rIns="91537" bIns="45769" rtlCol="0" anchor="b"/>
          <a:lstStyle>
            <a:lvl1pPr algn="r">
              <a:defRPr sz="1200"/>
            </a:lvl1pPr>
          </a:lstStyle>
          <a:p>
            <a:fld id="{46F108EE-6A2F-4161-9531-140CACC422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8681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701F06-A59E-4506-B91B-C876447002F1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3667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2B69E2-7C4F-4C23-A62B-6ECB71BF1991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85669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6125"/>
            <a:ext cx="497205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EFF89-3693-4147-8591-602B3780B0F0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5637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2B69E2-7C4F-4C23-A62B-6ECB71BF1991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43284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2B69E2-7C4F-4C23-A62B-6ECB71BF1991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80217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2B69E2-7C4F-4C23-A62B-6ECB71BF1991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8021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2B69E2-7C4F-4C23-A62B-6ECB71BF1991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11954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2B69E2-7C4F-4C23-A62B-6ECB71BF1991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8021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717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32C764BD-A6A6-4410-858D-97329F58333D}" type="slidenum">
              <a:rPr lang="ru-RU" altLang="ru-RU" smtClean="0"/>
              <a:pPr>
                <a:defRPr/>
              </a:pPr>
              <a:t>11</a:t>
            </a:fld>
            <a:endParaRPr lang="ru-RU" alt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1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jpe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.xml"/><Relationship Id="rId9" Type="http://schemas.openxmlformats.org/officeDocument/2006/relationships/oleObject" Target="../embeddings/_____Microsoft_Excel_97-20031.xls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_____Microsoft_Excel_97-20033.xls"/><Relationship Id="rId3" Type="http://schemas.openxmlformats.org/officeDocument/2006/relationships/image" Target="../media/image10.png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_____Microsoft_Excel_97-20032.xls"/><Relationship Id="rId4" Type="http://schemas.openxmlformats.org/officeDocument/2006/relationships/oleObject" Target="../embeddings/oleObject2.bin"/><Relationship Id="rId9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7.png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2.jpe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ctrTitle"/>
          </p:nvPr>
        </p:nvSpPr>
        <p:spPr>
          <a:xfrm>
            <a:off x="1308589" y="2334359"/>
            <a:ext cx="6751026" cy="1947496"/>
          </a:xfrm>
        </p:spPr>
        <p:txBody>
          <a:bodyPr>
            <a:normAutofit fontScale="90000"/>
          </a:bodyPr>
          <a:lstStyle/>
          <a:p>
            <a:r>
              <a:rPr lang="ru-RU" altLang="ru-RU" sz="2585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altLang="ru-RU" sz="2585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kk-KZ" sz="3100" b="1" dirty="0" smtClean="0">
                <a:latin typeface="+mn-lt"/>
                <a:cs typeface="Arial" panose="020B0604020202020204" pitchFamily="34" charset="0"/>
              </a:rPr>
              <a:t>«Нұрлы жол» инфрақұрылымды дамытудың 2015 – 2019 жылдарға арналған мемлекеттік </a:t>
            </a:r>
            <a:r>
              <a:rPr lang="kk-KZ" sz="3100" b="1" dirty="0" smtClean="0">
                <a:latin typeface="+mn-lt"/>
                <a:cs typeface="Arial" panose="020B0604020202020204" pitchFamily="34" charset="0"/>
              </a:rPr>
              <a:t>бағдарламасы шеңберінде автомобиль жолдарын дамыту»</a:t>
            </a:r>
            <a:r>
              <a:rPr lang="ru-RU" altLang="ru-RU" sz="2700" b="1" dirty="0" smtClean="0">
                <a:latin typeface="+mn-lt"/>
                <a:cs typeface="Arial" panose="020B0604020202020204" pitchFamily="34" charset="0"/>
              </a:rPr>
              <a:t/>
            </a:r>
            <a:br>
              <a:rPr lang="ru-RU" altLang="ru-RU" sz="2700" b="1" dirty="0" smtClean="0">
                <a:latin typeface="+mn-lt"/>
                <a:cs typeface="Arial" panose="020B0604020202020204" pitchFamily="34" charset="0"/>
              </a:rPr>
            </a:br>
            <a:endParaRPr lang="ru-RU" altLang="ru-RU" sz="2215" i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885092" y="6600896"/>
            <a:ext cx="7174523" cy="212480"/>
          </a:xfrm>
          <a:prstGeom prst="rect">
            <a:avLst/>
          </a:prstGeom>
        </p:spPr>
        <p:txBody>
          <a:bodyPr lIns="77913" tIns="38957" rIns="77913" bIns="38957" anchor="ctr">
            <a:noAutofit/>
          </a:bodyPr>
          <a:lstStyle>
            <a:lvl1pPr algn="ctr" defTabSz="1007970" rtl="0" eaLnBrk="1" latinLnBrk="0" hangingPunct="1"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200" b="1" dirty="0" smtClean="0">
                <a:latin typeface="+mn-lt"/>
                <a:cs typeface="Arial" pitchFamily="34" charset="0"/>
              </a:rPr>
              <a:t>қыркүйек 2018 </a:t>
            </a:r>
            <a:r>
              <a:rPr lang="ru-RU" sz="1200" b="1" dirty="0">
                <a:latin typeface="+mn-lt"/>
                <a:cs typeface="Arial" pitchFamily="34" charset="0"/>
              </a:rPr>
              <a:t>ж., Астана қ</a:t>
            </a:r>
            <a:r>
              <a:rPr lang="ru-RU" sz="1200" b="1" dirty="0" smtClean="0">
                <a:latin typeface="+mn-lt"/>
                <a:cs typeface="Arial" pitchFamily="34" charset="0"/>
              </a:rPr>
              <a:t>.</a:t>
            </a:r>
            <a:endParaRPr lang="ru-RU" sz="1200" b="1" dirty="0">
              <a:latin typeface="+mn-lt"/>
              <a:cs typeface="Arial" pitchFamily="34" charset="0"/>
            </a:endParaRPr>
          </a:p>
        </p:txBody>
      </p:sp>
      <p:sp>
        <p:nvSpPr>
          <p:cNvPr id="4101" name="TextBox 1"/>
          <p:cNvSpPr txBox="1">
            <a:spLocks noChangeArrowheads="1"/>
          </p:cNvSpPr>
          <p:nvPr/>
        </p:nvSpPr>
        <p:spPr bwMode="auto">
          <a:xfrm>
            <a:off x="1308590" y="615463"/>
            <a:ext cx="751188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latin typeface="+mn-lt"/>
              </a:rPr>
              <a:t>ҚАЗАҚСТАН РЕСПУБЛИКАСЫ ИНВЕСТИТЦИЯЛАР ЖӘНЕ ДАМУ МИНИСТРЛІГІ</a:t>
            </a:r>
            <a:endParaRPr lang="ru-RU" altLang="ru-RU" sz="1600" b="1" dirty="0">
              <a:latin typeface="+mn-lt"/>
            </a:endParaRPr>
          </a:p>
        </p:txBody>
      </p:sp>
      <p:pic>
        <p:nvPicPr>
          <p:cNvPr id="4102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859" y="375139"/>
            <a:ext cx="688731" cy="681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1152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олилиния 45"/>
          <p:cNvSpPr/>
          <p:nvPr/>
        </p:nvSpPr>
        <p:spPr>
          <a:xfrm>
            <a:off x="7098261" y="4571999"/>
            <a:ext cx="803002" cy="473087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noFill/>
          <a:ln w="762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7705"/>
            <a:ext cx="9144000" cy="5641277"/>
          </a:xfrm>
          <a:prstGeom prst="rect">
            <a:avLst/>
          </a:prstGeom>
          <a:ln w="6350">
            <a:solidFill>
              <a:schemeClr val="bg1"/>
            </a:solidFill>
            <a:prstDash val="dash"/>
          </a:ln>
        </p:spPr>
      </p:pic>
      <p:sp>
        <p:nvSpPr>
          <p:cNvPr id="6" name="Полилиния 5"/>
          <p:cNvSpPr/>
          <p:nvPr/>
        </p:nvSpPr>
        <p:spPr>
          <a:xfrm>
            <a:off x="4285979" y="4692268"/>
            <a:ext cx="991769" cy="1140824"/>
          </a:xfrm>
          <a:custGeom>
            <a:avLst/>
            <a:gdLst>
              <a:gd name="connsiteX0" fmla="*/ 0 w 991769"/>
              <a:gd name="connsiteY0" fmla="*/ 9742 h 1140824"/>
              <a:gd name="connsiteX1" fmla="*/ 65005 w 991769"/>
              <a:gd name="connsiteY1" fmla="*/ 1075 h 1140824"/>
              <a:gd name="connsiteX2" fmla="*/ 95340 w 991769"/>
              <a:gd name="connsiteY2" fmla="*/ 31410 h 1140824"/>
              <a:gd name="connsiteX3" fmla="*/ 134343 w 991769"/>
              <a:gd name="connsiteY3" fmla="*/ 53078 h 1140824"/>
              <a:gd name="connsiteX4" fmla="*/ 160345 w 991769"/>
              <a:gd name="connsiteY4" fmla="*/ 74747 h 1140824"/>
              <a:gd name="connsiteX5" fmla="*/ 212349 w 991769"/>
              <a:gd name="connsiteY5" fmla="*/ 135418 h 1140824"/>
              <a:gd name="connsiteX6" fmla="*/ 255685 w 991769"/>
              <a:gd name="connsiteY6" fmla="*/ 170087 h 1140824"/>
              <a:gd name="connsiteX7" fmla="*/ 299022 w 991769"/>
              <a:gd name="connsiteY7" fmla="*/ 226424 h 1140824"/>
              <a:gd name="connsiteX8" fmla="*/ 342358 w 991769"/>
              <a:gd name="connsiteY8" fmla="*/ 239425 h 1140824"/>
              <a:gd name="connsiteX9" fmla="*/ 377027 w 991769"/>
              <a:gd name="connsiteY9" fmla="*/ 261093 h 1140824"/>
              <a:gd name="connsiteX10" fmla="*/ 433365 w 991769"/>
              <a:gd name="connsiteY10" fmla="*/ 343433 h 1140824"/>
              <a:gd name="connsiteX11" fmla="*/ 502703 w 991769"/>
              <a:gd name="connsiteY11" fmla="*/ 404104 h 1140824"/>
              <a:gd name="connsiteX12" fmla="*/ 585042 w 991769"/>
              <a:gd name="connsiteY12" fmla="*/ 477776 h 1140824"/>
              <a:gd name="connsiteX13" fmla="*/ 645714 w 991769"/>
              <a:gd name="connsiteY13" fmla="*/ 508111 h 1140824"/>
              <a:gd name="connsiteX14" fmla="*/ 715052 w 991769"/>
              <a:gd name="connsiteY14" fmla="*/ 560115 h 1140824"/>
              <a:gd name="connsiteX15" fmla="*/ 788724 w 991769"/>
              <a:gd name="connsiteY15" fmla="*/ 620786 h 1140824"/>
              <a:gd name="connsiteX16" fmla="*/ 840728 w 991769"/>
              <a:gd name="connsiteY16" fmla="*/ 646788 h 1140824"/>
              <a:gd name="connsiteX17" fmla="*/ 905732 w 991769"/>
              <a:gd name="connsiteY17" fmla="*/ 703126 h 1140824"/>
              <a:gd name="connsiteX18" fmla="*/ 940402 w 991769"/>
              <a:gd name="connsiteY18" fmla="*/ 798466 h 1140824"/>
              <a:gd name="connsiteX19" fmla="*/ 988072 w 991769"/>
              <a:gd name="connsiteY19" fmla="*/ 833135 h 1140824"/>
              <a:gd name="connsiteX20" fmla="*/ 988072 w 991769"/>
              <a:gd name="connsiteY20" fmla="*/ 872138 h 1140824"/>
              <a:gd name="connsiteX21" fmla="*/ 983738 w 991769"/>
              <a:gd name="connsiteY21" fmla="*/ 954477 h 1140824"/>
              <a:gd name="connsiteX22" fmla="*/ 970737 w 991769"/>
              <a:gd name="connsiteY22" fmla="*/ 1002148 h 1140824"/>
              <a:gd name="connsiteX23" fmla="*/ 940402 w 991769"/>
              <a:gd name="connsiteY23" fmla="*/ 1010815 h 1140824"/>
              <a:gd name="connsiteX24" fmla="*/ 936068 w 991769"/>
              <a:gd name="connsiteY24" fmla="*/ 1062819 h 1140824"/>
              <a:gd name="connsiteX25" fmla="*/ 944735 w 991769"/>
              <a:gd name="connsiteY25" fmla="*/ 1119156 h 1140824"/>
              <a:gd name="connsiteX26" fmla="*/ 944735 w 991769"/>
              <a:gd name="connsiteY26" fmla="*/ 1140824 h 1140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91769" h="1140824">
                <a:moveTo>
                  <a:pt x="0" y="9742"/>
                </a:moveTo>
                <a:cubicBezTo>
                  <a:pt x="24557" y="3603"/>
                  <a:pt x="49115" y="-2536"/>
                  <a:pt x="65005" y="1075"/>
                </a:cubicBezTo>
                <a:cubicBezTo>
                  <a:pt x="80895" y="4686"/>
                  <a:pt x="83784" y="22743"/>
                  <a:pt x="95340" y="31410"/>
                </a:cubicBezTo>
                <a:cubicBezTo>
                  <a:pt x="106896" y="40077"/>
                  <a:pt x="123509" y="45855"/>
                  <a:pt x="134343" y="53078"/>
                </a:cubicBezTo>
                <a:cubicBezTo>
                  <a:pt x="145177" y="60301"/>
                  <a:pt x="147344" y="61024"/>
                  <a:pt x="160345" y="74747"/>
                </a:cubicBezTo>
                <a:cubicBezTo>
                  <a:pt x="173346" y="88470"/>
                  <a:pt x="196459" y="119528"/>
                  <a:pt x="212349" y="135418"/>
                </a:cubicBezTo>
                <a:cubicBezTo>
                  <a:pt x="228239" y="151308"/>
                  <a:pt x="241240" y="154919"/>
                  <a:pt x="255685" y="170087"/>
                </a:cubicBezTo>
                <a:cubicBezTo>
                  <a:pt x="270130" y="185255"/>
                  <a:pt x="284577" y="214868"/>
                  <a:pt x="299022" y="226424"/>
                </a:cubicBezTo>
                <a:cubicBezTo>
                  <a:pt x="313467" y="237980"/>
                  <a:pt x="329357" y="233647"/>
                  <a:pt x="342358" y="239425"/>
                </a:cubicBezTo>
                <a:cubicBezTo>
                  <a:pt x="355359" y="245203"/>
                  <a:pt x="361859" y="243758"/>
                  <a:pt x="377027" y="261093"/>
                </a:cubicBezTo>
                <a:cubicBezTo>
                  <a:pt x="392195" y="278428"/>
                  <a:pt x="412419" y="319598"/>
                  <a:pt x="433365" y="343433"/>
                </a:cubicBezTo>
                <a:cubicBezTo>
                  <a:pt x="454311" y="367268"/>
                  <a:pt x="502703" y="404104"/>
                  <a:pt x="502703" y="404104"/>
                </a:cubicBezTo>
                <a:cubicBezTo>
                  <a:pt x="527982" y="426494"/>
                  <a:pt x="561207" y="460442"/>
                  <a:pt x="585042" y="477776"/>
                </a:cubicBezTo>
                <a:cubicBezTo>
                  <a:pt x="608877" y="495110"/>
                  <a:pt x="624046" y="494388"/>
                  <a:pt x="645714" y="508111"/>
                </a:cubicBezTo>
                <a:cubicBezTo>
                  <a:pt x="667382" y="521834"/>
                  <a:pt x="691217" y="541336"/>
                  <a:pt x="715052" y="560115"/>
                </a:cubicBezTo>
                <a:cubicBezTo>
                  <a:pt x="738887" y="578894"/>
                  <a:pt x="767778" y="606341"/>
                  <a:pt x="788724" y="620786"/>
                </a:cubicBezTo>
                <a:cubicBezTo>
                  <a:pt x="809670" y="635231"/>
                  <a:pt x="821227" y="633065"/>
                  <a:pt x="840728" y="646788"/>
                </a:cubicBezTo>
                <a:cubicBezTo>
                  <a:pt x="860229" y="660511"/>
                  <a:pt x="889120" y="677846"/>
                  <a:pt x="905732" y="703126"/>
                </a:cubicBezTo>
                <a:cubicBezTo>
                  <a:pt x="922344" y="728406"/>
                  <a:pt x="926679" y="776798"/>
                  <a:pt x="940402" y="798466"/>
                </a:cubicBezTo>
                <a:cubicBezTo>
                  <a:pt x="954125" y="820134"/>
                  <a:pt x="980127" y="820856"/>
                  <a:pt x="988072" y="833135"/>
                </a:cubicBezTo>
                <a:cubicBezTo>
                  <a:pt x="996017" y="845414"/>
                  <a:pt x="988794" y="851914"/>
                  <a:pt x="988072" y="872138"/>
                </a:cubicBezTo>
                <a:cubicBezTo>
                  <a:pt x="987350" y="892362"/>
                  <a:pt x="986627" y="932809"/>
                  <a:pt x="983738" y="954477"/>
                </a:cubicBezTo>
                <a:cubicBezTo>
                  <a:pt x="980849" y="976145"/>
                  <a:pt x="977960" y="992758"/>
                  <a:pt x="970737" y="1002148"/>
                </a:cubicBezTo>
                <a:cubicBezTo>
                  <a:pt x="963514" y="1011538"/>
                  <a:pt x="946180" y="1000703"/>
                  <a:pt x="940402" y="1010815"/>
                </a:cubicBezTo>
                <a:cubicBezTo>
                  <a:pt x="934624" y="1020927"/>
                  <a:pt x="935346" y="1044762"/>
                  <a:pt x="936068" y="1062819"/>
                </a:cubicBezTo>
                <a:cubicBezTo>
                  <a:pt x="936790" y="1080876"/>
                  <a:pt x="943291" y="1106155"/>
                  <a:pt x="944735" y="1119156"/>
                </a:cubicBezTo>
                <a:cubicBezTo>
                  <a:pt x="946179" y="1132157"/>
                  <a:pt x="945457" y="1136490"/>
                  <a:pt x="944735" y="1140824"/>
                </a:cubicBezTo>
              </a:path>
            </a:pathLst>
          </a:custGeom>
          <a:noFill/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олилиния 6"/>
          <p:cNvSpPr/>
          <p:nvPr/>
        </p:nvSpPr>
        <p:spPr>
          <a:xfrm>
            <a:off x="4277312" y="4658673"/>
            <a:ext cx="1022739" cy="1183087"/>
          </a:xfrm>
          <a:custGeom>
            <a:avLst/>
            <a:gdLst>
              <a:gd name="connsiteX0" fmla="*/ 0 w 991769"/>
              <a:gd name="connsiteY0" fmla="*/ 9742 h 1140824"/>
              <a:gd name="connsiteX1" fmla="*/ 65005 w 991769"/>
              <a:gd name="connsiteY1" fmla="*/ 1075 h 1140824"/>
              <a:gd name="connsiteX2" fmla="*/ 95340 w 991769"/>
              <a:gd name="connsiteY2" fmla="*/ 31410 h 1140824"/>
              <a:gd name="connsiteX3" fmla="*/ 134343 w 991769"/>
              <a:gd name="connsiteY3" fmla="*/ 53078 h 1140824"/>
              <a:gd name="connsiteX4" fmla="*/ 160345 w 991769"/>
              <a:gd name="connsiteY4" fmla="*/ 74747 h 1140824"/>
              <a:gd name="connsiteX5" fmla="*/ 212349 w 991769"/>
              <a:gd name="connsiteY5" fmla="*/ 135418 h 1140824"/>
              <a:gd name="connsiteX6" fmla="*/ 255685 w 991769"/>
              <a:gd name="connsiteY6" fmla="*/ 170087 h 1140824"/>
              <a:gd name="connsiteX7" fmla="*/ 299022 w 991769"/>
              <a:gd name="connsiteY7" fmla="*/ 226424 h 1140824"/>
              <a:gd name="connsiteX8" fmla="*/ 342358 w 991769"/>
              <a:gd name="connsiteY8" fmla="*/ 239425 h 1140824"/>
              <a:gd name="connsiteX9" fmla="*/ 377027 w 991769"/>
              <a:gd name="connsiteY9" fmla="*/ 261093 h 1140824"/>
              <a:gd name="connsiteX10" fmla="*/ 433365 w 991769"/>
              <a:gd name="connsiteY10" fmla="*/ 343433 h 1140824"/>
              <a:gd name="connsiteX11" fmla="*/ 502703 w 991769"/>
              <a:gd name="connsiteY11" fmla="*/ 404104 h 1140824"/>
              <a:gd name="connsiteX12" fmla="*/ 585042 w 991769"/>
              <a:gd name="connsiteY12" fmla="*/ 477776 h 1140824"/>
              <a:gd name="connsiteX13" fmla="*/ 645714 w 991769"/>
              <a:gd name="connsiteY13" fmla="*/ 508111 h 1140824"/>
              <a:gd name="connsiteX14" fmla="*/ 715052 w 991769"/>
              <a:gd name="connsiteY14" fmla="*/ 560115 h 1140824"/>
              <a:gd name="connsiteX15" fmla="*/ 788724 w 991769"/>
              <a:gd name="connsiteY15" fmla="*/ 620786 h 1140824"/>
              <a:gd name="connsiteX16" fmla="*/ 840728 w 991769"/>
              <a:gd name="connsiteY16" fmla="*/ 646788 h 1140824"/>
              <a:gd name="connsiteX17" fmla="*/ 905732 w 991769"/>
              <a:gd name="connsiteY17" fmla="*/ 703126 h 1140824"/>
              <a:gd name="connsiteX18" fmla="*/ 940402 w 991769"/>
              <a:gd name="connsiteY18" fmla="*/ 798466 h 1140824"/>
              <a:gd name="connsiteX19" fmla="*/ 988072 w 991769"/>
              <a:gd name="connsiteY19" fmla="*/ 833135 h 1140824"/>
              <a:gd name="connsiteX20" fmla="*/ 988072 w 991769"/>
              <a:gd name="connsiteY20" fmla="*/ 872138 h 1140824"/>
              <a:gd name="connsiteX21" fmla="*/ 983738 w 991769"/>
              <a:gd name="connsiteY21" fmla="*/ 954477 h 1140824"/>
              <a:gd name="connsiteX22" fmla="*/ 970737 w 991769"/>
              <a:gd name="connsiteY22" fmla="*/ 1002148 h 1140824"/>
              <a:gd name="connsiteX23" fmla="*/ 940402 w 991769"/>
              <a:gd name="connsiteY23" fmla="*/ 1010815 h 1140824"/>
              <a:gd name="connsiteX24" fmla="*/ 936068 w 991769"/>
              <a:gd name="connsiteY24" fmla="*/ 1062819 h 1140824"/>
              <a:gd name="connsiteX25" fmla="*/ 944735 w 991769"/>
              <a:gd name="connsiteY25" fmla="*/ 1119156 h 1140824"/>
              <a:gd name="connsiteX26" fmla="*/ 944735 w 991769"/>
              <a:gd name="connsiteY26" fmla="*/ 1140824 h 1140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91769" h="1140824">
                <a:moveTo>
                  <a:pt x="0" y="9742"/>
                </a:moveTo>
                <a:cubicBezTo>
                  <a:pt x="24557" y="3603"/>
                  <a:pt x="49115" y="-2536"/>
                  <a:pt x="65005" y="1075"/>
                </a:cubicBezTo>
                <a:cubicBezTo>
                  <a:pt x="80895" y="4686"/>
                  <a:pt x="83784" y="22743"/>
                  <a:pt x="95340" y="31410"/>
                </a:cubicBezTo>
                <a:cubicBezTo>
                  <a:pt x="106896" y="40077"/>
                  <a:pt x="123509" y="45855"/>
                  <a:pt x="134343" y="53078"/>
                </a:cubicBezTo>
                <a:cubicBezTo>
                  <a:pt x="145177" y="60301"/>
                  <a:pt x="147344" y="61024"/>
                  <a:pt x="160345" y="74747"/>
                </a:cubicBezTo>
                <a:cubicBezTo>
                  <a:pt x="173346" y="88470"/>
                  <a:pt x="196459" y="119528"/>
                  <a:pt x="212349" y="135418"/>
                </a:cubicBezTo>
                <a:cubicBezTo>
                  <a:pt x="228239" y="151308"/>
                  <a:pt x="241240" y="154919"/>
                  <a:pt x="255685" y="170087"/>
                </a:cubicBezTo>
                <a:cubicBezTo>
                  <a:pt x="270130" y="185255"/>
                  <a:pt x="284577" y="214868"/>
                  <a:pt x="299022" y="226424"/>
                </a:cubicBezTo>
                <a:cubicBezTo>
                  <a:pt x="313467" y="237980"/>
                  <a:pt x="329357" y="233647"/>
                  <a:pt x="342358" y="239425"/>
                </a:cubicBezTo>
                <a:cubicBezTo>
                  <a:pt x="355359" y="245203"/>
                  <a:pt x="361859" y="243758"/>
                  <a:pt x="377027" y="261093"/>
                </a:cubicBezTo>
                <a:cubicBezTo>
                  <a:pt x="392195" y="278428"/>
                  <a:pt x="412419" y="319598"/>
                  <a:pt x="433365" y="343433"/>
                </a:cubicBezTo>
                <a:cubicBezTo>
                  <a:pt x="454311" y="367268"/>
                  <a:pt x="502703" y="404104"/>
                  <a:pt x="502703" y="404104"/>
                </a:cubicBezTo>
                <a:cubicBezTo>
                  <a:pt x="527982" y="426494"/>
                  <a:pt x="561207" y="460442"/>
                  <a:pt x="585042" y="477776"/>
                </a:cubicBezTo>
                <a:cubicBezTo>
                  <a:pt x="608877" y="495110"/>
                  <a:pt x="624046" y="494388"/>
                  <a:pt x="645714" y="508111"/>
                </a:cubicBezTo>
                <a:cubicBezTo>
                  <a:pt x="667382" y="521834"/>
                  <a:pt x="691217" y="541336"/>
                  <a:pt x="715052" y="560115"/>
                </a:cubicBezTo>
                <a:cubicBezTo>
                  <a:pt x="738887" y="578894"/>
                  <a:pt x="767778" y="606341"/>
                  <a:pt x="788724" y="620786"/>
                </a:cubicBezTo>
                <a:cubicBezTo>
                  <a:pt x="809670" y="635231"/>
                  <a:pt x="821227" y="633065"/>
                  <a:pt x="840728" y="646788"/>
                </a:cubicBezTo>
                <a:cubicBezTo>
                  <a:pt x="860229" y="660511"/>
                  <a:pt x="889120" y="677846"/>
                  <a:pt x="905732" y="703126"/>
                </a:cubicBezTo>
                <a:cubicBezTo>
                  <a:pt x="922344" y="728406"/>
                  <a:pt x="926679" y="776798"/>
                  <a:pt x="940402" y="798466"/>
                </a:cubicBezTo>
                <a:cubicBezTo>
                  <a:pt x="954125" y="820134"/>
                  <a:pt x="980127" y="820856"/>
                  <a:pt x="988072" y="833135"/>
                </a:cubicBezTo>
                <a:cubicBezTo>
                  <a:pt x="996017" y="845414"/>
                  <a:pt x="988794" y="851914"/>
                  <a:pt x="988072" y="872138"/>
                </a:cubicBezTo>
                <a:cubicBezTo>
                  <a:pt x="987350" y="892362"/>
                  <a:pt x="986627" y="932809"/>
                  <a:pt x="983738" y="954477"/>
                </a:cubicBezTo>
                <a:cubicBezTo>
                  <a:pt x="980849" y="976145"/>
                  <a:pt x="977960" y="992758"/>
                  <a:pt x="970737" y="1002148"/>
                </a:cubicBezTo>
                <a:cubicBezTo>
                  <a:pt x="963514" y="1011538"/>
                  <a:pt x="946180" y="1000703"/>
                  <a:pt x="940402" y="1010815"/>
                </a:cubicBezTo>
                <a:cubicBezTo>
                  <a:pt x="934624" y="1020927"/>
                  <a:pt x="935346" y="1044762"/>
                  <a:pt x="936068" y="1062819"/>
                </a:cubicBezTo>
                <a:cubicBezTo>
                  <a:pt x="936790" y="1080876"/>
                  <a:pt x="943291" y="1106155"/>
                  <a:pt x="944735" y="1119156"/>
                </a:cubicBezTo>
                <a:cubicBezTo>
                  <a:pt x="946179" y="1132157"/>
                  <a:pt x="945457" y="1136490"/>
                  <a:pt x="944735" y="1140824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олилиния 7"/>
          <p:cNvSpPr/>
          <p:nvPr/>
        </p:nvSpPr>
        <p:spPr>
          <a:xfrm>
            <a:off x="4277313" y="4719344"/>
            <a:ext cx="975071" cy="1100746"/>
          </a:xfrm>
          <a:custGeom>
            <a:avLst/>
            <a:gdLst>
              <a:gd name="connsiteX0" fmla="*/ 0 w 991769"/>
              <a:gd name="connsiteY0" fmla="*/ 9742 h 1140824"/>
              <a:gd name="connsiteX1" fmla="*/ 65005 w 991769"/>
              <a:gd name="connsiteY1" fmla="*/ 1075 h 1140824"/>
              <a:gd name="connsiteX2" fmla="*/ 95340 w 991769"/>
              <a:gd name="connsiteY2" fmla="*/ 31410 h 1140824"/>
              <a:gd name="connsiteX3" fmla="*/ 134343 w 991769"/>
              <a:gd name="connsiteY3" fmla="*/ 53078 h 1140824"/>
              <a:gd name="connsiteX4" fmla="*/ 160345 w 991769"/>
              <a:gd name="connsiteY4" fmla="*/ 74747 h 1140824"/>
              <a:gd name="connsiteX5" fmla="*/ 212349 w 991769"/>
              <a:gd name="connsiteY5" fmla="*/ 135418 h 1140824"/>
              <a:gd name="connsiteX6" fmla="*/ 255685 w 991769"/>
              <a:gd name="connsiteY6" fmla="*/ 170087 h 1140824"/>
              <a:gd name="connsiteX7" fmla="*/ 299022 w 991769"/>
              <a:gd name="connsiteY7" fmla="*/ 226424 h 1140824"/>
              <a:gd name="connsiteX8" fmla="*/ 342358 w 991769"/>
              <a:gd name="connsiteY8" fmla="*/ 239425 h 1140824"/>
              <a:gd name="connsiteX9" fmla="*/ 377027 w 991769"/>
              <a:gd name="connsiteY9" fmla="*/ 261093 h 1140824"/>
              <a:gd name="connsiteX10" fmla="*/ 433365 w 991769"/>
              <a:gd name="connsiteY10" fmla="*/ 343433 h 1140824"/>
              <a:gd name="connsiteX11" fmla="*/ 502703 w 991769"/>
              <a:gd name="connsiteY11" fmla="*/ 404104 h 1140824"/>
              <a:gd name="connsiteX12" fmla="*/ 585042 w 991769"/>
              <a:gd name="connsiteY12" fmla="*/ 477776 h 1140824"/>
              <a:gd name="connsiteX13" fmla="*/ 645714 w 991769"/>
              <a:gd name="connsiteY13" fmla="*/ 508111 h 1140824"/>
              <a:gd name="connsiteX14" fmla="*/ 715052 w 991769"/>
              <a:gd name="connsiteY14" fmla="*/ 560115 h 1140824"/>
              <a:gd name="connsiteX15" fmla="*/ 788724 w 991769"/>
              <a:gd name="connsiteY15" fmla="*/ 620786 h 1140824"/>
              <a:gd name="connsiteX16" fmla="*/ 840728 w 991769"/>
              <a:gd name="connsiteY16" fmla="*/ 646788 h 1140824"/>
              <a:gd name="connsiteX17" fmla="*/ 905732 w 991769"/>
              <a:gd name="connsiteY17" fmla="*/ 703126 h 1140824"/>
              <a:gd name="connsiteX18" fmla="*/ 940402 w 991769"/>
              <a:gd name="connsiteY18" fmla="*/ 798466 h 1140824"/>
              <a:gd name="connsiteX19" fmla="*/ 988072 w 991769"/>
              <a:gd name="connsiteY19" fmla="*/ 833135 h 1140824"/>
              <a:gd name="connsiteX20" fmla="*/ 988072 w 991769"/>
              <a:gd name="connsiteY20" fmla="*/ 872138 h 1140824"/>
              <a:gd name="connsiteX21" fmla="*/ 983738 w 991769"/>
              <a:gd name="connsiteY21" fmla="*/ 954477 h 1140824"/>
              <a:gd name="connsiteX22" fmla="*/ 970737 w 991769"/>
              <a:gd name="connsiteY22" fmla="*/ 1002148 h 1140824"/>
              <a:gd name="connsiteX23" fmla="*/ 940402 w 991769"/>
              <a:gd name="connsiteY23" fmla="*/ 1010815 h 1140824"/>
              <a:gd name="connsiteX24" fmla="*/ 936068 w 991769"/>
              <a:gd name="connsiteY24" fmla="*/ 1062819 h 1140824"/>
              <a:gd name="connsiteX25" fmla="*/ 944735 w 991769"/>
              <a:gd name="connsiteY25" fmla="*/ 1119156 h 1140824"/>
              <a:gd name="connsiteX26" fmla="*/ 944735 w 991769"/>
              <a:gd name="connsiteY26" fmla="*/ 1140824 h 1140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91769" h="1140824">
                <a:moveTo>
                  <a:pt x="0" y="9742"/>
                </a:moveTo>
                <a:cubicBezTo>
                  <a:pt x="24557" y="3603"/>
                  <a:pt x="49115" y="-2536"/>
                  <a:pt x="65005" y="1075"/>
                </a:cubicBezTo>
                <a:cubicBezTo>
                  <a:pt x="80895" y="4686"/>
                  <a:pt x="83784" y="22743"/>
                  <a:pt x="95340" y="31410"/>
                </a:cubicBezTo>
                <a:cubicBezTo>
                  <a:pt x="106896" y="40077"/>
                  <a:pt x="123509" y="45855"/>
                  <a:pt x="134343" y="53078"/>
                </a:cubicBezTo>
                <a:cubicBezTo>
                  <a:pt x="145177" y="60301"/>
                  <a:pt x="147344" y="61024"/>
                  <a:pt x="160345" y="74747"/>
                </a:cubicBezTo>
                <a:cubicBezTo>
                  <a:pt x="173346" y="88470"/>
                  <a:pt x="196459" y="119528"/>
                  <a:pt x="212349" y="135418"/>
                </a:cubicBezTo>
                <a:cubicBezTo>
                  <a:pt x="228239" y="151308"/>
                  <a:pt x="241240" y="154919"/>
                  <a:pt x="255685" y="170087"/>
                </a:cubicBezTo>
                <a:cubicBezTo>
                  <a:pt x="270130" y="185255"/>
                  <a:pt x="284577" y="214868"/>
                  <a:pt x="299022" y="226424"/>
                </a:cubicBezTo>
                <a:cubicBezTo>
                  <a:pt x="313467" y="237980"/>
                  <a:pt x="329357" y="233647"/>
                  <a:pt x="342358" y="239425"/>
                </a:cubicBezTo>
                <a:cubicBezTo>
                  <a:pt x="355359" y="245203"/>
                  <a:pt x="361859" y="243758"/>
                  <a:pt x="377027" y="261093"/>
                </a:cubicBezTo>
                <a:cubicBezTo>
                  <a:pt x="392195" y="278428"/>
                  <a:pt x="412419" y="319598"/>
                  <a:pt x="433365" y="343433"/>
                </a:cubicBezTo>
                <a:cubicBezTo>
                  <a:pt x="454311" y="367268"/>
                  <a:pt x="502703" y="404104"/>
                  <a:pt x="502703" y="404104"/>
                </a:cubicBezTo>
                <a:cubicBezTo>
                  <a:pt x="527982" y="426494"/>
                  <a:pt x="561207" y="460442"/>
                  <a:pt x="585042" y="477776"/>
                </a:cubicBezTo>
                <a:cubicBezTo>
                  <a:pt x="608877" y="495110"/>
                  <a:pt x="624046" y="494388"/>
                  <a:pt x="645714" y="508111"/>
                </a:cubicBezTo>
                <a:cubicBezTo>
                  <a:pt x="667382" y="521834"/>
                  <a:pt x="691217" y="541336"/>
                  <a:pt x="715052" y="560115"/>
                </a:cubicBezTo>
                <a:cubicBezTo>
                  <a:pt x="738887" y="578894"/>
                  <a:pt x="767778" y="606341"/>
                  <a:pt x="788724" y="620786"/>
                </a:cubicBezTo>
                <a:cubicBezTo>
                  <a:pt x="809670" y="635231"/>
                  <a:pt x="821227" y="633065"/>
                  <a:pt x="840728" y="646788"/>
                </a:cubicBezTo>
                <a:cubicBezTo>
                  <a:pt x="860229" y="660511"/>
                  <a:pt x="889120" y="677846"/>
                  <a:pt x="905732" y="703126"/>
                </a:cubicBezTo>
                <a:cubicBezTo>
                  <a:pt x="922344" y="728406"/>
                  <a:pt x="926679" y="776798"/>
                  <a:pt x="940402" y="798466"/>
                </a:cubicBezTo>
                <a:cubicBezTo>
                  <a:pt x="954125" y="820134"/>
                  <a:pt x="980127" y="820856"/>
                  <a:pt x="988072" y="833135"/>
                </a:cubicBezTo>
                <a:cubicBezTo>
                  <a:pt x="996017" y="845414"/>
                  <a:pt x="988794" y="851914"/>
                  <a:pt x="988072" y="872138"/>
                </a:cubicBezTo>
                <a:cubicBezTo>
                  <a:pt x="987350" y="892362"/>
                  <a:pt x="986627" y="932809"/>
                  <a:pt x="983738" y="954477"/>
                </a:cubicBezTo>
                <a:cubicBezTo>
                  <a:pt x="980849" y="976145"/>
                  <a:pt x="977960" y="992758"/>
                  <a:pt x="970737" y="1002148"/>
                </a:cubicBezTo>
                <a:cubicBezTo>
                  <a:pt x="963514" y="1011538"/>
                  <a:pt x="946180" y="1000703"/>
                  <a:pt x="940402" y="1010815"/>
                </a:cubicBezTo>
                <a:cubicBezTo>
                  <a:pt x="934624" y="1020927"/>
                  <a:pt x="935346" y="1044762"/>
                  <a:pt x="936068" y="1062819"/>
                </a:cubicBezTo>
                <a:cubicBezTo>
                  <a:pt x="936790" y="1080876"/>
                  <a:pt x="943291" y="1106155"/>
                  <a:pt x="944735" y="1119156"/>
                </a:cubicBezTo>
                <a:cubicBezTo>
                  <a:pt x="946179" y="1132157"/>
                  <a:pt x="945457" y="1136490"/>
                  <a:pt x="944735" y="1140824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лилиния 8"/>
          <p:cNvSpPr/>
          <p:nvPr/>
        </p:nvSpPr>
        <p:spPr>
          <a:xfrm>
            <a:off x="4285978" y="4692268"/>
            <a:ext cx="991769" cy="1140824"/>
          </a:xfrm>
          <a:custGeom>
            <a:avLst/>
            <a:gdLst>
              <a:gd name="connsiteX0" fmla="*/ 0 w 991769"/>
              <a:gd name="connsiteY0" fmla="*/ 9742 h 1140824"/>
              <a:gd name="connsiteX1" fmla="*/ 65005 w 991769"/>
              <a:gd name="connsiteY1" fmla="*/ 1075 h 1140824"/>
              <a:gd name="connsiteX2" fmla="*/ 95340 w 991769"/>
              <a:gd name="connsiteY2" fmla="*/ 31410 h 1140824"/>
              <a:gd name="connsiteX3" fmla="*/ 134343 w 991769"/>
              <a:gd name="connsiteY3" fmla="*/ 53078 h 1140824"/>
              <a:gd name="connsiteX4" fmla="*/ 160345 w 991769"/>
              <a:gd name="connsiteY4" fmla="*/ 74747 h 1140824"/>
              <a:gd name="connsiteX5" fmla="*/ 212349 w 991769"/>
              <a:gd name="connsiteY5" fmla="*/ 135418 h 1140824"/>
              <a:gd name="connsiteX6" fmla="*/ 255685 w 991769"/>
              <a:gd name="connsiteY6" fmla="*/ 170087 h 1140824"/>
              <a:gd name="connsiteX7" fmla="*/ 299022 w 991769"/>
              <a:gd name="connsiteY7" fmla="*/ 226424 h 1140824"/>
              <a:gd name="connsiteX8" fmla="*/ 342358 w 991769"/>
              <a:gd name="connsiteY8" fmla="*/ 239425 h 1140824"/>
              <a:gd name="connsiteX9" fmla="*/ 377027 w 991769"/>
              <a:gd name="connsiteY9" fmla="*/ 261093 h 1140824"/>
              <a:gd name="connsiteX10" fmla="*/ 433365 w 991769"/>
              <a:gd name="connsiteY10" fmla="*/ 343433 h 1140824"/>
              <a:gd name="connsiteX11" fmla="*/ 502703 w 991769"/>
              <a:gd name="connsiteY11" fmla="*/ 404104 h 1140824"/>
              <a:gd name="connsiteX12" fmla="*/ 585042 w 991769"/>
              <a:gd name="connsiteY12" fmla="*/ 477776 h 1140824"/>
              <a:gd name="connsiteX13" fmla="*/ 645714 w 991769"/>
              <a:gd name="connsiteY13" fmla="*/ 508111 h 1140824"/>
              <a:gd name="connsiteX14" fmla="*/ 715052 w 991769"/>
              <a:gd name="connsiteY14" fmla="*/ 560115 h 1140824"/>
              <a:gd name="connsiteX15" fmla="*/ 788724 w 991769"/>
              <a:gd name="connsiteY15" fmla="*/ 620786 h 1140824"/>
              <a:gd name="connsiteX16" fmla="*/ 840728 w 991769"/>
              <a:gd name="connsiteY16" fmla="*/ 646788 h 1140824"/>
              <a:gd name="connsiteX17" fmla="*/ 905732 w 991769"/>
              <a:gd name="connsiteY17" fmla="*/ 703126 h 1140824"/>
              <a:gd name="connsiteX18" fmla="*/ 940402 w 991769"/>
              <a:gd name="connsiteY18" fmla="*/ 798466 h 1140824"/>
              <a:gd name="connsiteX19" fmla="*/ 988072 w 991769"/>
              <a:gd name="connsiteY19" fmla="*/ 833135 h 1140824"/>
              <a:gd name="connsiteX20" fmla="*/ 988072 w 991769"/>
              <a:gd name="connsiteY20" fmla="*/ 872138 h 1140824"/>
              <a:gd name="connsiteX21" fmla="*/ 983738 w 991769"/>
              <a:gd name="connsiteY21" fmla="*/ 954477 h 1140824"/>
              <a:gd name="connsiteX22" fmla="*/ 970737 w 991769"/>
              <a:gd name="connsiteY22" fmla="*/ 1002148 h 1140824"/>
              <a:gd name="connsiteX23" fmla="*/ 940402 w 991769"/>
              <a:gd name="connsiteY23" fmla="*/ 1010815 h 1140824"/>
              <a:gd name="connsiteX24" fmla="*/ 936068 w 991769"/>
              <a:gd name="connsiteY24" fmla="*/ 1062819 h 1140824"/>
              <a:gd name="connsiteX25" fmla="*/ 944735 w 991769"/>
              <a:gd name="connsiteY25" fmla="*/ 1119156 h 1140824"/>
              <a:gd name="connsiteX26" fmla="*/ 944735 w 991769"/>
              <a:gd name="connsiteY26" fmla="*/ 1140824 h 1140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91769" h="1140824">
                <a:moveTo>
                  <a:pt x="0" y="9742"/>
                </a:moveTo>
                <a:cubicBezTo>
                  <a:pt x="24557" y="3603"/>
                  <a:pt x="49115" y="-2536"/>
                  <a:pt x="65005" y="1075"/>
                </a:cubicBezTo>
                <a:cubicBezTo>
                  <a:pt x="80895" y="4686"/>
                  <a:pt x="83784" y="22743"/>
                  <a:pt x="95340" y="31410"/>
                </a:cubicBezTo>
                <a:cubicBezTo>
                  <a:pt x="106896" y="40077"/>
                  <a:pt x="123509" y="45855"/>
                  <a:pt x="134343" y="53078"/>
                </a:cubicBezTo>
                <a:cubicBezTo>
                  <a:pt x="145177" y="60301"/>
                  <a:pt x="147344" y="61024"/>
                  <a:pt x="160345" y="74747"/>
                </a:cubicBezTo>
                <a:cubicBezTo>
                  <a:pt x="173346" y="88470"/>
                  <a:pt x="196459" y="119528"/>
                  <a:pt x="212349" y="135418"/>
                </a:cubicBezTo>
                <a:cubicBezTo>
                  <a:pt x="228239" y="151308"/>
                  <a:pt x="241240" y="154919"/>
                  <a:pt x="255685" y="170087"/>
                </a:cubicBezTo>
                <a:cubicBezTo>
                  <a:pt x="270130" y="185255"/>
                  <a:pt x="284577" y="214868"/>
                  <a:pt x="299022" y="226424"/>
                </a:cubicBezTo>
                <a:cubicBezTo>
                  <a:pt x="313467" y="237980"/>
                  <a:pt x="329357" y="233647"/>
                  <a:pt x="342358" y="239425"/>
                </a:cubicBezTo>
                <a:cubicBezTo>
                  <a:pt x="355359" y="245203"/>
                  <a:pt x="361859" y="243758"/>
                  <a:pt x="377027" y="261093"/>
                </a:cubicBezTo>
                <a:cubicBezTo>
                  <a:pt x="392195" y="278428"/>
                  <a:pt x="412419" y="319598"/>
                  <a:pt x="433365" y="343433"/>
                </a:cubicBezTo>
                <a:cubicBezTo>
                  <a:pt x="454311" y="367268"/>
                  <a:pt x="502703" y="404104"/>
                  <a:pt x="502703" y="404104"/>
                </a:cubicBezTo>
                <a:cubicBezTo>
                  <a:pt x="527982" y="426494"/>
                  <a:pt x="561207" y="460442"/>
                  <a:pt x="585042" y="477776"/>
                </a:cubicBezTo>
                <a:cubicBezTo>
                  <a:pt x="608877" y="495110"/>
                  <a:pt x="624046" y="494388"/>
                  <a:pt x="645714" y="508111"/>
                </a:cubicBezTo>
                <a:cubicBezTo>
                  <a:pt x="667382" y="521834"/>
                  <a:pt x="691217" y="541336"/>
                  <a:pt x="715052" y="560115"/>
                </a:cubicBezTo>
                <a:cubicBezTo>
                  <a:pt x="738887" y="578894"/>
                  <a:pt x="767778" y="606341"/>
                  <a:pt x="788724" y="620786"/>
                </a:cubicBezTo>
                <a:cubicBezTo>
                  <a:pt x="809670" y="635231"/>
                  <a:pt x="821227" y="633065"/>
                  <a:pt x="840728" y="646788"/>
                </a:cubicBezTo>
                <a:cubicBezTo>
                  <a:pt x="860229" y="660511"/>
                  <a:pt x="889120" y="677846"/>
                  <a:pt x="905732" y="703126"/>
                </a:cubicBezTo>
                <a:cubicBezTo>
                  <a:pt x="922344" y="728406"/>
                  <a:pt x="926679" y="776798"/>
                  <a:pt x="940402" y="798466"/>
                </a:cubicBezTo>
                <a:cubicBezTo>
                  <a:pt x="954125" y="820134"/>
                  <a:pt x="980127" y="820856"/>
                  <a:pt x="988072" y="833135"/>
                </a:cubicBezTo>
                <a:cubicBezTo>
                  <a:pt x="996017" y="845414"/>
                  <a:pt x="988794" y="851914"/>
                  <a:pt x="988072" y="872138"/>
                </a:cubicBezTo>
                <a:cubicBezTo>
                  <a:pt x="987350" y="892362"/>
                  <a:pt x="986627" y="932809"/>
                  <a:pt x="983738" y="954477"/>
                </a:cubicBezTo>
                <a:cubicBezTo>
                  <a:pt x="980849" y="976145"/>
                  <a:pt x="977960" y="992758"/>
                  <a:pt x="970737" y="1002148"/>
                </a:cubicBezTo>
                <a:cubicBezTo>
                  <a:pt x="963514" y="1011538"/>
                  <a:pt x="946180" y="1000703"/>
                  <a:pt x="940402" y="1010815"/>
                </a:cubicBezTo>
                <a:cubicBezTo>
                  <a:pt x="934624" y="1020927"/>
                  <a:pt x="935346" y="1044762"/>
                  <a:pt x="936068" y="1062819"/>
                </a:cubicBezTo>
                <a:cubicBezTo>
                  <a:pt x="936790" y="1080876"/>
                  <a:pt x="943291" y="1106155"/>
                  <a:pt x="944735" y="1119156"/>
                </a:cubicBezTo>
                <a:cubicBezTo>
                  <a:pt x="946179" y="1132157"/>
                  <a:pt x="945457" y="1136490"/>
                  <a:pt x="944735" y="1140824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олилиния 9"/>
          <p:cNvSpPr/>
          <p:nvPr/>
        </p:nvSpPr>
        <p:spPr>
          <a:xfrm>
            <a:off x="2538974" y="2711592"/>
            <a:ext cx="1761322" cy="1993758"/>
          </a:xfrm>
          <a:custGeom>
            <a:avLst/>
            <a:gdLst>
              <a:gd name="connsiteX0" fmla="*/ 1761322 w 1761322"/>
              <a:gd name="connsiteY0" fmla="*/ 1993758 h 1993758"/>
              <a:gd name="connsiteX1" fmla="*/ 1704172 w 1761322"/>
              <a:gd name="connsiteY1" fmla="*/ 1978518 h 1993758"/>
              <a:gd name="connsiteX2" fmla="*/ 1662262 w 1761322"/>
              <a:gd name="connsiteY2" fmla="*/ 1970898 h 1993758"/>
              <a:gd name="connsiteX3" fmla="*/ 1620352 w 1761322"/>
              <a:gd name="connsiteY3" fmla="*/ 1967088 h 1993758"/>
              <a:gd name="connsiteX4" fmla="*/ 1586062 w 1761322"/>
              <a:gd name="connsiteY4" fmla="*/ 1959468 h 1993758"/>
              <a:gd name="connsiteX5" fmla="*/ 1574632 w 1761322"/>
              <a:gd name="connsiteY5" fmla="*/ 1963278 h 1993758"/>
              <a:gd name="connsiteX6" fmla="*/ 1551772 w 1761322"/>
              <a:gd name="connsiteY6" fmla="*/ 1928988 h 1993758"/>
              <a:gd name="connsiteX7" fmla="*/ 1506052 w 1761322"/>
              <a:gd name="connsiteY7" fmla="*/ 1906128 h 1993758"/>
              <a:gd name="connsiteX8" fmla="*/ 1452712 w 1761322"/>
              <a:gd name="connsiteY8" fmla="*/ 1883268 h 1993758"/>
              <a:gd name="connsiteX9" fmla="*/ 1422232 w 1761322"/>
              <a:gd name="connsiteY9" fmla="*/ 1868028 h 1993758"/>
              <a:gd name="connsiteX10" fmla="*/ 1406992 w 1761322"/>
              <a:gd name="connsiteY10" fmla="*/ 1814688 h 1993758"/>
              <a:gd name="connsiteX11" fmla="*/ 1403182 w 1761322"/>
              <a:gd name="connsiteY11" fmla="*/ 1746108 h 1993758"/>
              <a:gd name="connsiteX12" fmla="*/ 1418422 w 1761322"/>
              <a:gd name="connsiteY12" fmla="*/ 1723248 h 1993758"/>
              <a:gd name="connsiteX13" fmla="*/ 1391752 w 1761322"/>
              <a:gd name="connsiteY13" fmla="*/ 1681338 h 1993758"/>
              <a:gd name="connsiteX14" fmla="*/ 1380322 w 1761322"/>
              <a:gd name="connsiteY14" fmla="*/ 1654668 h 1993758"/>
              <a:gd name="connsiteX15" fmla="*/ 1342222 w 1761322"/>
              <a:gd name="connsiteY15" fmla="*/ 1639428 h 1993758"/>
              <a:gd name="connsiteX16" fmla="*/ 1254592 w 1761322"/>
              <a:gd name="connsiteY16" fmla="*/ 1662288 h 1993758"/>
              <a:gd name="connsiteX17" fmla="*/ 1227922 w 1761322"/>
              <a:gd name="connsiteY17" fmla="*/ 1677528 h 1993758"/>
              <a:gd name="connsiteX18" fmla="*/ 1140292 w 1761322"/>
              <a:gd name="connsiteY18" fmla="*/ 1639428 h 1993758"/>
              <a:gd name="connsiteX19" fmla="*/ 1083142 w 1761322"/>
              <a:gd name="connsiteY19" fmla="*/ 1608948 h 1993758"/>
              <a:gd name="connsiteX20" fmla="*/ 1014562 w 1761322"/>
              <a:gd name="connsiteY20" fmla="*/ 1589898 h 1993758"/>
              <a:gd name="connsiteX21" fmla="*/ 965032 w 1761322"/>
              <a:gd name="connsiteY21" fmla="*/ 1597518 h 1993758"/>
              <a:gd name="connsiteX22" fmla="*/ 957412 w 1761322"/>
              <a:gd name="connsiteY22" fmla="*/ 1525128 h 1993758"/>
              <a:gd name="connsiteX23" fmla="*/ 930742 w 1761322"/>
              <a:gd name="connsiteY23" fmla="*/ 1448928 h 1993758"/>
              <a:gd name="connsiteX24" fmla="*/ 919312 w 1761322"/>
              <a:gd name="connsiteY24" fmla="*/ 1384158 h 1993758"/>
              <a:gd name="connsiteX25" fmla="*/ 911692 w 1761322"/>
              <a:gd name="connsiteY25" fmla="*/ 1361298 h 1993758"/>
              <a:gd name="connsiteX26" fmla="*/ 907882 w 1761322"/>
              <a:gd name="connsiteY26" fmla="*/ 1311768 h 1993758"/>
              <a:gd name="connsiteX27" fmla="*/ 885022 w 1761322"/>
              <a:gd name="connsiteY27" fmla="*/ 1269858 h 1993758"/>
              <a:gd name="connsiteX28" fmla="*/ 858352 w 1761322"/>
              <a:gd name="connsiteY28" fmla="*/ 1205088 h 1993758"/>
              <a:gd name="connsiteX29" fmla="*/ 846922 w 1761322"/>
              <a:gd name="connsiteY29" fmla="*/ 1163178 h 1993758"/>
              <a:gd name="connsiteX30" fmla="*/ 865972 w 1761322"/>
              <a:gd name="connsiteY30" fmla="*/ 1140318 h 1993758"/>
              <a:gd name="connsiteX31" fmla="*/ 862162 w 1761322"/>
              <a:gd name="connsiteY31" fmla="*/ 1060308 h 1993758"/>
              <a:gd name="connsiteX32" fmla="*/ 869782 w 1761322"/>
              <a:gd name="connsiteY32" fmla="*/ 1003158 h 1993758"/>
              <a:gd name="connsiteX33" fmla="*/ 831682 w 1761322"/>
              <a:gd name="connsiteY33" fmla="*/ 949818 h 1993758"/>
              <a:gd name="connsiteX34" fmla="*/ 805012 w 1761322"/>
              <a:gd name="connsiteY34" fmla="*/ 820278 h 1993758"/>
              <a:gd name="connsiteX35" fmla="*/ 766912 w 1761322"/>
              <a:gd name="connsiteY35" fmla="*/ 606918 h 1993758"/>
              <a:gd name="connsiteX36" fmla="*/ 713572 w 1761322"/>
              <a:gd name="connsiteY36" fmla="*/ 443088 h 1993758"/>
              <a:gd name="connsiteX37" fmla="*/ 656422 w 1761322"/>
              <a:gd name="connsiteY37" fmla="*/ 355458 h 1993758"/>
              <a:gd name="connsiteX38" fmla="*/ 622132 w 1761322"/>
              <a:gd name="connsiteY38" fmla="*/ 260208 h 1993758"/>
              <a:gd name="connsiteX39" fmla="*/ 610702 w 1761322"/>
              <a:gd name="connsiteY39" fmla="*/ 225918 h 1993758"/>
              <a:gd name="connsiteX40" fmla="*/ 614512 w 1761322"/>
              <a:gd name="connsiteY40" fmla="*/ 187818 h 1993758"/>
              <a:gd name="connsiteX41" fmla="*/ 534502 w 1761322"/>
              <a:gd name="connsiteY41" fmla="*/ 138288 h 1993758"/>
              <a:gd name="connsiteX42" fmla="*/ 450682 w 1761322"/>
              <a:gd name="connsiteY42" fmla="*/ 111618 h 1993758"/>
              <a:gd name="connsiteX43" fmla="*/ 374482 w 1761322"/>
              <a:gd name="connsiteY43" fmla="*/ 103998 h 1993758"/>
              <a:gd name="connsiteX44" fmla="*/ 305902 w 1761322"/>
              <a:gd name="connsiteY44" fmla="*/ 84948 h 1993758"/>
              <a:gd name="connsiteX45" fmla="*/ 279232 w 1761322"/>
              <a:gd name="connsiteY45" fmla="*/ 54468 h 1993758"/>
              <a:gd name="connsiteX46" fmla="*/ 199222 w 1761322"/>
              <a:gd name="connsiteY46" fmla="*/ 43038 h 1993758"/>
              <a:gd name="connsiteX47" fmla="*/ 149692 w 1761322"/>
              <a:gd name="connsiteY47" fmla="*/ 31608 h 1993758"/>
              <a:gd name="connsiteX48" fmla="*/ 107782 w 1761322"/>
              <a:gd name="connsiteY48" fmla="*/ 16368 h 1993758"/>
              <a:gd name="connsiteX49" fmla="*/ 12532 w 1761322"/>
              <a:gd name="connsiteY49" fmla="*/ 1128 h 1993758"/>
              <a:gd name="connsiteX50" fmla="*/ 1102 w 1761322"/>
              <a:gd name="connsiteY50" fmla="*/ 1128 h 1993758"/>
              <a:gd name="connsiteX51" fmla="*/ 1102 w 1761322"/>
              <a:gd name="connsiteY51" fmla="*/ 1128 h 1993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761322" h="1993758">
                <a:moveTo>
                  <a:pt x="1761322" y="1993758"/>
                </a:moveTo>
                <a:cubicBezTo>
                  <a:pt x="1741002" y="1988043"/>
                  <a:pt x="1720682" y="1982328"/>
                  <a:pt x="1704172" y="1978518"/>
                </a:cubicBezTo>
                <a:cubicBezTo>
                  <a:pt x="1687662" y="1974708"/>
                  <a:pt x="1676232" y="1972803"/>
                  <a:pt x="1662262" y="1970898"/>
                </a:cubicBezTo>
                <a:cubicBezTo>
                  <a:pt x="1648292" y="1968993"/>
                  <a:pt x="1633052" y="1968993"/>
                  <a:pt x="1620352" y="1967088"/>
                </a:cubicBezTo>
                <a:cubicBezTo>
                  <a:pt x="1607652" y="1965183"/>
                  <a:pt x="1586062" y="1959468"/>
                  <a:pt x="1586062" y="1959468"/>
                </a:cubicBezTo>
                <a:cubicBezTo>
                  <a:pt x="1578442" y="1958833"/>
                  <a:pt x="1580347" y="1968358"/>
                  <a:pt x="1574632" y="1963278"/>
                </a:cubicBezTo>
                <a:cubicBezTo>
                  <a:pt x="1568917" y="1958198"/>
                  <a:pt x="1563202" y="1938513"/>
                  <a:pt x="1551772" y="1928988"/>
                </a:cubicBezTo>
                <a:cubicBezTo>
                  <a:pt x="1540342" y="1919463"/>
                  <a:pt x="1522562" y="1913748"/>
                  <a:pt x="1506052" y="1906128"/>
                </a:cubicBezTo>
                <a:cubicBezTo>
                  <a:pt x="1489542" y="1898508"/>
                  <a:pt x="1466682" y="1889618"/>
                  <a:pt x="1452712" y="1883268"/>
                </a:cubicBezTo>
                <a:cubicBezTo>
                  <a:pt x="1438742" y="1876918"/>
                  <a:pt x="1429852" y="1879458"/>
                  <a:pt x="1422232" y="1868028"/>
                </a:cubicBezTo>
                <a:cubicBezTo>
                  <a:pt x="1414612" y="1856598"/>
                  <a:pt x="1410167" y="1835008"/>
                  <a:pt x="1406992" y="1814688"/>
                </a:cubicBezTo>
                <a:cubicBezTo>
                  <a:pt x="1403817" y="1794368"/>
                  <a:pt x="1401277" y="1761348"/>
                  <a:pt x="1403182" y="1746108"/>
                </a:cubicBezTo>
                <a:cubicBezTo>
                  <a:pt x="1405087" y="1730868"/>
                  <a:pt x="1420327" y="1734043"/>
                  <a:pt x="1418422" y="1723248"/>
                </a:cubicBezTo>
                <a:cubicBezTo>
                  <a:pt x="1416517" y="1712453"/>
                  <a:pt x="1398102" y="1692768"/>
                  <a:pt x="1391752" y="1681338"/>
                </a:cubicBezTo>
                <a:cubicBezTo>
                  <a:pt x="1385402" y="1669908"/>
                  <a:pt x="1388577" y="1661653"/>
                  <a:pt x="1380322" y="1654668"/>
                </a:cubicBezTo>
                <a:cubicBezTo>
                  <a:pt x="1372067" y="1647683"/>
                  <a:pt x="1363177" y="1638158"/>
                  <a:pt x="1342222" y="1639428"/>
                </a:cubicBezTo>
                <a:cubicBezTo>
                  <a:pt x="1321267" y="1640698"/>
                  <a:pt x="1273642" y="1655938"/>
                  <a:pt x="1254592" y="1662288"/>
                </a:cubicBezTo>
                <a:cubicBezTo>
                  <a:pt x="1235542" y="1668638"/>
                  <a:pt x="1246972" y="1681338"/>
                  <a:pt x="1227922" y="1677528"/>
                </a:cubicBezTo>
                <a:cubicBezTo>
                  <a:pt x="1208872" y="1673718"/>
                  <a:pt x="1164422" y="1650858"/>
                  <a:pt x="1140292" y="1639428"/>
                </a:cubicBezTo>
                <a:cubicBezTo>
                  <a:pt x="1116162" y="1627998"/>
                  <a:pt x="1104097" y="1617203"/>
                  <a:pt x="1083142" y="1608948"/>
                </a:cubicBezTo>
                <a:cubicBezTo>
                  <a:pt x="1062187" y="1600693"/>
                  <a:pt x="1034247" y="1591803"/>
                  <a:pt x="1014562" y="1589898"/>
                </a:cubicBezTo>
                <a:cubicBezTo>
                  <a:pt x="994877" y="1587993"/>
                  <a:pt x="974557" y="1608313"/>
                  <a:pt x="965032" y="1597518"/>
                </a:cubicBezTo>
                <a:cubicBezTo>
                  <a:pt x="955507" y="1586723"/>
                  <a:pt x="963127" y="1549893"/>
                  <a:pt x="957412" y="1525128"/>
                </a:cubicBezTo>
                <a:cubicBezTo>
                  <a:pt x="951697" y="1500363"/>
                  <a:pt x="937092" y="1472423"/>
                  <a:pt x="930742" y="1448928"/>
                </a:cubicBezTo>
                <a:cubicBezTo>
                  <a:pt x="924392" y="1425433"/>
                  <a:pt x="922487" y="1398763"/>
                  <a:pt x="919312" y="1384158"/>
                </a:cubicBezTo>
                <a:cubicBezTo>
                  <a:pt x="916137" y="1369553"/>
                  <a:pt x="913597" y="1373363"/>
                  <a:pt x="911692" y="1361298"/>
                </a:cubicBezTo>
                <a:cubicBezTo>
                  <a:pt x="909787" y="1349233"/>
                  <a:pt x="912327" y="1327008"/>
                  <a:pt x="907882" y="1311768"/>
                </a:cubicBezTo>
                <a:cubicBezTo>
                  <a:pt x="903437" y="1296528"/>
                  <a:pt x="893277" y="1287638"/>
                  <a:pt x="885022" y="1269858"/>
                </a:cubicBezTo>
                <a:cubicBezTo>
                  <a:pt x="876767" y="1252078"/>
                  <a:pt x="864702" y="1222868"/>
                  <a:pt x="858352" y="1205088"/>
                </a:cubicBezTo>
                <a:cubicBezTo>
                  <a:pt x="852002" y="1187308"/>
                  <a:pt x="845652" y="1173973"/>
                  <a:pt x="846922" y="1163178"/>
                </a:cubicBezTo>
                <a:cubicBezTo>
                  <a:pt x="848192" y="1152383"/>
                  <a:pt x="863432" y="1157463"/>
                  <a:pt x="865972" y="1140318"/>
                </a:cubicBezTo>
                <a:cubicBezTo>
                  <a:pt x="868512" y="1123173"/>
                  <a:pt x="861527" y="1083168"/>
                  <a:pt x="862162" y="1060308"/>
                </a:cubicBezTo>
                <a:cubicBezTo>
                  <a:pt x="862797" y="1037448"/>
                  <a:pt x="874862" y="1021573"/>
                  <a:pt x="869782" y="1003158"/>
                </a:cubicBezTo>
                <a:cubicBezTo>
                  <a:pt x="864702" y="984743"/>
                  <a:pt x="842477" y="980298"/>
                  <a:pt x="831682" y="949818"/>
                </a:cubicBezTo>
                <a:cubicBezTo>
                  <a:pt x="820887" y="919338"/>
                  <a:pt x="815807" y="877428"/>
                  <a:pt x="805012" y="820278"/>
                </a:cubicBezTo>
                <a:cubicBezTo>
                  <a:pt x="794217" y="763128"/>
                  <a:pt x="782152" y="669783"/>
                  <a:pt x="766912" y="606918"/>
                </a:cubicBezTo>
                <a:cubicBezTo>
                  <a:pt x="751672" y="544053"/>
                  <a:pt x="731987" y="484998"/>
                  <a:pt x="713572" y="443088"/>
                </a:cubicBezTo>
                <a:cubicBezTo>
                  <a:pt x="695157" y="401178"/>
                  <a:pt x="671662" y="385938"/>
                  <a:pt x="656422" y="355458"/>
                </a:cubicBezTo>
                <a:cubicBezTo>
                  <a:pt x="641182" y="324978"/>
                  <a:pt x="629752" y="281798"/>
                  <a:pt x="622132" y="260208"/>
                </a:cubicBezTo>
                <a:cubicBezTo>
                  <a:pt x="614512" y="238618"/>
                  <a:pt x="611972" y="237983"/>
                  <a:pt x="610702" y="225918"/>
                </a:cubicBezTo>
                <a:cubicBezTo>
                  <a:pt x="609432" y="213853"/>
                  <a:pt x="627212" y="202423"/>
                  <a:pt x="614512" y="187818"/>
                </a:cubicBezTo>
                <a:cubicBezTo>
                  <a:pt x="601812" y="173213"/>
                  <a:pt x="561807" y="150988"/>
                  <a:pt x="534502" y="138288"/>
                </a:cubicBezTo>
                <a:cubicBezTo>
                  <a:pt x="507197" y="125588"/>
                  <a:pt x="477352" y="117333"/>
                  <a:pt x="450682" y="111618"/>
                </a:cubicBezTo>
                <a:cubicBezTo>
                  <a:pt x="424012" y="105903"/>
                  <a:pt x="398612" y="108443"/>
                  <a:pt x="374482" y="103998"/>
                </a:cubicBezTo>
                <a:cubicBezTo>
                  <a:pt x="350352" y="99553"/>
                  <a:pt x="321777" y="93203"/>
                  <a:pt x="305902" y="84948"/>
                </a:cubicBezTo>
                <a:cubicBezTo>
                  <a:pt x="290027" y="76693"/>
                  <a:pt x="297012" y="61453"/>
                  <a:pt x="279232" y="54468"/>
                </a:cubicBezTo>
                <a:cubicBezTo>
                  <a:pt x="261452" y="47483"/>
                  <a:pt x="220812" y="46848"/>
                  <a:pt x="199222" y="43038"/>
                </a:cubicBezTo>
                <a:cubicBezTo>
                  <a:pt x="177632" y="39228"/>
                  <a:pt x="164932" y="36053"/>
                  <a:pt x="149692" y="31608"/>
                </a:cubicBezTo>
                <a:cubicBezTo>
                  <a:pt x="134452" y="27163"/>
                  <a:pt x="130642" y="21448"/>
                  <a:pt x="107782" y="16368"/>
                </a:cubicBezTo>
                <a:cubicBezTo>
                  <a:pt x="84922" y="11288"/>
                  <a:pt x="30312" y="3668"/>
                  <a:pt x="12532" y="1128"/>
                </a:cubicBezTo>
                <a:cubicBezTo>
                  <a:pt x="-5248" y="-1412"/>
                  <a:pt x="1102" y="1128"/>
                  <a:pt x="1102" y="1128"/>
                </a:cubicBezTo>
                <a:lnTo>
                  <a:pt x="1102" y="1128"/>
                </a:ln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олилиния 10"/>
          <p:cNvSpPr/>
          <p:nvPr/>
        </p:nvSpPr>
        <p:spPr>
          <a:xfrm>
            <a:off x="2538303" y="2712954"/>
            <a:ext cx="1761322" cy="1993758"/>
          </a:xfrm>
          <a:custGeom>
            <a:avLst/>
            <a:gdLst>
              <a:gd name="connsiteX0" fmla="*/ 1761322 w 1761322"/>
              <a:gd name="connsiteY0" fmla="*/ 1993758 h 1993758"/>
              <a:gd name="connsiteX1" fmla="*/ 1704172 w 1761322"/>
              <a:gd name="connsiteY1" fmla="*/ 1978518 h 1993758"/>
              <a:gd name="connsiteX2" fmla="*/ 1662262 w 1761322"/>
              <a:gd name="connsiteY2" fmla="*/ 1970898 h 1993758"/>
              <a:gd name="connsiteX3" fmla="*/ 1620352 w 1761322"/>
              <a:gd name="connsiteY3" fmla="*/ 1967088 h 1993758"/>
              <a:gd name="connsiteX4" fmla="*/ 1586062 w 1761322"/>
              <a:gd name="connsiteY4" fmla="*/ 1959468 h 1993758"/>
              <a:gd name="connsiteX5" fmla="*/ 1574632 w 1761322"/>
              <a:gd name="connsiteY5" fmla="*/ 1963278 h 1993758"/>
              <a:gd name="connsiteX6" fmla="*/ 1551772 w 1761322"/>
              <a:gd name="connsiteY6" fmla="*/ 1928988 h 1993758"/>
              <a:gd name="connsiteX7" fmla="*/ 1506052 w 1761322"/>
              <a:gd name="connsiteY7" fmla="*/ 1906128 h 1993758"/>
              <a:gd name="connsiteX8" fmla="*/ 1452712 w 1761322"/>
              <a:gd name="connsiteY8" fmla="*/ 1883268 h 1993758"/>
              <a:gd name="connsiteX9" fmla="*/ 1422232 w 1761322"/>
              <a:gd name="connsiteY9" fmla="*/ 1868028 h 1993758"/>
              <a:gd name="connsiteX10" fmla="*/ 1406992 w 1761322"/>
              <a:gd name="connsiteY10" fmla="*/ 1814688 h 1993758"/>
              <a:gd name="connsiteX11" fmla="*/ 1403182 w 1761322"/>
              <a:gd name="connsiteY11" fmla="*/ 1746108 h 1993758"/>
              <a:gd name="connsiteX12" fmla="*/ 1418422 w 1761322"/>
              <a:gd name="connsiteY12" fmla="*/ 1723248 h 1993758"/>
              <a:gd name="connsiteX13" fmla="*/ 1391752 w 1761322"/>
              <a:gd name="connsiteY13" fmla="*/ 1681338 h 1993758"/>
              <a:gd name="connsiteX14" fmla="*/ 1380322 w 1761322"/>
              <a:gd name="connsiteY14" fmla="*/ 1654668 h 1993758"/>
              <a:gd name="connsiteX15" fmla="*/ 1342222 w 1761322"/>
              <a:gd name="connsiteY15" fmla="*/ 1639428 h 1993758"/>
              <a:gd name="connsiteX16" fmla="*/ 1254592 w 1761322"/>
              <a:gd name="connsiteY16" fmla="*/ 1662288 h 1993758"/>
              <a:gd name="connsiteX17" fmla="*/ 1227922 w 1761322"/>
              <a:gd name="connsiteY17" fmla="*/ 1677528 h 1993758"/>
              <a:gd name="connsiteX18" fmla="*/ 1140292 w 1761322"/>
              <a:gd name="connsiteY18" fmla="*/ 1639428 h 1993758"/>
              <a:gd name="connsiteX19" fmla="*/ 1083142 w 1761322"/>
              <a:gd name="connsiteY19" fmla="*/ 1608948 h 1993758"/>
              <a:gd name="connsiteX20" fmla="*/ 1014562 w 1761322"/>
              <a:gd name="connsiteY20" fmla="*/ 1589898 h 1993758"/>
              <a:gd name="connsiteX21" fmla="*/ 965032 w 1761322"/>
              <a:gd name="connsiteY21" fmla="*/ 1597518 h 1993758"/>
              <a:gd name="connsiteX22" fmla="*/ 957412 w 1761322"/>
              <a:gd name="connsiteY22" fmla="*/ 1525128 h 1993758"/>
              <a:gd name="connsiteX23" fmla="*/ 930742 w 1761322"/>
              <a:gd name="connsiteY23" fmla="*/ 1448928 h 1993758"/>
              <a:gd name="connsiteX24" fmla="*/ 919312 w 1761322"/>
              <a:gd name="connsiteY24" fmla="*/ 1384158 h 1993758"/>
              <a:gd name="connsiteX25" fmla="*/ 911692 w 1761322"/>
              <a:gd name="connsiteY25" fmla="*/ 1361298 h 1993758"/>
              <a:gd name="connsiteX26" fmla="*/ 907882 w 1761322"/>
              <a:gd name="connsiteY26" fmla="*/ 1311768 h 1993758"/>
              <a:gd name="connsiteX27" fmla="*/ 885022 w 1761322"/>
              <a:gd name="connsiteY27" fmla="*/ 1269858 h 1993758"/>
              <a:gd name="connsiteX28" fmla="*/ 858352 w 1761322"/>
              <a:gd name="connsiteY28" fmla="*/ 1205088 h 1993758"/>
              <a:gd name="connsiteX29" fmla="*/ 846922 w 1761322"/>
              <a:gd name="connsiteY29" fmla="*/ 1163178 h 1993758"/>
              <a:gd name="connsiteX30" fmla="*/ 865972 w 1761322"/>
              <a:gd name="connsiteY30" fmla="*/ 1140318 h 1993758"/>
              <a:gd name="connsiteX31" fmla="*/ 862162 w 1761322"/>
              <a:gd name="connsiteY31" fmla="*/ 1060308 h 1993758"/>
              <a:gd name="connsiteX32" fmla="*/ 869782 w 1761322"/>
              <a:gd name="connsiteY32" fmla="*/ 1003158 h 1993758"/>
              <a:gd name="connsiteX33" fmla="*/ 831682 w 1761322"/>
              <a:gd name="connsiteY33" fmla="*/ 949818 h 1993758"/>
              <a:gd name="connsiteX34" fmla="*/ 805012 w 1761322"/>
              <a:gd name="connsiteY34" fmla="*/ 820278 h 1993758"/>
              <a:gd name="connsiteX35" fmla="*/ 766912 w 1761322"/>
              <a:gd name="connsiteY35" fmla="*/ 606918 h 1993758"/>
              <a:gd name="connsiteX36" fmla="*/ 713572 w 1761322"/>
              <a:gd name="connsiteY36" fmla="*/ 443088 h 1993758"/>
              <a:gd name="connsiteX37" fmla="*/ 656422 w 1761322"/>
              <a:gd name="connsiteY37" fmla="*/ 355458 h 1993758"/>
              <a:gd name="connsiteX38" fmla="*/ 622132 w 1761322"/>
              <a:gd name="connsiteY38" fmla="*/ 260208 h 1993758"/>
              <a:gd name="connsiteX39" fmla="*/ 610702 w 1761322"/>
              <a:gd name="connsiteY39" fmla="*/ 225918 h 1993758"/>
              <a:gd name="connsiteX40" fmla="*/ 614512 w 1761322"/>
              <a:gd name="connsiteY40" fmla="*/ 187818 h 1993758"/>
              <a:gd name="connsiteX41" fmla="*/ 534502 w 1761322"/>
              <a:gd name="connsiteY41" fmla="*/ 138288 h 1993758"/>
              <a:gd name="connsiteX42" fmla="*/ 450682 w 1761322"/>
              <a:gd name="connsiteY42" fmla="*/ 111618 h 1993758"/>
              <a:gd name="connsiteX43" fmla="*/ 374482 w 1761322"/>
              <a:gd name="connsiteY43" fmla="*/ 103998 h 1993758"/>
              <a:gd name="connsiteX44" fmla="*/ 305902 w 1761322"/>
              <a:gd name="connsiteY44" fmla="*/ 84948 h 1993758"/>
              <a:gd name="connsiteX45" fmla="*/ 279232 w 1761322"/>
              <a:gd name="connsiteY45" fmla="*/ 54468 h 1993758"/>
              <a:gd name="connsiteX46" fmla="*/ 199222 w 1761322"/>
              <a:gd name="connsiteY46" fmla="*/ 43038 h 1993758"/>
              <a:gd name="connsiteX47" fmla="*/ 149692 w 1761322"/>
              <a:gd name="connsiteY47" fmla="*/ 31608 h 1993758"/>
              <a:gd name="connsiteX48" fmla="*/ 107782 w 1761322"/>
              <a:gd name="connsiteY48" fmla="*/ 16368 h 1993758"/>
              <a:gd name="connsiteX49" fmla="*/ 12532 w 1761322"/>
              <a:gd name="connsiteY49" fmla="*/ 1128 h 1993758"/>
              <a:gd name="connsiteX50" fmla="*/ 1102 w 1761322"/>
              <a:gd name="connsiteY50" fmla="*/ 1128 h 1993758"/>
              <a:gd name="connsiteX51" fmla="*/ 1102 w 1761322"/>
              <a:gd name="connsiteY51" fmla="*/ 1128 h 1993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761322" h="1993758">
                <a:moveTo>
                  <a:pt x="1761322" y="1993758"/>
                </a:moveTo>
                <a:cubicBezTo>
                  <a:pt x="1741002" y="1988043"/>
                  <a:pt x="1720682" y="1982328"/>
                  <a:pt x="1704172" y="1978518"/>
                </a:cubicBezTo>
                <a:cubicBezTo>
                  <a:pt x="1687662" y="1974708"/>
                  <a:pt x="1676232" y="1972803"/>
                  <a:pt x="1662262" y="1970898"/>
                </a:cubicBezTo>
                <a:cubicBezTo>
                  <a:pt x="1648292" y="1968993"/>
                  <a:pt x="1633052" y="1968993"/>
                  <a:pt x="1620352" y="1967088"/>
                </a:cubicBezTo>
                <a:cubicBezTo>
                  <a:pt x="1607652" y="1965183"/>
                  <a:pt x="1586062" y="1959468"/>
                  <a:pt x="1586062" y="1959468"/>
                </a:cubicBezTo>
                <a:cubicBezTo>
                  <a:pt x="1578442" y="1958833"/>
                  <a:pt x="1580347" y="1968358"/>
                  <a:pt x="1574632" y="1963278"/>
                </a:cubicBezTo>
                <a:cubicBezTo>
                  <a:pt x="1568917" y="1958198"/>
                  <a:pt x="1563202" y="1938513"/>
                  <a:pt x="1551772" y="1928988"/>
                </a:cubicBezTo>
                <a:cubicBezTo>
                  <a:pt x="1540342" y="1919463"/>
                  <a:pt x="1522562" y="1913748"/>
                  <a:pt x="1506052" y="1906128"/>
                </a:cubicBezTo>
                <a:cubicBezTo>
                  <a:pt x="1489542" y="1898508"/>
                  <a:pt x="1466682" y="1889618"/>
                  <a:pt x="1452712" y="1883268"/>
                </a:cubicBezTo>
                <a:cubicBezTo>
                  <a:pt x="1438742" y="1876918"/>
                  <a:pt x="1429852" y="1879458"/>
                  <a:pt x="1422232" y="1868028"/>
                </a:cubicBezTo>
                <a:cubicBezTo>
                  <a:pt x="1414612" y="1856598"/>
                  <a:pt x="1410167" y="1835008"/>
                  <a:pt x="1406992" y="1814688"/>
                </a:cubicBezTo>
                <a:cubicBezTo>
                  <a:pt x="1403817" y="1794368"/>
                  <a:pt x="1401277" y="1761348"/>
                  <a:pt x="1403182" y="1746108"/>
                </a:cubicBezTo>
                <a:cubicBezTo>
                  <a:pt x="1405087" y="1730868"/>
                  <a:pt x="1420327" y="1734043"/>
                  <a:pt x="1418422" y="1723248"/>
                </a:cubicBezTo>
                <a:cubicBezTo>
                  <a:pt x="1416517" y="1712453"/>
                  <a:pt x="1398102" y="1692768"/>
                  <a:pt x="1391752" y="1681338"/>
                </a:cubicBezTo>
                <a:cubicBezTo>
                  <a:pt x="1385402" y="1669908"/>
                  <a:pt x="1388577" y="1661653"/>
                  <a:pt x="1380322" y="1654668"/>
                </a:cubicBezTo>
                <a:cubicBezTo>
                  <a:pt x="1372067" y="1647683"/>
                  <a:pt x="1363177" y="1638158"/>
                  <a:pt x="1342222" y="1639428"/>
                </a:cubicBezTo>
                <a:cubicBezTo>
                  <a:pt x="1321267" y="1640698"/>
                  <a:pt x="1273642" y="1655938"/>
                  <a:pt x="1254592" y="1662288"/>
                </a:cubicBezTo>
                <a:cubicBezTo>
                  <a:pt x="1235542" y="1668638"/>
                  <a:pt x="1246972" y="1681338"/>
                  <a:pt x="1227922" y="1677528"/>
                </a:cubicBezTo>
                <a:cubicBezTo>
                  <a:pt x="1208872" y="1673718"/>
                  <a:pt x="1164422" y="1650858"/>
                  <a:pt x="1140292" y="1639428"/>
                </a:cubicBezTo>
                <a:cubicBezTo>
                  <a:pt x="1116162" y="1627998"/>
                  <a:pt x="1104097" y="1617203"/>
                  <a:pt x="1083142" y="1608948"/>
                </a:cubicBezTo>
                <a:cubicBezTo>
                  <a:pt x="1062187" y="1600693"/>
                  <a:pt x="1034247" y="1591803"/>
                  <a:pt x="1014562" y="1589898"/>
                </a:cubicBezTo>
                <a:cubicBezTo>
                  <a:pt x="994877" y="1587993"/>
                  <a:pt x="974557" y="1608313"/>
                  <a:pt x="965032" y="1597518"/>
                </a:cubicBezTo>
                <a:cubicBezTo>
                  <a:pt x="955507" y="1586723"/>
                  <a:pt x="963127" y="1549893"/>
                  <a:pt x="957412" y="1525128"/>
                </a:cubicBezTo>
                <a:cubicBezTo>
                  <a:pt x="951697" y="1500363"/>
                  <a:pt x="937092" y="1472423"/>
                  <a:pt x="930742" y="1448928"/>
                </a:cubicBezTo>
                <a:cubicBezTo>
                  <a:pt x="924392" y="1425433"/>
                  <a:pt x="922487" y="1398763"/>
                  <a:pt x="919312" y="1384158"/>
                </a:cubicBezTo>
                <a:cubicBezTo>
                  <a:pt x="916137" y="1369553"/>
                  <a:pt x="913597" y="1373363"/>
                  <a:pt x="911692" y="1361298"/>
                </a:cubicBezTo>
                <a:cubicBezTo>
                  <a:pt x="909787" y="1349233"/>
                  <a:pt x="912327" y="1327008"/>
                  <a:pt x="907882" y="1311768"/>
                </a:cubicBezTo>
                <a:cubicBezTo>
                  <a:pt x="903437" y="1296528"/>
                  <a:pt x="893277" y="1287638"/>
                  <a:pt x="885022" y="1269858"/>
                </a:cubicBezTo>
                <a:cubicBezTo>
                  <a:pt x="876767" y="1252078"/>
                  <a:pt x="864702" y="1222868"/>
                  <a:pt x="858352" y="1205088"/>
                </a:cubicBezTo>
                <a:cubicBezTo>
                  <a:pt x="852002" y="1187308"/>
                  <a:pt x="845652" y="1173973"/>
                  <a:pt x="846922" y="1163178"/>
                </a:cubicBezTo>
                <a:cubicBezTo>
                  <a:pt x="848192" y="1152383"/>
                  <a:pt x="863432" y="1157463"/>
                  <a:pt x="865972" y="1140318"/>
                </a:cubicBezTo>
                <a:cubicBezTo>
                  <a:pt x="868512" y="1123173"/>
                  <a:pt x="861527" y="1083168"/>
                  <a:pt x="862162" y="1060308"/>
                </a:cubicBezTo>
                <a:cubicBezTo>
                  <a:pt x="862797" y="1037448"/>
                  <a:pt x="874862" y="1021573"/>
                  <a:pt x="869782" y="1003158"/>
                </a:cubicBezTo>
                <a:cubicBezTo>
                  <a:pt x="864702" y="984743"/>
                  <a:pt x="842477" y="980298"/>
                  <a:pt x="831682" y="949818"/>
                </a:cubicBezTo>
                <a:cubicBezTo>
                  <a:pt x="820887" y="919338"/>
                  <a:pt x="815807" y="877428"/>
                  <a:pt x="805012" y="820278"/>
                </a:cubicBezTo>
                <a:cubicBezTo>
                  <a:pt x="794217" y="763128"/>
                  <a:pt x="782152" y="669783"/>
                  <a:pt x="766912" y="606918"/>
                </a:cubicBezTo>
                <a:cubicBezTo>
                  <a:pt x="751672" y="544053"/>
                  <a:pt x="731987" y="484998"/>
                  <a:pt x="713572" y="443088"/>
                </a:cubicBezTo>
                <a:cubicBezTo>
                  <a:pt x="695157" y="401178"/>
                  <a:pt x="671662" y="385938"/>
                  <a:pt x="656422" y="355458"/>
                </a:cubicBezTo>
                <a:cubicBezTo>
                  <a:pt x="641182" y="324978"/>
                  <a:pt x="629752" y="281798"/>
                  <a:pt x="622132" y="260208"/>
                </a:cubicBezTo>
                <a:cubicBezTo>
                  <a:pt x="614512" y="238618"/>
                  <a:pt x="611972" y="237983"/>
                  <a:pt x="610702" y="225918"/>
                </a:cubicBezTo>
                <a:cubicBezTo>
                  <a:pt x="609432" y="213853"/>
                  <a:pt x="627212" y="202423"/>
                  <a:pt x="614512" y="187818"/>
                </a:cubicBezTo>
                <a:cubicBezTo>
                  <a:pt x="601812" y="173213"/>
                  <a:pt x="561807" y="150988"/>
                  <a:pt x="534502" y="138288"/>
                </a:cubicBezTo>
                <a:cubicBezTo>
                  <a:pt x="507197" y="125588"/>
                  <a:pt x="477352" y="117333"/>
                  <a:pt x="450682" y="111618"/>
                </a:cubicBezTo>
                <a:cubicBezTo>
                  <a:pt x="424012" y="105903"/>
                  <a:pt x="398612" y="108443"/>
                  <a:pt x="374482" y="103998"/>
                </a:cubicBezTo>
                <a:cubicBezTo>
                  <a:pt x="350352" y="99553"/>
                  <a:pt x="321777" y="93203"/>
                  <a:pt x="305902" y="84948"/>
                </a:cubicBezTo>
                <a:cubicBezTo>
                  <a:pt x="290027" y="76693"/>
                  <a:pt x="297012" y="61453"/>
                  <a:pt x="279232" y="54468"/>
                </a:cubicBezTo>
                <a:cubicBezTo>
                  <a:pt x="261452" y="47483"/>
                  <a:pt x="220812" y="46848"/>
                  <a:pt x="199222" y="43038"/>
                </a:cubicBezTo>
                <a:cubicBezTo>
                  <a:pt x="177632" y="39228"/>
                  <a:pt x="164932" y="36053"/>
                  <a:pt x="149692" y="31608"/>
                </a:cubicBezTo>
                <a:cubicBezTo>
                  <a:pt x="134452" y="27163"/>
                  <a:pt x="130642" y="21448"/>
                  <a:pt x="107782" y="16368"/>
                </a:cubicBezTo>
                <a:cubicBezTo>
                  <a:pt x="84922" y="11288"/>
                  <a:pt x="30312" y="3668"/>
                  <a:pt x="12532" y="1128"/>
                </a:cubicBezTo>
                <a:cubicBezTo>
                  <a:pt x="-5248" y="-1412"/>
                  <a:pt x="1102" y="1128"/>
                  <a:pt x="1102" y="1128"/>
                </a:cubicBezTo>
                <a:lnTo>
                  <a:pt x="1102" y="1128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олилиния 16"/>
          <p:cNvSpPr/>
          <p:nvPr/>
        </p:nvSpPr>
        <p:spPr>
          <a:xfrm>
            <a:off x="2364930" y="2485694"/>
            <a:ext cx="190783" cy="200915"/>
          </a:xfrm>
          <a:custGeom>
            <a:avLst/>
            <a:gdLst>
              <a:gd name="connsiteX0" fmla="*/ 184667 w 190783"/>
              <a:gd name="connsiteY0" fmla="*/ 193602 h 193602"/>
              <a:gd name="connsiteX1" fmla="*/ 181689 w 190783"/>
              <a:gd name="connsiteY1" fmla="*/ 139989 h 193602"/>
              <a:gd name="connsiteX2" fmla="*/ 190624 w 190783"/>
              <a:gd name="connsiteY2" fmla="*/ 119140 h 193602"/>
              <a:gd name="connsiteX3" fmla="*/ 172753 w 190783"/>
              <a:gd name="connsiteY3" fmla="*/ 107226 h 193602"/>
              <a:gd name="connsiteX4" fmla="*/ 134033 w 190783"/>
              <a:gd name="connsiteY4" fmla="*/ 98290 h 193602"/>
              <a:gd name="connsiteX5" fmla="*/ 98291 w 190783"/>
              <a:gd name="connsiteY5" fmla="*/ 92333 h 193602"/>
              <a:gd name="connsiteX6" fmla="*/ 89355 w 190783"/>
              <a:gd name="connsiteY6" fmla="*/ 86376 h 193602"/>
              <a:gd name="connsiteX7" fmla="*/ 68506 w 190783"/>
              <a:gd name="connsiteY7" fmla="*/ 71484 h 193602"/>
              <a:gd name="connsiteX8" fmla="*/ 53613 w 190783"/>
              <a:gd name="connsiteY8" fmla="*/ 56591 h 193602"/>
              <a:gd name="connsiteX9" fmla="*/ 47656 w 190783"/>
              <a:gd name="connsiteY9" fmla="*/ 41699 h 193602"/>
              <a:gd name="connsiteX10" fmla="*/ 38721 w 190783"/>
              <a:gd name="connsiteY10" fmla="*/ 26806 h 193602"/>
              <a:gd name="connsiteX11" fmla="*/ 26807 w 190783"/>
              <a:gd name="connsiteY11" fmla="*/ 11914 h 193602"/>
              <a:gd name="connsiteX12" fmla="*/ 0 w 190783"/>
              <a:gd name="connsiteY12" fmla="*/ 0 h 19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0783" h="193602">
                <a:moveTo>
                  <a:pt x="184667" y="193602"/>
                </a:moveTo>
                <a:cubicBezTo>
                  <a:pt x="182681" y="173000"/>
                  <a:pt x="180696" y="152399"/>
                  <a:pt x="181689" y="139989"/>
                </a:cubicBezTo>
                <a:cubicBezTo>
                  <a:pt x="182682" y="127579"/>
                  <a:pt x="192113" y="124601"/>
                  <a:pt x="190624" y="119140"/>
                </a:cubicBezTo>
                <a:cubicBezTo>
                  <a:pt x="189135" y="113679"/>
                  <a:pt x="182185" y="110701"/>
                  <a:pt x="172753" y="107226"/>
                </a:cubicBezTo>
                <a:cubicBezTo>
                  <a:pt x="163321" y="103751"/>
                  <a:pt x="146443" y="100772"/>
                  <a:pt x="134033" y="98290"/>
                </a:cubicBezTo>
                <a:cubicBezTo>
                  <a:pt x="121623" y="95808"/>
                  <a:pt x="98291" y="92333"/>
                  <a:pt x="98291" y="92333"/>
                </a:cubicBezTo>
                <a:cubicBezTo>
                  <a:pt x="90845" y="90347"/>
                  <a:pt x="94319" y="89851"/>
                  <a:pt x="89355" y="86376"/>
                </a:cubicBezTo>
                <a:cubicBezTo>
                  <a:pt x="84391" y="82901"/>
                  <a:pt x="74463" y="76448"/>
                  <a:pt x="68506" y="71484"/>
                </a:cubicBezTo>
                <a:cubicBezTo>
                  <a:pt x="62549" y="66520"/>
                  <a:pt x="57088" y="61555"/>
                  <a:pt x="53613" y="56591"/>
                </a:cubicBezTo>
                <a:cubicBezTo>
                  <a:pt x="50138" y="51627"/>
                  <a:pt x="50138" y="46663"/>
                  <a:pt x="47656" y="41699"/>
                </a:cubicBezTo>
                <a:cubicBezTo>
                  <a:pt x="45174" y="36735"/>
                  <a:pt x="42196" y="31770"/>
                  <a:pt x="38721" y="26806"/>
                </a:cubicBezTo>
                <a:cubicBezTo>
                  <a:pt x="35246" y="21842"/>
                  <a:pt x="33260" y="16382"/>
                  <a:pt x="26807" y="11914"/>
                </a:cubicBezTo>
                <a:cubicBezTo>
                  <a:pt x="20354" y="7446"/>
                  <a:pt x="10177" y="3723"/>
                  <a:pt x="0" y="0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олилиния 17"/>
          <p:cNvSpPr/>
          <p:nvPr/>
        </p:nvSpPr>
        <p:spPr>
          <a:xfrm>
            <a:off x="2368406" y="2487343"/>
            <a:ext cx="187307" cy="201121"/>
          </a:xfrm>
          <a:custGeom>
            <a:avLst/>
            <a:gdLst>
              <a:gd name="connsiteX0" fmla="*/ 184667 w 190783"/>
              <a:gd name="connsiteY0" fmla="*/ 193602 h 193602"/>
              <a:gd name="connsiteX1" fmla="*/ 181689 w 190783"/>
              <a:gd name="connsiteY1" fmla="*/ 139989 h 193602"/>
              <a:gd name="connsiteX2" fmla="*/ 190624 w 190783"/>
              <a:gd name="connsiteY2" fmla="*/ 119140 h 193602"/>
              <a:gd name="connsiteX3" fmla="*/ 172753 w 190783"/>
              <a:gd name="connsiteY3" fmla="*/ 107226 h 193602"/>
              <a:gd name="connsiteX4" fmla="*/ 134033 w 190783"/>
              <a:gd name="connsiteY4" fmla="*/ 98290 h 193602"/>
              <a:gd name="connsiteX5" fmla="*/ 98291 w 190783"/>
              <a:gd name="connsiteY5" fmla="*/ 92333 h 193602"/>
              <a:gd name="connsiteX6" fmla="*/ 89355 w 190783"/>
              <a:gd name="connsiteY6" fmla="*/ 86376 h 193602"/>
              <a:gd name="connsiteX7" fmla="*/ 68506 w 190783"/>
              <a:gd name="connsiteY7" fmla="*/ 71484 h 193602"/>
              <a:gd name="connsiteX8" fmla="*/ 53613 w 190783"/>
              <a:gd name="connsiteY8" fmla="*/ 56591 h 193602"/>
              <a:gd name="connsiteX9" fmla="*/ 47656 w 190783"/>
              <a:gd name="connsiteY9" fmla="*/ 41699 h 193602"/>
              <a:gd name="connsiteX10" fmla="*/ 38721 w 190783"/>
              <a:gd name="connsiteY10" fmla="*/ 26806 h 193602"/>
              <a:gd name="connsiteX11" fmla="*/ 26807 w 190783"/>
              <a:gd name="connsiteY11" fmla="*/ 11914 h 193602"/>
              <a:gd name="connsiteX12" fmla="*/ 0 w 190783"/>
              <a:gd name="connsiteY12" fmla="*/ 0 h 19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0783" h="193602">
                <a:moveTo>
                  <a:pt x="184667" y="193602"/>
                </a:moveTo>
                <a:cubicBezTo>
                  <a:pt x="182681" y="173000"/>
                  <a:pt x="180696" y="152399"/>
                  <a:pt x="181689" y="139989"/>
                </a:cubicBezTo>
                <a:cubicBezTo>
                  <a:pt x="182682" y="127579"/>
                  <a:pt x="192113" y="124601"/>
                  <a:pt x="190624" y="119140"/>
                </a:cubicBezTo>
                <a:cubicBezTo>
                  <a:pt x="189135" y="113679"/>
                  <a:pt x="182185" y="110701"/>
                  <a:pt x="172753" y="107226"/>
                </a:cubicBezTo>
                <a:cubicBezTo>
                  <a:pt x="163321" y="103751"/>
                  <a:pt x="146443" y="100772"/>
                  <a:pt x="134033" y="98290"/>
                </a:cubicBezTo>
                <a:cubicBezTo>
                  <a:pt x="121623" y="95808"/>
                  <a:pt x="98291" y="92333"/>
                  <a:pt x="98291" y="92333"/>
                </a:cubicBezTo>
                <a:cubicBezTo>
                  <a:pt x="90845" y="90347"/>
                  <a:pt x="94319" y="89851"/>
                  <a:pt x="89355" y="86376"/>
                </a:cubicBezTo>
                <a:cubicBezTo>
                  <a:pt x="84391" y="82901"/>
                  <a:pt x="74463" y="76448"/>
                  <a:pt x="68506" y="71484"/>
                </a:cubicBezTo>
                <a:cubicBezTo>
                  <a:pt x="62549" y="66520"/>
                  <a:pt x="57088" y="61555"/>
                  <a:pt x="53613" y="56591"/>
                </a:cubicBezTo>
                <a:cubicBezTo>
                  <a:pt x="50138" y="51627"/>
                  <a:pt x="50138" y="46663"/>
                  <a:pt x="47656" y="41699"/>
                </a:cubicBezTo>
                <a:cubicBezTo>
                  <a:pt x="45174" y="36735"/>
                  <a:pt x="42196" y="31770"/>
                  <a:pt x="38721" y="26806"/>
                </a:cubicBezTo>
                <a:cubicBezTo>
                  <a:pt x="35246" y="21842"/>
                  <a:pt x="33260" y="16382"/>
                  <a:pt x="26807" y="11914"/>
                </a:cubicBezTo>
                <a:cubicBezTo>
                  <a:pt x="20354" y="7446"/>
                  <a:pt x="10177" y="3723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олилиния 18"/>
          <p:cNvSpPr/>
          <p:nvPr/>
        </p:nvSpPr>
        <p:spPr>
          <a:xfrm>
            <a:off x="1337349" y="2001553"/>
            <a:ext cx="1182465" cy="713521"/>
          </a:xfrm>
          <a:custGeom>
            <a:avLst/>
            <a:gdLst>
              <a:gd name="connsiteX0" fmla="*/ 1182465 w 1182465"/>
              <a:gd name="connsiteY0" fmla="*/ 711861 h 713521"/>
              <a:gd name="connsiteX1" fmla="*/ 1116938 w 1182465"/>
              <a:gd name="connsiteY1" fmla="*/ 708883 h 713521"/>
              <a:gd name="connsiteX2" fmla="*/ 1054390 w 1182465"/>
              <a:gd name="connsiteY2" fmla="*/ 711861 h 713521"/>
              <a:gd name="connsiteX3" fmla="*/ 1015669 w 1182465"/>
              <a:gd name="connsiteY3" fmla="*/ 711861 h 713521"/>
              <a:gd name="connsiteX4" fmla="*/ 932271 w 1182465"/>
              <a:gd name="connsiteY4" fmla="*/ 691012 h 713521"/>
              <a:gd name="connsiteX5" fmla="*/ 884615 w 1182465"/>
              <a:gd name="connsiteY5" fmla="*/ 702926 h 713521"/>
              <a:gd name="connsiteX6" fmla="*/ 842916 w 1182465"/>
              <a:gd name="connsiteY6" fmla="*/ 705904 h 713521"/>
              <a:gd name="connsiteX7" fmla="*/ 753561 w 1182465"/>
              <a:gd name="connsiteY7" fmla="*/ 685055 h 713521"/>
              <a:gd name="connsiteX8" fmla="*/ 640378 w 1182465"/>
              <a:gd name="connsiteY8" fmla="*/ 664205 h 713521"/>
              <a:gd name="connsiteX9" fmla="*/ 577830 w 1182465"/>
              <a:gd name="connsiteY9" fmla="*/ 661227 h 713521"/>
              <a:gd name="connsiteX10" fmla="*/ 530174 w 1182465"/>
              <a:gd name="connsiteY10" fmla="*/ 652291 h 713521"/>
              <a:gd name="connsiteX11" fmla="*/ 467625 w 1182465"/>
              <a:gd name="connsiteY11" fmla="*/ 628463 h 713521"/>
              <a:gd name="connsiteX12" fmla="*/ 405076 w 1182465"/>
              <a:gd name="connsiteY12" fmla="*/ 610592 h 713521"/>
              <a:gd name="connsiteX13" fmla="*/ 327635 w 1182465"/>
              <a:gd name="connsiteY13" fmla="*/ 577829 h 713521"/>
              <a:gd name="connsiteX14" fmla="*/ 262108 w 1182465"/>
              <a:gd name="connsiteY14" fmla="*/ 551022 h 713521"/>
              <a:gd name="connsiteX15" fmla="*/ 232323 w 1182465"/>
              <a:gd name="connsiteY15" fmla="*/ 542087 h 713521"/>
              <a:gd name="connsiteX16" fmla="*/ 226366 w 1182465"/>
              <a:gd name="connsiteY16" fmla="*/ 515280 h 713521"/>
              <a:gd name="connsiteX17" fmla="*/ 217431 w 1182465"/>
              <a:gd name="connsiteY17" fmla="*/ 491452 h 713521"/>
              <a:gd name="connsiteX18" fmla="*/ 190624 w 1182465"/>
              <a:gd name="connsiteY18" fmla="*/ 470603 h 713521"/>
              <a:gd name="connsiteX19" fmla="*/ 187646 w 1182465"/>
              <a:gd name="connsiteY19" fmla="*/ 437839 h 713521"/>
              <a:gd name="connsiteX20" fmla="*/ 175732 w 1182465"/>
              <a:gd name="connsiteY20" fmla="*/ 416990 h 713521"/>
              <a:gd name="connsiteX21" fmla="*/ 145947 w 1182465"/>
              <a:gd name="connsiteY21" fmla="*/ 387205 h 713521"/>
              <a:gd name="connsiteX22" fmla="*/ 119140 w 1182465"/>
              <a:gd name="connsiteY22" fmla="*/ 342527 h 713521"/>
              <a:gd name="connsiteX23" fmla="*/ 104248 w 1182465"/>
              <a:gd name="connsiteY23" fmla="*/ 297850 h 713521"/>
              <a:gd name="connsiteX24" fmla="*/ 80420 w 1182465"/>
              <a:gd name="connsiteY24" fmla="*/ 259129 h 713521"/>
              <a:gd name="connsiteX25" fmla="*/ 56592 w 1182465"/>
              <a:gd name="connsiteY25" fmla="*/ 193602 h 713521"/>
              <a:gd name="connsiteX26" fmla="*/ 50635 w 1182465"/>
              <a:gd name="connsiteY26" fmla="*/ 175731 h 713521"/>
              <a:gd name="connsiteX27" fmla="*/ 56592 w 1182465"/>
              <a:gd name="connsiteY27" fmla="*/ 148925 h 713521"/>
              <a:gd name="connsiteX28" fmla="*/ 65527 w 1182465"/>
              <a:gd name="connsiteY28" fmla="*/ 110204 h 713521"/>
              <a:gd name="connsiteX29" fmla="*/ 35742 w 1182465"/>
              <a:gd name="connsiteY29" fmla="*/ 74462 h 713521"/>
              <a:gd name="connsiteX30" fmla="*/ 23828 w 1182465"/>
              <a:gd name="connsiteY30" fmla="*/ 41699 h 713521"/>
              <a:gd name="connsiteX31" fmla="*/ 5957 w 1182465"/>
              <a:gd name="connsiteY31" fmla="*/ 11914 h 713521"/>
              <a:gd name="connsiteX32" fmla="*/ 0 w 1182465"/>
              <a:gd name="connsiteY32" fmla="*/ 0 h 713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182465" h="713521">
                <a:moveTo>
                  <a:pt x="1182465" y="711861"/>
                </a:moveTo>
                <a:cubicBezTo>
                  <a:pt x="1160374" y="710372"/>
                  <a:pt x="1138284" y="708883"/>
                  <a:pt x="1116938" y="708883"/>
                </a:cubicBezTo>
                <a:cubicBezTo>
                  <a:pt x="1095592" y="708883"/>
                  <a:pt x="1071268" y="711365"/>
                  <a:pt x="1054390" y="711861"/>
                </a:cubicBezTo>
                <a:cubicBezTo>
                  <a:pt x="1037512" y="712357"/>
                  <a:pt x="1036022" y="715336"/>
                  <a:pt x="1015669" y="711861"/>
                </a:cubicBezTo>
                <a:cubicBezTo>
                  <a:pt x="995316" y="708386"/>
                  <a:pt x="954113" y="692501"/>
                  <a:pt x="932271" y="691012"/>
                </a:cubicBezTo>
                <a:cubicBezTo>
                  <a:pt x="910429" y="689523"/>
                  <a:pt x="899507" y="700444"/>
                  <a:pt x="884615" y="702926"/>
                </a:cubicBezTo>
                <a:cubicBezTo>
                  <a:pt x="869723" y="705408"/>
                  <a:pt x="864758" y="708882"/>
                  <a:pt x="842916" y="705904"/>
                </a:cubicBezTo>
                <a:cubicBezTo>
                  <a:pt x="821074" y="702925"/>
                  <a:pt x="787317" y="692005"/>
                  <a:pt x="753561" y="685055"/>
                </a:cubicBezTo>
                <a:cubicBezTo>
                  <a:pt x="719805" y="678105"/>
                  <a:pt x="669667" y="668176"/>
                  <a:pt x="640378" y="664205"/>
                </a:cubicBezTo>
                <a:cubicBezTo>
                  <a:pt x="611089" y="660234"/>
                  <a:pt x="596197" y="663213"/>
                  <a:pt x="577830" y="661227"/>
                </a:cubicBezTo>
                <a:cubicBezTo>
                  <a:pt x="559463" y="659241"/>
                  <a:pt x="548542" y="657752"/>
                  <a:pt x="530174" y="652291"/>
                </a:cubicBezTo>
                <a:cubicBezTo>
                  <a:pt x="511806" y="646830"/>
                  <a:pt x="488475" y="635413"/>
                  <a:pt x="467625" y="628463"/>
                </a:cubicBezTo>
                <a:cubicBezTo>
                  <a:pt x="446775" y="621513"/>
                  <a:pt x="428408" y="619031"/>
                  <a:pt x="405076" y="610592"/>
                </a:cubicBezTo>
                <a:cubicBezTo>
                  <a:pt x="381744" y="602153"/>
                  <a:pt x="327635" y="577829"/>
                  <a:pt x="327635" y="577829"/>
                </a:cubicBezTo>
                <a:cubicBezTo>
                  <a:pt x="303807" y="567901"/>
                  <a:pt x="277993" y="556979"/>
                  <a:pt x="262108" y="551022"/>
                </a:cubicBezTo>
                <a:cubicBezTo>
                  <a:pt x="246223" y="545065"/>
                  <a:pt x="238280" y="548044"/>
                  <a:pt x="232323" y="542087"/>
                </a:cubicBezTo>
                <a:cubicBezTo>
                  <a:pt x="226366" y="536130"/>
                  <a:pt x="228848" y="523719"/>
                  <a:pt x="226366" y="515280"/>
                </a:cubicBezTo>
                <a:cubicBezTo>
                  <a:pt x="223884" y="506841"/>
                  <a:pt x="223388" y="498898"/>
                  <a:pt x="217431" y="491452"/>
                </a:cubicBezTo>
                <a:cubicBezTo>
                  <a:pt x="211474" y="484006"/>
                  <a:pt x="195588" y="479538"/>
                  <a:pt x="190624" y="470603"/>
                </a:cubicBezTo>
                <a:cubicBezTo>
                  <a:pt x="185660" y="461668"/>
                  <a:pt x="190128" y="446774"/>
                  <a:pt x="187646" y="437839"/>
                </a:cubicBezTo>
                <a:cubicBezTo>
                  <a:pt x="185164" y="428904"/>
                  <a:pt x="182682" y="425429"/>
                  <a:pt x="175732" y="416990"/>
                </a:cubicBezTo>
                <a:cubicBezTo>
                  <a:pt x="168782" y="408551"/>
                  <a:pt x="155379" y="399615"/>
                  <a:pt x="145947" y="387205"/>
                </a:cubicBezTo>
                <a:cubicBezTo>
                  <a:pt x="136515" y="374795"/>
                  <a:pt x="126090" y="357419"/>
                  <a:pt x="119140" y="342527"/>
                </a:cubicBezTo>
                <a:cubicBezTo>
                  <a:pt x="112190" y="327635"/>
                  <a:pt x="110701" y="311750"/>
                  <a:pt x="104248" y="297850"/>
                </a:cubicBezTo>
                <a:cubicBezTo>
                  <a:pt x="97795" y="283950"/>
                  <a:pt x="88363" y="276504"/>
                  <a:pt x="80420" y="259129"/>
                </a:cubicBezTo>
                <a:cubicBezTo>
                  <a:pt x="72477" y="241754"/>
                  <a:pt x="61556" y="207502"/>
                  <a:pt x="56592" y="193602"/>
                </a:cubicBezTo>
                <a:cubicBezTo>
                  <a:pt x="51628" y="179702"/>
                  <a:pt x="50635" y="183177"/>
                  <a:pt x="50635" y="175731"/>
                </a:cubicBezTo>
                <a:cubicBezTo>
                  <a:pt x="50635" y="168285"/>
                  <a:pt x="54110" y="159846"/>
                  <a:pt x="56592" y="148925"/>
                </a:cubicBezTo>
                <a:cubicBezTo>
                  <a:pt x="59074" y="138004"/>
                  <a:pt x="69002" y="122614"/>
                  <a:pt x="65527" y="110204"/>
                </a:cubicBezTo>
                <a:cubicBezTo>
                  <a:pt x="62052" y="97794"/>
                  <a:pt x="42692" y="85879"/>
                  <a:pt x="35742" y="74462"/>
                </a:cubicBezTo>
                <a:cubicBezTo>
                  <a:pt x="28792" y="63045"/>
                  <a:pt x="28792" y="52124"/>
                  <a:pt x="23828" y="41699"/>
                </a:cubicBezTo>
                <a:cubicBezTo>
                  <a:pt x="18864" y="31274"/>
                  <a:pt x="5957" y="11914"/>
                  <a:pt x="5957" y="11914"/>
                </a:cubicBezTo>
                <a:cubicBezTo>
                  <a:pt x="1986" y="4964"/>
                  <a:pt x="993" y="2482"/>
                  <a:pt x="0" y="0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олилиния 19"/>
          <p:cNvSpPr/>
          <p:nvPr/>
        </p:nvSpPr>
        <p:spPr>
          <a:xfrm>
            <a:off x="1337641" y="2000027"/>
            <a:ext cx="1196816" cy="713521"/>
          </a:xfrm>
          <a:custGeom>
            <a:avLst/>
            <a:gdLst>
              <a:gd name="connsiteX0" fmla="*/ 1182465 w 1182465"/>
              <a:gd name="connsiteY0" fmla="*/ 711861 h 713521"/>
              <a:gd name="connsiteX1" fmla="*/ 1116938 w 1182465"/>
              <a:gd name="connsiteY1" fmla="*/ 708883 h 713521"/>
              <a:gd name="connsiteX2" fmla="*/ 1054390 w 1182465"/>
              <a:gd name="connsiteY2" fmla="*/ 711861 h 713521"/>
              <a:gd name="connsiteX3" fmla="*/ 1015669 w 1182465"/>
              <a:gd name="connsiteY3" fmla="*/ 711861 h 713521"/>
              <a:gd name="connsiteX4" fmla="*/ 932271 w 1182465"/>
              <a:gd name="connsiteY4" fmla="*/ 691012 h 713521"/>
              <a:gd name="connsiteX5" fmla="*/ 884615 w 1182465"/>
              <a:gd name="connsiteY5" fmla="*/ 702926 h 713521"/>
              <a:gd name="connsiteX6" fmla="*/ 842916 w 1182465"/>
              <a:gd name="connsiteY6" fmla="*/ 705904 h 713521"/>
              <a:gd name="connsiteX7" fmla="*/ 753561 w 1182465"/>
              <a:gd name="connsiteY7" fmla="*/ 685055 h 713521"/>
              <a:gd name="connsiteX8" fmla="*/ 640378 w 1182465"/>
              <a:gd name="connsiteY8" fmla="*/ 664205 h 713521"/>
              <a:gd name="connsiteX9" fmla="*/ 577830 w 1182465"/>
              <a:gd name="connsiteY9" fmla="*/ 661227 h 713521"/>
              <a:gd name="connsiteX10" fmla="*/ 530174 w 1182465"/>
              <a:gd name="connsiteY10" fmla="*/ 652291 h 713521"/>
              <a:gd name="connsiteX11" fmla="*/ 467625 w 1182465"/>
              <a:gd name="connsiteY11" fmla="*/ 628463 h 713521"/>
              <a:gd name="connsiteX12" fmla="*/ 405076 w 1182465"/>
              <a:gd name="connsiteY12" fmla="*/ 610592 h 713521"/>
              <a:gd name="connsiteX13" fmla="*/ 327635 w 1182465"/>
              <a:gd name="connsiteY13" fmla="*/ 577829 h 713521"/>
              <a:gd name="connsiteX14" fmla="*/ 262108 w 1182465"/>
              <a:gd name="connsiteY14" fmla="*/ 551022 h 713521"/>
              <a:gd name="connsiteX15" fmla="*/ 232323 w 1182465"/>
              <a:gd name="connsiteY15" fmla="*/ 542087 h 713521"/>
              <a:gd name="connsiteX16" fmla="*/ 226366 w 1182465"/>
              <a:gd name="connsiteY16" fmla="*/ 515280 h 713521"/>
              <a:gd name="connsiteX17" fmla="*/ 217431 w 1182465"/>
              <a:gd name="connsiteY17" fmla="*/ 491452 h 713521"/>
              <a:gd name="connsiteX18" fmla="*/ 190624 w 1182465"/>
              <a:gd name="connsiteY18" fmla="*/ 470603 h 713521"/>
              <a:gd name="connsiteX19" fmla="*/ 187646 w 1182465"/>
              <a:gd name="connsiteY19" fmla="*/ 437839 h 713521"/>
              <a:gd name="connsiteX20" fmla="*/ 175732 w 1182465"/>
              <a:gd name="connsiteY20" fmla="*/ 416990 h 713521"/>
              <a:gd name="connsiteX21" fmla="*/ 145947 w 1182465"/>
              <a:gd name="connsiteY21" fmla="*/ 387205 h 713521"/>
              <a:gd name="connsiteX22" fmla="*/ 119140 w 1182465"/>
              <a:gd name="connsiteY22" fmla="*/ 342527 h 713521"/>
              <a:gd name="connsiteX23" fmla="*/ 104248 w 1182465"/>
              <a:gd name="connsiteY23" fmla="*/ 297850 h 713521"/>
              <a:gd name="connsiteX24" fmla="*/ 80420 w 1182465"/>
              <a:gd name="connsiteY24" fmla="*/ 259129 h 713521"/>
              <a:gd name="connsiteX25" fmla="*/ 56592 w 1182465"/>
              <a:gd name="connsiteY25" fmla="*/ 193602 h 713521"/>
              <a:gd name="connsiteX26" fmla="*/ 50635 w 1182465"/>
              <a:gd name="connsiteY26" fmla="*/ 175731 h 713521"/>
              <a:gd name="connsiteX27" fmla="*/ 56592 w 1182465"/>
              <a:gd name="connsiteY27" fmla="*/ 148925 h 713521"/>
              <a:gd name="connsiteX28" fmla="*/ 65527 w 1182465"/>
              <a:gd name="connsiteY28" fmla="*/ 110204 h 713521"/>
              <a:gd name="connsiteX29" fmla="*/ 35742 w 1182465"/>
              <a:gd name="connsiteY29" fmla="*/ 74462 h 713521"/>
              <a:gd name="connsiteX30" fmla="*/ 23828 w 1182465"/>
              <a:gd name="connsiteY30" fmla="*/ 41699 h 713521"/>
              <a:gd name="connsiteX31" fmla="*/ 5957 w 1182465"/>
              <a:gd name="connsiteY31" fmla="*/ 11914 h 713521"/>
              <a:gd name="connsiteX32" fmla="*/ 0 w 1182465"/>
              <a:gd name="connsiteY32" fmla="*/ 0 h 713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182465" h="713521">
                <a:moveTo>
                  <a:pt x="1182465" y="711861"/>
                </a:moveTo>
                <a:cubicBezTo>
                  <a:pt x="1160374" y="710372"/>
                  <a:pt x="1138284" y="708883"/>
                  <a:pt x="1116938" y="708883"/>
                </a:cubicBezTo>
                <a:cubicBezTo>
                  <a:pt x="1095592" y="708883"/>
                  <a:pt x="1071268" y="711365"/>
                  <a:pt x="1054390" y="711861"/>
                </a:cubicBezTo>
                <a:cubicBezTo>
                  <a:pt x="1037512" y="712357"/>
                  <a:pt x="1036022" y="715336"/>
                  <a:pt x="1015669" y="711861"/>
                </a:cubicBezTo>
                <a:cubicBezTo>
                  <a:pt x="995316" y="708386"/>
                  <a:pt x="954113" y="692501"/>
                  <a:pt x="932271" y="691012"/>
                </a:cubicBezTo>
                <a:cubicBezTo>
                  <a:pt x="910429" y="689523"/>
                  <a:pt x="899507" y="700444"/>
                  <a:pt x="884615" y="702926"/>
                </a:cubicBezTo>
                <a:cubicBezTo>
                  <a:pt x="869723" y="705408"/>
                  <a:pt x="864758" y="708882"/>
                  <a:pt x="842916" y="705904"/>
                </a:cubicBezTo>
                <a:cubicBezTo>
                  <a:pt x="821074" y="702925"/>
                  <a:pt x="787317" y="692005"/>
                  <a:pt x="753561" y="685055"/>
                </a:cubicBezTo>
                <a:cubicBezTo>
                  <a:pt x="719805" y="678105"/>
                  <a:pt x="669667" y="668176"/>
                  <a:pt x="640378" y="664205"/>
                </a:cubicBezTo>
                <a:cubicBezTo>
                  <a:pt x="611089" y="660234"/>
                  <a:pt x="596197" y="663213"/>
                  <a:pt x="577830" y="661227"/>
                </a:cubicBezTo>
                <a:cubicBezTo>
                  <a:pt x="559463" y="659241"/>
                  <a:pt x="548542" y="657752"/>
                  <a:pt x="530174" y="652291"/>
                </a:cubicBezTo>
                <a:cubicBezTo>
                  <a:pt x="511806" y="646830"/>
                  <a:pt x="488475" y="635413"/>
                  <a:pt x="467625" y="628463"/>
                </a:cubicBezTo>
                <a:cubicBezTo>
                  <a:pt x="446775" y="621513"/>
                  <a:pt x="428408" y="619031"/>
                  <a:pt x="405076" y="610592"/>
                </a:cubicBezTo>
                <a:cubicBezTo>
                  <a:pt x="381744" y="602153"/>
                  <a:pt x="327635" y="577829"/>
                  <a:pt x="327635" y="577829"/>
                </a:cubicBezTo>
                <a:cubicBezTo>
                  <a:pt x="303807" y="567901"/>
                  <a:pt x="277993" y="556979"/>
                  <a:pt x="262108" y="551022"/>
                </a:cubicBezTo>
                <a:cubicBezTo>
                  <a:pt x="246223" y="545065"/>
                  <a:pt x="238280" y="548044"/>
                  <a:pt x="232323" y="542087"/>
                </a:cubicBezTo>
                <a:cubicBezTo>
                  <a:pt x="226366" y="536130"/>
                  <a:pt x="228848" y="523719"/>
                  <a:pt x="226366" y="515280"/>
                </a:cubicBezTo>
                <a:cubicBezTo>
                  <a:pt x="223884" y="506841"/>
                  <a:pt x="223388" y="498898"/>
                  <a:pt x="217431" y="491452"/>
                </a:cubicBezTo>
                <a:cubicBezTo>
                  <a:pt x="211474" y="484006"/>
                  <a:pt x="195588" y="479538"/>
                  <a:pt x="190624" y="470603"/>
                </a:cubicBezTo>
                <a:cubicBezTo>
                  <a:pt x="185660" y="461668"/>
                  <a:pt x="190128" y="446774"/>
                  <a:pt x="187646" y="437839"/>
                </a:cubicBezTo>
                <a:cubicBezTo>
                  <a:pt x="185164" y="428904"/>
                  <a:pt x="182682" y="425429"/>
                  <a:pt x="175732" y="416990"/>
                </a:cubicBezTo>
                <a:cubicBezTo>
                  <a:pt x="168782" y="408551"/>
                  <a:pt x="155379" y="399615"/>
                  <a:pt x="145947" y="387205"/>
                </a:cubicBezTo>
                <a:cubicBezTo>
                  <a:pt x="136515" y="374795"/>
                  <a:pt x="126090" y="357419"/>
                  <a:pt x="119140" y="342527"/>
                </a:cubicBezTo>
                <a:cubicBezTo>
                  <a:pt x="112190" y="327635"/>
                  <a:pt x="110701" y="311750"/>
                  <a:pt x="104248" y="297850"/>
                </a:cubicBezTo>
                <a:cubicBezTo>
                  <a:pt x="97795" y="283950"/>
                  <a:pt x="88363" y="276504"/>
                  <a:pt x="80420" y="259129"/>
                </a:cubicBezTo>
                <a:cubicBezTo>
                  <a:pt x="72477" y="241754"/>
                  <a:pt x="61556" y="207502"/>
                  <a:pt x="56592" y="193602"/>
                </a:cubicBezTo>
                <a:cubicBezTo>
                  <a:pt x="51628" y="179702"/>
                  <a:pt x="50635" y="183177"/>
                  <a:pt x="50635" y="175731"/>
                </a:cubicBezTo>
                <a:cubicBezTo>
                  <a:pt x="50635" y="168285"/>
                  <a:pt x="54110" y="159846"/>
                  <a:pt x="56592" y="148925"/>
                </a:cubicBezTo>
                <a:cubicBezTo>
                  <a:pt x="59074" y="138004"/>
                  <a:pt x="69002" y="122614"/>
                  <a:pt x="65527" y="110204"/>
                </a:cubicBezTo>
                <a:cubicBezTo>
                  <a:pt x="62052" y="97794"/>
                  <a:pt x="42692" y="85879"/>
                  <a:pt x="35742" y="74462"/>
                </a:cubicBezTo>
                <a:cubicBezTo>
                  <a:pt x="28792" y="63045"/>
                  <a:pt x="28792" y="52124"/>
                  <a:pt x="23828" y="41699"/>
                </a:cubicBezTo>
                <a:cubicBezTo>
                  <a:pt x="18864" y="31274"/>
                  <a:pt x="5957" y="11914"/>
                  <a:pt x="5957" y="11914"/>
                </a:cubicBezTo>
                <a:cubicBezTo>
                  <a:pt x="1986" y="4964"/>
                  <a:pt x="993" y="2482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олилиния 4"/>
          <p:cNvSpPr/>
          <p:nvPr/>
        </p:nvSpPr>
        <p:spPr>
          <a:xfrm>
            <a:off x="735830" y="3450314"/>
            <a:ext cx="1089317" cy="1267910"/>
          </a:xfrm>
          <a:custGeom>
            <a:avLst/>
            <a:gdLst>
              <a:gd name="connsiteX0" fmla="*/ 471055 w 1089317"/>
              <a:gd name="connsiteY0" fmla="*/ 60346 h 1267910"/>
              <a:gd name="connsiteX1" fmla="*/ 523394 w 1089317"/>
              <a:gd name="connsiteY1" fmla="*/ 54188 h 1267910"/>
              <a:gd name="connsiteX2" fmla="*/ 560340 w 1089317"/>
              <a:gd name="connsiteY2" fmla="*/ 35715 h 1267910"/>
              <a:gd name="connsiteX3" fmla="*/ 581891 w 1089317"/>
              <a:gd name="connsiteY3" fmla="*/ 26479 h 1267910"/>
              <a:gd name="connsiteX4" fmla="*/ 621915 w 1089317"/>
              <a:gd name="connsiteY4" fmla="*/ 11085 h 1267910"/>
              <a:gd name="connsiteX5" fmla="*/ 655782 w 1089317"/>
              <a:gd name="connsiteY5" fmla="*/ 17243 h 1267910"/>
              <a:gd name="connsiteX6" fmla="*/ 677334 w 1089317"/>
              <a:gd name="connsiteY6" fmla="*/ 20322 h 1267910"/>
              <a:gd name="connsiteX7" fmla="*/ 717358 w 1089317"/>
              <a:gd name="connsiteY7" fmla="*/ 8006 h 1267910"/>
              <a:gd name="connsiteX8" fmla="*/ 757382 w 1089317"/>
              <a:gd name="connsiteY8" fmla="*/ 1849 h 1267910"/>
              <a:gd name="connsiteX9" fmla="*/ 794328 w 1089317"/>
              <a:gd name="connsiteY9" fmla="*/ 1849 h 1267910"/>
              <a:gd name="connsiteX10" fmla="*/ 828194 w 1089317"/>
              <a:gd name="connsiteY10" fmla="*/ 23400 h 1267910"/>
              <a:gd name="connsiteX11" fmla="*/ 852825 w 1089317"/>
              <a:gd name="connsiteY11" fmla="*/ 32637 h 1267910"/>
              <a:gd name="connsiteX12" fmla="*/ 877455 w 1089317"/>
              <a:gd name="connsiteY12" fmla="*/ 51109 h 1267910"/>
              <a:gd name="connsiteX13" fmla="*/ 899006 w 1089317"/>
              <a:gd name="connsiteY13" fmla="*/ 84976 h 1267910"/>
              <a:gd name="connsiteX14" fmla="*/ 917479 w 1089317"/>
              <a:gd name="connsiteY14" fmla="*/ 121922 h 1267910"/>
              <a:gd name="connsiteX15" fmla="*/ 929794 w 1089317"/>
              <a:gd name="connsiteY15" fmla="*/ 177340 h 1267910"/>
              <a:gd name="connsiteX16" fmla="*/ 929794 w 1089317"/>
              <a:gd name="connsiteY16" fmla="*/ 189655 h 1267910"/>
              <a:gd name="connsiteX17" fmla="*/ 923637 w 1089317"/>
              <a:gd name="connsiteY17" fmla="*/ 217364 h 1267910"/>
              <a:gd name="connsiteX18" fmla="*/ 935952 w 1089317"/>
              <a:gd name="connsiteY18" fmla="*/ 245073 h 1267910"/>
              <a:gd name="connsiteX19" fmla="*/ 935952 w 1089317"/>
              <a:gd name="connsiteY19" fmla="*/ 291255 h 1267910"/>
              <a:gd name="connsiteX20" fmla="*/ 942109 w 1089317"/>
              <a:gd name="connsiteY20" fmla="*/ 328200 h 1267910"/>
              <a:gd name="connsiteX21" fmla="*/ 957503 w 1089317"/>
              <a:gd name="connsiteY21" fmla="*/ 386697 h 1267910"/>
              <a:gd name="connsiteX22" fmla="*/ 985212 w 1089317"/>
              <a:gd name="connsiteY22" fmla="*/ 497534 h 1267910"/>
              <a:gd name="connsiteX23" fmla="*/ 969818 w 1089317"/>
              <a:gd name="connsiteY23" fmla="*/ 519085 h 1267910"/>
              <a:gd name="connsiteX24" fmla="*/ 966740 w 1089317"/>
              <a:gd name="connsiteY24" fmla="*/ 537558 h 1267910"/>
              <a:gd name="connsiteX25" fmla="*/ 979055 w 1089317"/>
              <a:gd name="connsiteY25" fmla="*/ 571425 h 1267910"/>
              <a:gd name="connsiteX26" fmla="*/ 994449 w 1089317"/>
              <a:gd name="connsiteY26" fmla="*/ 626843 h 1267910"/>
              <a:gd name="connsiteX27" fmla="*/ 1028315 w 1089317"/>
              <a:gd name="connsiteY27" fmla="*/ 673025 h 1267910"/>
              <a:gd name="connsiteX28" fmla="*/ 1052946 w 1089317"/>
              <a:gd name="connsiteY28" fmla="*/ 725364 h 1267910"/>
              <a:gd name="connsiteX29" fmla="*/ 1068340 w 1089317"/>
              <a:gd name="connsiteY29" fmla="*/ 786940 h 1267910"/>
              <a:gd name="connsiteX30" fmla="*/ 1086812 w 1089317"/>
              <a:gd name="connsiteY30" fmla="*/ 836200 h 1267910"/>
              <a:gd name="connsiteX31" fmla="*/ 1086812 w 1089317"/>
              <a:gd name="connsiteY31" fmla="*/ 870067 h 1267910"/>
              <a:gd name="connsiteX32" fmla="*/ 1065261 w 1089317"/>
              <a:gd name="connsiteY32" fmla="*/ 897776 h 1267910"/>
              <a:gd name="connsiteX33" fmla="*/ 1040631 w 1089317"/>
              <a:gd name="connsiteY33" fmla="*/ 919328 h 1267910"/>
              <a:gd name="connsiteX34" fmla="*/ 982134 w 1089317"/>
              <a:gd name="connsiteY34" fmla="*/ 934722 h 1267910"/>
              <a:gd name="connsiteX35" fmla="*/ 905164 w 1089317"/>
              <a:gd name="connsiteY35" fmla="*/ 968588 h 1267910"/>
              <a:gd name="connsiteX36" fmla="*/ 825115 w 1089317"/>
              <a:gd name="connsiteY36" fmla="*/ 1008612 h 1267910"/>
              <a:gd name="connsiteX37" fmla="*/ 735831 w 1089317"/>
              <a:gd name="connsiteY37" fmla="*/ 1042479 h 1267910"/>
              <a:gd name="connsiteX38" fmla="*/ 668097 w 1089317"/>
              <a:gd name="connsiteY38" fmla="*/ 1076346 h 1267910"/>
              <a:gd name="connsiteX39" fmla="*/ 538788 w 1089317"/>
              <a:gd name="connsiteY39" fmla="*/ 1128685 h 1267910"/>
              <a:gd name="connsiteX40" fmla="*/ 517237 w 1089317"/>
              <a:gd name="connsiteY40" fmla="*/ 1128685 h 1267910"/>
              <a:gd name="connsiteX41" fmla="*/ 452582 w 1089317"/>
              <a:gd name="connsiteY41" fmla="*/ 1110212 h 1267910"/>
              <a:gd name="connsiteX42" fmla="*/ 387928 w 1089317"/>
              <a:gd name="connsiteY42" fmla="*/ 1085582 h 1267910"/>
              <a:gd name="connsiteX43" fmla="*/ 338667 w 1089317"/>
              <a:gd name="connsiteY43" fmla="*/ 1067109 h 1267910"/>
              <a:gd name="connsiteX44" fmla="*/ 289406 w 1089317"/>
              <a:gd name="connsiteY44" fmla="*/ 1057873 h 1267910"/>
              <a:gd name="connsiteX45" fmla="*/ 270934 w 1089317"/>
              <a:gd name="connsiteY45" fmla="*/ 1070188 h 1267910"/>
              <a:gd name="connsiteX46" fmla="*/ 255540 w 1089317"/>
              <a:gd name="connsiteY46" fmla="*/ 1122528 h 1267910"/>
              <a:gd name="connsiteX47" fmla="*/ 237067 w 1089317"/>
              <a:gd name="connsiteY47" fmla="*/ 1187182 h 1267910"/>
              <a:gd name="connsiteX48" fmla="*/ 218594 w 1089317"/>
              <a:gd name="connsiteY48" fmla="*/ 1264152 h 1267910"/>
              <a:gd name="connsiteX49" fmla="*/ 193964 w 1089317"/>
              <a:gd name="connsiteY49" fmla="*/ 1254915 h 1267910"/>
              <a:gd name="connsiteX50" fmla="*/ 166255 w 1089317"/>
              <a:gd name="connsiteY50" fmla="*/ 1245679 h 1267910"/>
              <a:gd name="connsiteX51" fmla="*/ 150861 w 1089317"/>
              <a:gd name="connsiteY51" fmla="*/ 1239522 h 1267910"/>
              <a:gd name="connsiteX52" fmla="*/ 120073 w 1089317"/>
              <a:gd name="connsiteY52" fmla="*/ 1230285 h 1267910"/>
              <a:gd name="connsiteX53" fmla="*/ 95443 w 1089317"/>
              <a:gd name="connsiteY53" fmla="*/ 1221049 h 1267910"/>
              <a:gd name="connsiteX54" fmla="*/ 64655 w 1089317"/>
              <a:gd name="connsiteY54" fmla="*/ 1208734 h 1267910"/>
              <a:gd name="connsiteX55" fmla="*/ 43103 w 1089317"/>
              <a:gd name="connsiteY55" fmla="*/ 1190261 h 1267910"/>
              <a:gd name="connsiteX56" fmla="*/ 18473 w 1089317"/>
              <a:gd name="connsiteY56" fmla="*/ 1177946 h 1267910"/>
              <a:gd name="connsiteX57" fmla="*/ 0 w 1089317"/>
              <a:gd name="connsiteY57" fmla="*/ 1171788 h 1267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1089317" h="1267910">
                <a:moveTo>
                  <a:pt x="471055" y="60346"/>
                </a:moveTo>
                <a:cubicBezTo>
                  <a:pt x="489784" y="59319"/>
                  <a:pt x="508513" y="58293"/>
                  <a:pt x="523394" y="54188"/>
                </a:cubicBezTo>
                <a:cubicBezTo>
                  <a:pt x="538275" y="50083"/>
                  <a:pt x="550590" y="40333"/>
                  <a:pt x="560340" y="35715"/>
                </a:cubicBezTo>
                <a:cubicBezTo>
                  <a:pt x="570090" y="31097"/>
                  <a:pt x="571629" y="30584"/>
                  <a:pt x="581891" y="26479"/>
                </a:cubicBezTo>
                <a:cubicBezTo>
                  <a:pt x="592153" y="22374"/>
                  <a:pt x="609600" y="12624"/>
                  <a:pt x="621915" y="11085"/>
                </a:cubicBezTo>
                <a:cubicBezTo>
                  <a:pt x="634230" y="9546"/>
                  <a:pt x="646546" y="15703"/>
                  <a:pt x="655782" y="17243"/>
                </a:cubicBezTo>
                <a:cubicBezTo>
                  <a:pt x="665019" y="18782"/>
                  <a:pt x="667071" y="21861"/>
                  <a:pt x="677334" y="20322"/>
                </a:cubicBezTo>
                <a:cubicBezTo>
                  <a:pt x="687597" y="18783"/>
                  <a:pt x="704017" y="11085"/>
                  <a:pt x="717358" y="8006"/>
                </a:cubicBezTo>
                <a:cubicBezTo>
                  <a:pt x="730699" y="4927"/>
                  <a:pt x="744554" y="2875"/>
                  <a:pt x="757382" y="1849"/>
                </a:cubicBezTo>
                <a:cubicBezTo>
                  <a:pt x="770210" y="823"/>
                  <a:pt x="782526" y="-1743"/>
                  <a:pt x="794328" y="1849"/>
                </a:cubicBezTo>
                <a:cubicBezTo>
                  <a:pt x="806130" y="5441"/>
                  <a:pt x="818445" y="18269"/>
                  <a:pt x="828194" y="23400"/>
                </a:cubicBezTo>
                <a:cubicBezTo>
                  <a:pt x="837943" y="28531"/>
                  <a:pt x="844615" y="28019"/>
                  <a:pt x="852825" y="32637"/>
                </a:cubicBezTo>
                <a:cubicBezTo>
                  <a:pt x="861035" y="37255"/>
                  <a:pt x="869758" y="42386"/>
                  <a:pt x="877455" y="51109"/>
                </a:cubicBezTo>
                <a:cubicBezTo>
                  <a:pt x="885152" y="59832"/>
                  <a:pt x="892335" y="73174"/>
                  <a:pt x="899006" y="84976"/>
                </a:cubicBezTo>
                <a:cubicBezTo>
                  <a:pt x="905677" y="96778"/>
                  <a:pt x="912348" y="106528"/>
                  <a:pt x="917479" y="121922"/>
                </a:cubicBezTo>
                <a:cubicBezTo>
                  <a:pt x="922610" y="137316"/>
                  <a:pt x="927742" y="166051"/>
                  <a:pt x="929794" y="177340"/>
                </a:cubicBezTo>
                <a:cubicBezTo>
                  <a:pt x="931846" y="188629"/>
                  <a:pt x="930820" y="182984"/>
                  <a:pt x="929794" y="189655"/>
                </a:cubicBezTo>
                <a:cubicBezTo>
                  <a:pt x="928768" y="196326"/>
                  <a:pt x="922611" y="208128"/>
                  <a:pt x="923637" y="217364"/>
                </a:cubicBezTo>
                <a:cubicBezTo>
                  <a:pt x="924663" y="226600"/>
                  <a:pt x="933900" y="232758"/>
                  <a:pt x="935952" y="245073"/>
                </a:cubicBezTo>
                <a:cubicBezTo>
                  <a:pt x="938005" y="257388"/>
                  <a:pt x="934926" y="277401"/>
                  <a:pt x="935952" y="291255"/>
                </a:cubicBezTo>
                <a:cubicBezTo>
                  <a:pt x="936978" y="305109"/>
                  <a:pt x="938517" y="312293"/>
                  <a:pt x="942109" y="328200"/>
                </a:cubicBezTo>
                <a:cubicBezTo>
                  <a:pt x="945701" y="344107"/>
                  <a:pt x="950319" y="358475"/>
                  <a:pt x="957503" y="386697"/>
                </a:cubicBezTo>
                <a:cubicBezTo>
                  <a:pt x="964687" y="414919"/>
                  <a:pt x="983160" y="475469"/>
                  <a:pt x="985212" y="497534"/>
                </a:cubicBezTo>
                <a:cubicBezTo>
                  <a:pt x="987264" y="519599"/>
                  <a:pt x="969818" y="519085"/>
                  <a:pt x="969818" y="519085"/>
                </a:cubicBezTo>
                <a:cubicBezTo>
                  <a:pt x="966739" y="525756"/>
                  <a:pt x="965201" y="528835"/>
                  <a:pt x="966740" y="537558"/>
                </a:cubicBezTo>
                <a:cubicBezTo>
                  <a:pt x="968279" y="546281"/>
                  <a:pt x="974437" y="556544"/>
                  <a:pt x="979055" y="571425"/>
                </a:cubicBezTo>
                <a:cubicBezTo>
                  <a:pt x="983673" y="586306"/>
                  <a:pt x="986239" y="609910"/>
                  <a:pt x="994449" y="626843"/>
                </a:cubicBezTo>
                <a:cubicBezTo>
                  <a:pt x="1002659" y="643776"/>
                  <a:pt x="1018566" y="656605"/>
                  <a:pt x="1028315" y="673025"/>
                </a:cubicBezTo>
                <a:cubicBezTo>
                  <a:pt x="1038065" y="689445"/>
                  <a:pt x="1046275" y="706378"/>
                  <a:pt x="1052946" y="725364"/>
                </a:cubicBezTo>
                <a:cubicBezTo>
                  <a:pt x="1059617" y="744350"/>
                  <a:pt x="1062696" y="768467"/>
                  <a:pt x="1068340" y="786940"/>
                </a:cubicBezTo>
                <a:cubicBezTo>
                  <a:pt x="1073984" y="805413"/>
                  <a:pt x="1083733" y="822346"/>
                  <a:pt x="1086812" y="836200"/>
                </a:cubicBezTo>
                <a:cubicBezTo>
                  <a:pt x="1089891" y="850054"/>
                  <a:pt x="1090404" y="859804"/>
                  <a:pt x="1086812" y="870067"/>
                </a:cubicBezTo>
                <a:cubicBezTo>
                  <a:pt x="1083220" y="880330"/>
                  <a:pt x="1072958" y="889566"/>
                  <a:pt x="1065261" y="897776"/>
                </a:cubicBezTo>
                <a:cubicBezTo>
                  <a:pt x="1057564" y="905986"/>
                  <a:pt x="1054486" y="913170"/>
                  <a:pt x="1040631" y="919328"/>
                </a:cubicBezTo>
                <a:cubicBezTo>
                  <a:pt x="1026777" y="925486"/>
                  <a:pt x="1004712" y="926512"/>
                  <a:pt x="982134" y="934722"/>
                </a:cubicBezTo>
                <a:cubicBezTo>
                  <a:pt x="959556" y="942932"/>
                  <a:pt x="931334" y="956273"/>
                  <a:pt x="905164" y="968588"/>
                </a:cubicBezTo>
                <a:cubicBezTo>
                  <a:pt x="878994" y="980903"/>
                  <a:pt x="853337" y="996297"/>
                  <a:pt x="825115" y="1008612"/>
                </a:cubicBezTo>
                <a:cubicBezTo>
                  <a:pt x="796893" y="1020927"/>
                  <a:pt x="762001" y="1031190"/>
                  <a:pt x="735831" y="1042479"/>
                </a:cubicBezTo>
                <a:cubicBezTo>
                  <a:pt x="709661" y="1053768"/>
                  <a:pt x="700937" y="1061978"/>
                  <a:pt x="668097" y="1076346"/>
                </a:cubicBezTo>
                <a:cubicBezTo>
                  <a:pt x="635257" y="1090714"/>
                  <a:pt x="563931" y="1119962"/>
                  <a:pt x="538788" y="1128685"/>
                </a:cubicBezTo>
                <a:cubicBezTo>
                  <a:pt x="513645" y="1137408"/>
                  <a:pt x="531605" y="1131764"/>
                  <a:pt x="517237" y="1128685"/>
                </a:cubicBezTo>
                <a:cubicBezTo>
                  <a:pt x="502869" y="1125606"/>
                  <a:pt x="474134" y="1117396"/>
                  <a:pt x="452582" y="1110212"/>
                </a:cubicBezTo>
                <a:cubicBezTo>
                  <a:pt x="431030" y="1103028"/>
                  <a:pt x="387928" y="1085582"/>
                  <a:pt x="387928" y="1085582"/>
                </a:cubicBezTo>
                <a:cubicBezTo>
                  <a:pt x="368942" y="1078398"/>
                  <a:pt x="355087" y="1071727"/>
                  <a:pt x="338667" y="1067109"/>
                </a:cubicBezTo>
                <a:cubicBezTo>
                  <a:pt x="322247" y="1062491"/>
                  <a:pt x="300695" y="1057360"/>
                  <a:pt x="289406" y="1057873"/>
                </a:cubicBezTo>
                <a:cubicBezTo>
                  <a:pt x="278117" y="1058386"/>
                  <a:pt x="276578" y="1059412"/>
                  <a:pt x="270934" y="1070188"/>
                </a:cubicBezTo>
                <a:cubicBezTo>
                  <a:pt x="265290" y="1080964"/>
                  <a:pt x="261184" y="1103029"/>
                  <a:pt x="255540" y="1122528"/>
                </a:cubicBezTo>
                <a:cubicBezTo>
                  <a:pt x="249896" y="1142027"/>
                  <a:pt x="243225" y="1163578"/>
                  <a:pt x="237067" y="1187182"/>
                </a:cubicBezTo>
                <a:cubicBezTo>
                  <a:pt x="230909" y="1210786"/>
                  <a:pt x="225778" y="1252863"/>
                  <a:pt x="218594" y="1264152"/>
                </a:cubicBezTo>
                <a:cubicBezTo>
                  <a:pt x="211410" y="1275441"/>
                  <a:pt x="202687" y="1257994"/>
                  <a:pt x="193964" y="1254915"/>
                </a:cubicBezTo>
                <a:cubicBezTo>
                  <a:pt x="185241" y="1251836"/>
                  <a:pt x="173439" y="1248245"/>
                  <a:pt x="166255" y="1245679"/>
                </a:cubicBezTo>
                <a:cubicBezTo>
                  <a:pt x="159071" y="1243113"/>
                  <a:pt x="158558" y="1242088"/>
                  <a:pt x="150861" y="1239522"/>
                </a:cubicBezTo>
                <a:cubicBezTo>
                  <a:pt x="143164" y="1236956"/>
                  <a:pt x="129309" y="1233364"/>
                  <a:pt x="120073" y="1230285"/>
                </a:cubicBezTo>
                <a:cubicBezTo>
                  <a:pt x="110837" y="1227206"/>
                  <a:pt x="104679" y="1224641"/>
                  <a:pt x="95443" y="1221049"/>
                </a:cubicBezTo>
                <a:cubicBezTo>
                  <a:pt x="86207" y="1217457"/>
                  <a:pt x="73378" y="1213865"/>
                  <a:pt x="64655" y="1208734"/>
                </a:cubicBezTo>
                <a:cubicBezTo>
                  <a:pt x="55932" y="1203603"/>
                  <a:pt x="50800" y="1195392"/>
                  <a:pt x="43103" y="1190261"/>
                </a:cubicBezTo>
                <a:cubicBezTo>
                  <a:pt x="35406" y="1185130"/>
                  <a:pt x="25657" y="1181025"/>
                  <a:pt x="18473" y="1177946"/>
                </a:cubicBezTo>
                <a:cubicBezTo>
                  <a:pt x="11289" y="1174867"/>
                  <a:pt x="5644" y="1173327"/>
                  <a:pt x="0" y="1171788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олилиния 24"/>
          <p:cNvSpPr/>
          <p:nvPr/>
        </p:nvSpPr>
        <p:spPr>
          <a:xfrm>
            <a:off x="735830" y="3451338"/>
            <a:ext cx="1089317" cy="1267910"/>
          </a:xfrm>
          <a:custGeom>
            <a:avLst/>
            <a:gdLst>
              <a:gd name="connsiteX0" fmla="*/ 471055 w 1089317"/>
              <a:gd name="connsiteY0" fmla="*/ 60346 h 1267910"/>
              <a:gd name="connsiteX1" fmla="*/ 523394 w 1089317"/>
              <a:gd name="connsiteY1" fmla="*/ 54188 h 1267910"/>
              <a:gd name="connsiteX2" fmla="*/ 560340 w 1089317"/>
              <a:gd name="connsiteY2" fmla="*/ 35715 h 1267910"/>
              <a:gd name="connsiteX3" fmla="*/ 581891 w 1089317"/>
              <a:gd name="connsiteY3" fmla="*/ 26479 h 1267910"/>
              <a:gd name="connsiteX4" fmla="*/ 621915 w 1089317"/>
              <a:gd name="connsiteY4" fmla="*/ 11085 h 1267910"/>
              <a:gd name="connsiteX5" fmla="*/ 655782 w 1089317"/>
              <a:gd name="connsiteY5" fmla="*/ 17243 h 1267910"/>
              <a:gd name="connsiteX6" fmla="*/ 677334 w 1089317"/>
              <a:gd name="connsiteY6" fmla="*/ 20322 h 1267910"/>
              <a:gd name="connsiteX7" fmla="*/ 717358 w 1089317"/>
              <a:gd name="connsiteY7" fmla="*/ 8006 h 1267910"/>
              <a:gd name="connsiteX8" fmla="*/ 757382 w 1089317"/>
              <a:gd name="connsiteY8" fmla="*/ 1849 h 1267910"/>
              <a:gd name="connsiteX9" fmla="*/ 794328 w 1089317"/>
              <a:gd name="connsiteY9" fmla="*/ 1849 h 1267910"/>
              <a:gd name="connsiteX10" fmla="*/ 828194 w 1089317"/>
              <a:gd name="connsiteY10" fmla="*/ 23400 h 1267910"/>
              <a:gd name="connsiteX11" fmla="*/ 852825 w 1089317"/>
              <a:gd name="connsiteY11" fmla="*/ 32637 h 1267910"/>
              <a:gd name="connsiteX12" fmla="*/ 877455 w 1089317"/>
              <a:gd name="connsiteY12" fmla="*/ 51109 h 1267910"/>
              <a:gd name="connsiteX13" fmla="*/ 899006 w 1089317"/>
              <a:gd name="connsiteY13" fmla="*/ 84976 h 1267910"/>
              <a:gd name="connsiteX14" fmla="*/ 917479 w 1089317"/>
              <a:gd name="connsiteY14" fmla="*/ 121922 h 1267910"/>
              <a:gd name="connsiteX15" fmla="*/ 929794 w 1089317"/>
              <a:gd name="connsiteY15" fmla="*/ 177340 h 1267910"/>
              <a:gd name="connsiteX16" fmla="*/ 929794 w 1089317"/>
              <a:gd name="connsiteY16" fmla="*/ 189655 h 1267910"/>
              <a:gd name="connsiteX17" fmla="*/ 923637 w 1089317"/>
              <a:gd name="connsiteY17" fmla="*/ 217364 h 1267910"/>
              <a:gd name="connsiteX18" fmla="*/ 935952 w 1089317"/>
              <a:gd name="connsiteY18" fmla="*/ 245073 h 1267910"/>
              <a:gd name="connsiteX19" fmla="*/ 935952 w 1089317"/>
              <a:gd name="connsiteY19" fmla="*/ 291255 h 1267910"/>
              <a:gd name="connsiteX20" fmla="*/ 942109 w 1089317"/>
              <a:gd name="connsiteY20" fmla="*/ 328200 h 1267910"/>
              <a:gd name="connsiteX21" fmla="*/ 957503 w 1089317"/>
              <a:gd name="connsiteY21" fmla="*/ 386697 h 1267910"/>
              <a:gd name="connsiteX22" fmla="*/ 985212 w 1089317"/>
              <a:gd name="connsiteY22" fmla="*/ 497534 h 1267910"/>
              <a:gd name="connsiteX23" fmla="*/ 969818 w 1089317"/>
              <a:gd name="connsiteY23" fmla="*/ 519085 h 1267910"/>
              <a:gd name="connsiteX24" fmla="*/ 966740 w 1089317"/>
              <a:gd name="connsiteY24" fmla="*/ 537558 h 1267910"/>
              <a:gd name="connsiteX25" fmla="*/ 979055 w 1089317"/>
              <a:gd name="connsiteY25" fmla="*/ 571425 h 1267910"/>
              <a:gd name="connsiteX26" fmla="*/ 994449 w 1089317"/>
              <a:gd name="connsiteY26" fmla="*/ 626843 h 1267910"/>
              <a:gd name="connsiteX27" fmla="*/ 1028315 w 1089317"/>
              <a:gd name="connsiteY27" fmla="*/ 673025 h 1267910"/>
              <a:gd name="connsiteX28" fmla="*/ 1052946 w 1089317"/>
              <a:gd name="connsiteY28" fmla="*/ 725364 h 1267910"/>
              <a:gd name="connsiteX29" fmla="*/ 1068340 w 1089317"/>
              <a:gd name="connsiteY29" fmla="*/ 786940 h 1267910"/>
              <a:gd name="connsiteX30" fmla="*/ 1086812 w 1089317"/>
              <a:gd name="connsiteY30" fmla="*/ 836200 h 1267910"/>
              <a:gd name="connsiteX31" fmla="*/ 1086812 w 1089317"/>
              <a:gd name="connsiteY31" fmla="*/ 870067 h 1267910"/>
              <a:gd name="connsiteX32" fmla="*/ 1065261 w 1089317"/>
              <a:gd name="connsiteY32" fmla="*/ 897776 h 1267910"/>
              <a:gd name="connsiteX33" fmla="*/ 1040631 w 1089317"/>
              <a:gd name="connsiteY33" fmla="*/ 919328 h 1267910"/>
              <a:gd name="connsiteX34" fmla="*/ 982134 w 1089317"/>
              <a:gd name="connsiteY34" fmla="*/ 934722 h 1267910"/>
              <a:gd name="connsiteX35" fmla="*/ 905164 w 1089317"/>
              <a:gd name="connsiteY35" fmla="*/ 968588 h 1267910"/>
              <a:gd name="connsiteX36" fmla="*/ 825115 w 1089317"/>
              <a:gd name="connsiteY36" fmla="*/ 1008612 h 1267910"/>
              <a:gd name="connsiteX37" fmla="*/ 735831 w 1089317"/>
              <a:gd name="connsiteY37" fmla="*/ 1042479 h 1267910"/>
              <a:gd name="connsiteX38" fmla="*/ 668097 w 1089317"/>
              <a:gd name="connsiteY38" fmla="*/ 1076346 h 1267910"/>
              <a:gd name="connsiteX39" fmla="*/ 538788 w 1089317"/>
              <a:gd name="connsiteY39" fmla="*/ 1128685 h 1267910"/>
              <a:gd name="connsiteX40" fmla="*/ 517237 w 1089317"/>
              <a:gd name="connsiteY40" fmla="*/ 1128685 h 1267910"/>
              <a:gd name="connsiteX41" fmla="*/ 452582 w 1089317"/>
              <a:gd name="connsiteY41" fmla="*/ 1110212 h 1267910"/>
              <a:gd name="connsiteX42" fmla="*/ 387928 w 1089317"/>
              <a:gd name="connsiteY42" fmla="*/ 1085582 h 1267910"/>
              <a:gd name="connsiteX43" fmla="*/ 338667 w 1089317"/>
              <a:gd name="connsiteY43" fmla="*/ 1067109 h 1267910"/>
              <a:gd name="connsiteX44" fmla="*/ 289406 w 1089317"/>
              <a:gd name="connsiteY44" fmla="*/ 1057873 h 1267910"/>
              <a:gd name="connsiteX45" fmla="*/ 270934 w 1089317"/>
              <a:gd name="connsiteY45" fmla="*/ 1070188 h 1267910"/>
              <a:gd name="connsiteX46" fmla="*/ 255540 w 1089317"/>
              <a:gd name="connsiteY46" fmla="*/ 1122528 h 1267910"/>
              <a:gd name="connsiteX47" fmla="*/ 237067 w 1089317"/>
              <a:gd name="connsiteY47" fmla="*/ 1187182 h 1267910"/>
              <a:gd name="connsiteX48" fmla="*/ 218594 w 1089317"/>
              <a:gd name="connsiteY48" fmla="*/ 1264152 h 1267910"/>
              <a:gd name="connsiteX49" fmla="*/ 193964 w 1089317"/>
              <a:gd name="connsiteY49" fmla="*/ 1254915 h 1267910"/>
              <a:gd name="connsiteX50" fmla="*/ 166255 w 1089317"/>
              <a:gd name="connsiteY50" fmla="*/ 1245679 h 1267910"/>
              <a:gd name="connsiteX51" fmla="*/ 150861 w 1089317"/>
              <a:gd name="connsiteY51" fmla="*/ 1239522 h 1267910"/>
              <a:gd name="connsiteX52" fmla="*/ 120073 w 1089317"/>
              <a:gd name="connsiteY52" fmla="*/ 1230285 h 1267910"/>
              <a:gd name="connsiteX53" fmla="*/ 95443 w 1089317"/>
              <a:gd name="connsiteY53" fmla="*/ 1221049 h 1267910"/>
              <a:gd name="connsiteX54" fmla="*/ 64655 w 1089317"/>
              <a:gd name="connsiteY54" fmla="*/ 1208734 h 1267910"/>
              <a:gd name="connsiteX55" fmla="*/ 43103 w 1089317"/>
              <a:gd name="connsiteY55" fmla="*/ 1190261 h 1267910"/>
              <a:gd name="connsiteX56" fmla="*/ 18473 w 1089317"/>
              <a:gd name="connsiteY56" fmla="*/ 1177946 h 1267910"/>
              <a:gd name="connsiteX57" fmla="*/ 0 w 1089317"/>
              <a:gd name="connsiteY57" fmla="*/ 1171788 h 1267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1089317" h="1267910">
                <a:moveTo>
                  <a:pt x="471055" y="60346"/>
                </a:moveTo>
                <a:cubicBezTo>
                  <a:pt x="489784" y="59319"/>
                  <a:pt x="508513" y="58293"/>
                  <a:pt x="523394" y="54188"/>
                </a:cubicBezTo>
                <a:cubicBezTo>
                  <a:pt x="538275" y="50083"/>
                  <a:pt x="550590" y="40333"/>
                  <a:pt x="560340" y="35715"/>
                </a:cubicBezTo>
                <a:cubicBezTo>
                  <a:pt x="570090" y="31097"/>
                  <a:pt x="571629" y="30584"/>
                  <a:pt x="581891" y="26479"/>
                </a:cubicBezTo>
                <a:cubicBezTo>
                  <a:pt x="592153" y="22374"/>
                  <a:pt x="609600" y="12624"/>
                  <a:pt x="621915" y="11085"/>
                </a:cubicBezTo>
                <a:cubicBezTo>
                  <a:pt x="634230" y="9546"/>
                  <a:pt x="646546" y="15703"/>
                  <a:pt x="655782" y="17243"/>
                </a:cubicBezTo>
                <a:cubicBezTo>
                  <a:pt x="665019" y="18782"/>
                  <a:pt x="667071" y="21861"/>
                  <a:pt x="677334" y="20322"/>
                </a:cubicBezTo>
                <a:cubicBezTo>
                  <a:pt x="687597" y="18783"/>
                  <a:pt x="704017" y="11085"/>
                  <a:pt x="717358" y="8006"/>
                </a:cubicBezTo>
                <a:cubicBezTo>
                  <a:pt x="730699" y="4927"/>
                  <a:pt x="744554" y="2875"/>
                  <a:pt x="757382" y="1849"/>
                </a:cubicBezTo>
                <a:cubicBezTo>
                  <a:pt x="770210" y="823"/>
                  <a:pt x="782526" y="-1743"/>
                  <a:pt x="794328" y="1849"/>
                </a:cubicBezTo>
                <a:cubicBezTo>
                  <a:pt x="806130" y="5441"/>
                  <a:pt x="818445" y="18269"/>
                  <a:pt x="828194" y="23400"/>
                </a:cubicBezTo>
                <a:cubicBezTo>
                  <a:pt x="837943" y="28531"/>
                  <a:pt x="844615" y="28019"/>
                  <a:pt x="852825" y="32637"/>
                </a:cubicBezTo>
                <a:cubicBezTo>
                  <a:pt x="861035" y="37255"/>
                  <a:pt x="869758" y="42386"/>
                  <a:pt x="877455" y="51109"/>
                </a:cubicBezTo>
                <a:cubicBezTo>
                  <a:pt x="885152" y="59832"/>
                  <a:pt x="892335" y="73174"/>
                  <a:pt x="899006" y="84976"/>
                </a:cubicBezTo>
                <a:cubicBezTo>
                  <a:pt x="905677" y="96778"/>
                  <a:pt x="912348" y="106528"/>
                  <a:pt x="917479" y="121922"/>
                </a:cubicBezTo>
                <a:cubicBezTo>
                  <a:pt x="922610" y="137316"/>
                  <a:pt x="927742" y="166051"/>
                  <a:pt x="929794" y="177340"/>
                </a:cubicBezTo>
                <a:cubicBezTo>
                  <a:pt x="931846" y="188629"/>
                  <a:pt x="930820" y="182984"/>
                  <a:pt x="929794" y="189655"/>
                </a:cubicBezTo>
                <a:cubicBezTo>
                  <a:pt x="928768" y="196326"/>
                  <a:pt x="922611" y="208128"/>
                  <a:pt x="923637" y="217364"/>
                </a:cubicBezTo>
                <a:cubicBezTo>
                  <a:pt x="924663" y="226600"/>
                  <a:pt x="933900" y="232758"/>
                  <a:pt x="935952" y="245073"/>
                </a:cubicBezTo>
                <a:cubicBezTo>
                  <a:pt x="938005" y="257388"/>
                  <a:pt x="934926" y="277401"/>
                  <a:pt x="935952" y="291255"/>
                </a:cubicBezTo>
                <a:cubicBezTo>
                  <a:pt x="936978" y="305109"/>
                  <a:pt x="938517" y="312293"/>
                  <a:pt x="942109" y="328200"/>
                </a:cubicBezTo>
                <a:cubicBezTo>
                  <a:pt x="945701" y="344107"/>
                  <a:pt x="950319" y="358475"/>
                  <a:pt x="957503" y="386697"/>
                </a:cubicBezTo>
                <a:cubicBezTo>
                  <a:pt x="964687" y="414919"/>
                  <a:pt x="983160" y="475469"/>
                  <a:pt x="985212" y="497534"/>
                </a:cubicBezTo>
                <a:cubicBezTo>
                  <a:pt x="987264" y="519599"/>
                  <a:pt x="969818" y="519085"/>
                  <a:pt x="969818" y="519085"/>
                </a:cubicBezTo>
                <a:cubicBezTo>
                  <a:pt x="966739" y="525756"/>
                  <a:pt x="965201" y="528835"/>
                  <a:pt x="966740" y="537558"/>
                </a:cubicBezTo>
                <a:cubicBezTo>
                  <a:pt x="968279" y="546281"/>
                  <a:pt x="974437" y="556544"/>
                  <a:pt x="979055" y="571425"/>
                </a:cubicBezTo>
                <a:cubicBezTo>
                  <a:pt x="983673" y="586306"/>
                  <a:pt x="986239" y="609910"/>
                  <a:pt x="994449" y="626843"/>
                </a:cubicBezTo>
                <a:cubicBezTo>
                  <a:pt x="1002659" y="643776"/>
                  <a:pt x="1018566" y="656605"/>
                  <a:pt x="1028315" y="673025"/>
                </a:cubicBezTo>
                <a:cubicBezTo>
                  <a:pt x="1038065" y="689445"/>
                  <a:pt x="1046275" y="706378"/>
                  <a:pt x="1052946" y="725364"/>
                </a:cubicBezTo>
                <a:cubicBezTo>
                  <a:pt x="1059617" y="744350"/>
                  <a:pt x="1062696" y="768467"/>
                  <a:pt x="1068340" y="786940"/>
                </a:cubicBezTo>
                <a:cubicBezTo>
                  <a:pt x="1073984" y="805413"/>
                  <a:pt x="1083733" y="822346"/>
                  <a:pt x="1086812" y="836200"/>
                </a:cubicBezTo>
                <a:cubicBezTo>
                  <a:pt x="1089891" y="850054"/>
                  <a:pt x="1090404" y="859804"/>
                  <a:pt x="1086812" y="870067"/>
                </a:cubicBezTo>
                <a:cubicBezTo>
                  <a:pt x="1083220" y="880330"/>
                  <a:pt x="1072958" y="889566"/>
                  <a:pt x="1065261" y="897776"/>
                </a:cubicBezTo>
                <a:cubicBezTo>
                  <a:pt x="1057564" y="905986"/>
                  <a:pt x="1054486" y="913170"/>
                  <a:pt x="1040631" y="919328"/>
                </a:cubicBezTo>
                <a:cubicBezTo>
                  <a:pt x="1026777" y="925486"/>
                  <a:pt x="1004712" y="926512"/>
                  <a:pt x="982134" y="934722"/>
                </a:cubicBezTo>
                <a:cubicBezTo>
                  <a:pt x="959556" y="942932"/>
                  <a:pt x="931334" y="956273"/>
                  <a:pt x="905164" y="968588"/>
                </a:cubicBezTo>
                <a:cubicBezTo>
                  <a:pt x="878994" y="980903"/>
                  <a:pt x="853337" y="996297"/>
                  <a:pt x="825115" y="1008612"/>
                </a:cubicBezTo>
                <a:cubicBezTo>
                  <a:pt x="796893" y="1020927"/>
                  <a:pt x="762001" y="1031190"/>
                  <a:pt x="735831" y="1042479"/>
                </a:cubicBezTo>
                <a:cubicBezTo>
                  <a:pt x="709661" y="1053768"/>
                  <a:pt x="700937" y="1061978"/>
                  <a:pt x="668097" y="1076346"/>
                </a:cubicBezTo>
                <a:cubicBezTo>
                  <a:pt x="635257" y="1090714"/>
                  <a:pt x="563931" y="1119962"/>
                  <a:pt x="538788" y="1128685"/>
                </a:cubicBezTo>
                <a:cubicBezTo>
                  <a:pt x="513645" y="1137408"/>
                  <a:pt x="531605" y="1131764"/>
                  <a:pt x="517237" y="1128685"/>
                </a:cubicBezTo>
                <a:cubicBezTo>
                  <a:pt x="502869" y="1125606"/>
                  <a:pt x="474134" y="1117396"/>
                  <a:pt x="452582" y="1110212"/>
                </a:cubicBezTo>
                <a:cubicBezTo>
                  <a:pt x="431030" y="1103028"/>
                  <a:pt x="387928" y="1085582"/>
                  <a:pt x="387928" y="1085582"/>
                </a:cubicBezTo>
                <a:cubicBezTo>
                  <a:pt x="368942" y="1078398"/>
                  <a:pt x="355087" y="1071727"/>
                  <a:pt x="338667" y="1067109"/>
                </a:cubicBezTo>
                <a:cubicBezTo>
                  <a:pt x="322247" y="1062491"/>
                  <a:pt x="300695" y="1057360"/>
                  <a:pt x="289406" y="1057873"/>
                </a:cubicBezTo>
                <a:cubicBezTo>
                  <a:pt x="278117" y="1058386"/>
                  <a:pt x="276578" y="1059412"/>
                  <a:pt x="270934" y="1070188"/>
                </a:cubicBezTo>
                <a:cubicBezTo>
                  <a:pt x="265290" y="1080964"/>
                  <a:pt x="261184" y="1103029"/>
                  <a:pt x="255540" y="1122528"/>
                </a:cubicBezTo>
                <a:cubicBezTo>
                  <a:pt x="249896" y="1142027"/>
                  <a:pt x="243225" y="1163578"/>
                  <a:pt x="237067" y="1187182"/>
                </a:cubicBezTo>
                <a:cubicBezTo>
                  <a:pt x="230909" y="1210786"/>
                  <a:pt x="225778" y="1252863"/>
                  <a:pt x="218594" y="1264152"/>
                </a:cubicBezTo>
                <a:cubicBezTo>
                  <a:pt x="211410" y="1275441"/>
                  <a:pt x="202687" y="1257994"/>
                  <a:pt x="193964" y="1254915"/>
                </a:cubicBezTo>
                <a:cubicBezTo>
                  <a:pt x="185241" y="1251836"/>
                  <a:pt x="173439" y="1248245"/>
                  <a:pt x="166255" y="1245679"/>
                </a:cubicBezTo>
                <a:cubicBezTo>
                  <a:pt x="159071" y="1243113"/>
                  <a:pt x="158558" y="1242088"/>
                  <a:pt x="150861" y="1239522"/>
                </a:cubicBezTo>
                <a:cubicBezTo>
                  <a:pt x="143164" y="1236956"/>
                  <a:pt x="129309" y="1233364"/>
                  <a:pt x="120073" y="1230285"/>
                </a:cubicBezTo>
                <a:cubicBezTo>
                  <a:pt x="110837" y="1227206"/>
                  <a:pt x="104679" y="1224641"/>
                  <a:pt x="95443" y="1221049"/>
                </a:cubicBezTo>
                <a:cubicBezTo>
                  <a:pt x="86207" y="1217457"/>
                  <a:pt x="73378" y="1213865"/>
                  <a:pt x="64655" y="1208734"/>
                </a:cubicBezTo>
                <a:cubicBezTo>
                  <a:pt x="55932" y="1203603"/>
                  <a:pt x="50800" y="1195392"/>
                  <a:pt x="43103" y="1190261"/>
                </a:cubicBezTo>
                <a:cubicBezTo>
                  <a:pt x="35406" y="1185130"/>
                  <a:pt x="25657" y="1181025"/>
                  <a:pt x="18473" y="1177946"/>
                </a:cubicBezTo>
                <a:cubicBezTo>
                  <a:pt x="11289" y="1174867"/>
                  <a:pt x="5644" y="1173327"/>
                  <a:pt x="0" y="1171788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Блок-схема: узел 29"/>
          <p:cNvSpPr/>
          <p:nvPr/>
        </p:nvSpPr>
        <p:spPr>
          <a:xfrm>
            <a:off x="691055" y="4579741"/>
            <a:ext cx="91399" cy="87283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олилиния 11"/>
          <p:cNvSpPr/>
          <p:nvPr/>
        </p:nvSpPr>
        <p:spPr>
          <a:xfrm>
            <a:off x="3146521" y="2090497"/>
            <a:ext cx="474511" cy="775855"/>
          </a:xfrm>
          <a:custGeom>
            <a:avLst/>
            <a:gdLst>
              <a:gd name="connsiteX0" fmla="*/ 418715 w 474511"/>
              <a:gd name="connsiteY0" fmla="*/ 0 h 775855"/>
              <a:gd name="connsiteX1" fmla="*/ 464897 w 474511"/>
              <a:gd name="connsiteY1" fmla="*/ 49261 h 775855"/>
              <a:gd name="connsiteX2" fmla="*/ 464897 w 474511"/>
              <a:gd name="connsiteY2" fmla="*/ 86206 h 775855"/>
              <a:gd name="connsiteX3" fmla="*/ 464897 w 474511"/>
              <a:gd name="connsiteY3" fmla="*/ 113915 h 775855"/>
              <a:gd name="connsiteX4" fmla="*/ 461818 w 474511"/>
              <a:gd name="connsiteY4" fmla="*/ 132388 h 775855"/>
              <a:gd name="connsiteX5" fmla="*/ 474134 w 474511"/>
              <a:gd name="connsiteY5" fmla="*/ 157018 h 775855"/>
              <a:gd name="connsiteX6" fmla="*/ 471055 w 474511"/>
              <a:gd name="connsiteY6" fmla="*/ 190885 h 775855"/>
              <a:gd name="connsiteX7" fmla="*/ 467976 w 474511"/>
              <a:gd name="connsiteY7" fmla="*/ 221673 h 775855"/>
              <a:gd name="connsiteX8" fmla="*/ 446424 w 474511"/>
              <a:gd name="connsiteY8" fmla="*/ 255539 h 775855"/>
              <a:gd name="connsiteX9" fmla="*/ 434109 w 474511"/>
              <a:gd name="connsiteY9" fmla="*/ 286327 h 775855"/>
              <a:gd name="connsiteX10" fmla="*/ 415637 w 474511"/>
              <a:gd name="connsiteY10" fmla="*/ 295564 h 775855"/>
              <a:gd name="connsiteX11" fmla="*/ 384849 w 474511"/>
              <a:gd name="connsiteY11" fmla="*/ 301721 h 775855"/>
              <a:gd name="connsiteX12" fmla="*/ 375612 w 474511"/>
              <a:gd name="connsiteY12" fmla="*/ 323273 h 775855"/>
              <a:gd name="connsiteX13" fmla="*/ 375612 w 474511"/>
              <a:gd name="connsiteY13" fmla="*/ 347903 h 775855"/>
              <a:gd name="connsiteX14" fmla="*/ 375612 w 474511"/>
              <a:gd name="connsiteY14" fmla="*/ 440267 h 775855"/>
              <a:gd name="connsiteX15" fmla="*/ 375612 w 474511"/>
              <a:gd name="connsiteY15" fmla="*/ 474133 h 775855"/>
              <a:gd name="connsiteX16" fmla="*/ 366376 w 474511"/>
              <a:gd name="connsiteY16" fmla="*/ 508000 h 775855"/>
              <a:gd name="connsiteX17" fmla="*/ 354061 w 474511"/>
              <a:gd name="connsiteY17" fmla="*/ 535709 h 775855"/>
              <a:gd name="connsiteX18" fmla="*/ 335588 w 474511"/>
              <a:gd name="connsiteY18" fmla="*/ 551103 h 775855"/>
              <a:gd name="connsiteX19" fmla="*/ 310958 w 474511"/>
              <a:gd name="connsiteY19" fmla="*/ 581891 h 775855"/>
              <a:gd name="connsiteX20" fmla="*/ 295564 w 474511"/>
              <a:gd name="connsiteY20" fmla="*/ 597285 h 775855"/>
              <a:gd name="connsiteX21" fmla="*/ 243224 w 474511"/>
              <a:gd name="connsiteY21" fmla="*/ 609600 h 775855"/>
              <a:gd name="connsiteX22" fmla="*/ 240146 w 474511"/>
              <a:gd name="connsiteY22" fmla="*/ 603442 h 775855"/>
              <a:gd name="connsiteX23" fmla="*/ 150861 w 474511"/>
              <a:gd name="connsiteY23" fmla="*/ 655782 h 775855"/>
              <a:gd name="connsiteX24" fmla="*/ 132388 w 474511"/>
              <a:gd name="connsiteY24" fmla="*/ 655782 h 775855"/>
              <a:gd name="connsiteX25" fmla="*/ 116994 w 474511"/>
              <a:gd name="connsiteY25" fmla="*/ 658861 h 775855"/>
              <a:gd name="connsiteX26" fmla="*/ 89285 w 474511"/>
              <a:gd name="connsiteY26" fmla="*/ 665018 h 775855"/>
              <a:gd name="connsiteX27" fmla="*/ 76970 w 474511"/>
              <a:gd name="connsiteY27" fmla="*/ 658861 h 775855"/>
              <a:gd name="connsiteX28" fmla="*/ 67734 w 474511"/>
              <a:gd name="connsiteY28" fmla="*/ 652703 h 775855"/>
              <a:gd name="connsiteX29" fmla="*/ 46182 w 474511"/>
              <a:gd name="connsiteY29" fmla="*/ 649624 h 775855"/>
              <a:gd name="connsiteX30" fmla="*/ 30788 w 474511"/>
              <a:gd name="connsiteY30" fmla="*/ 649624 h 775855"/>
              <a:gd name="connsiteX31" fmla="*/ 18473 w 474511"/>
              <a:gd name="connsiteY31" fmla="*/ 668097 h 775855"/>
              <a:gd name="connsiteX32" fmla="*/ 18473 w 474511"/>
              <a:gd name="connsiteY32" fmla="*/ 692727 h 775855"/>
              <a:gd name="connsiteX33" fmla="*/ 21552 w 474511"/>
              <a:gd name="connsiteY33" fmla="*/ 708121 h 775855"/>
              <a:gd name="connsiteX34" fmla="*/ 15394 w 474511"/>
              <a:gd name="connsiteY34" fmla="*/ 720436 h 775855"/>
              <a:gd name="connsiteX35" fmla="*/ 9237 w 474511"/>
              <a:gd name="connsiteY35" fmla="*/ 732751 h 775855"/>
              <a:gd name="connsiteX36" fmla="*/ 6158 w 474511"/>
              <a:gd name="connsiteY36" fmla="*/ 748145 h 775855"/>
              <a:gd name="connsiteX37" fmla="*/ 0 w 474511"/>
              <a:gd name="connsiteY37" fmla="*/ 775855 h 77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74511" h="775855">
                <a:moveTo>
                  <a:pt x="418715" y="0"/>
                </a:moveTo>
                <a:cubicBezTo>
                  <a:pt x="437957" y="17446"/>
                  <a:pt x="457200" y="34893"/>
                  <a:pt x="464897" y="49261"/>
                </a:cubicBezTo>
                <a:cubicBezTo>
                  <a:pt x="472594" y="63629"/>
                  <a:pt x="464897" y="86206"/>
                  <a:pt x="464897" y="86206"/>
                </a:cubicBezTo>
                <a:cubicBezTo>
                  <a:pt x="464897" y="96982"/>
                  <a:pt x="465410" y="106218"/>
                  <a:pt x="464897" y="113915"/>
                </a:cubicBezTo>
                <a:cubicBezTo>
                  <a:pt x="464384" y="121612"/>
                  <a:pt x="460279" y="125204"/>
                  <a:pt x="461818" y="132388"/>
                </a:cubicBezTo>
                <a:cubicBezTo>
                  <a:pt x="463357" y="139572"/>
                  <a:pt x="472595" y="147269"/>
                  <a:pt x="474134" y="157018"/>
                </a:cubicBezTo>
                <a:cubicBezTo>
                  <a:pt x="475673" y="166767"/>
                  <a:pt x="472081" y="180109"/>
                  <a:pt x="471055" y="190885"/>
                </a:cubicBezTo>
                <a:cubicBezTo>
                  <a:pt x="470029" y="201661"/>
                  <a:pt x="472081" y="210897"/>
                  <a:pt x="467976" y="221673"/>
                </a:cubicBezTo>
                <a:cubicBezTo>
                  <a:pt x="463871" y="232449"/>
                  <a:pt x="452069" y="244763"/>
                  <a:pt x="446424" y="255539"/>
                </a:cubicBezTo>
                <a:cubicBezTo>
                  <a:pt x="440780" y="266315"/>
                  <a:pt x="439240" y="279656"/>
                  <a:pt x="434109" y="286327"/>
                </a:cubicBezTo>
                <a:cubicBezTo>
                  <a:pt x="428978" y="292998"/>
                  <a:pt x="423847" y="292998"/>
                  <a:pt x="415637" y="295564"/>
                </a:cubicBezTo>
                <a:cubicBezTo>
                  <a:pt x="407427" y="298130"/>
                  <a:pt x="391520" y="297103"/>
                  <a:pt x="384849" y="301721"/>
                </a:cubicBezTo>
                <a:cubicBezTo>
                  <a:pt x="378178" y="306339"/>
                  <a:pt x="377151" y="315576"/>
                  <a:pt x="375612" y="323273"/>
                </a:cubicBezTo>
                <a:cubicBezTo>
                  <a:pt x="374072" y="330970"/>
                  <a:pt x="375612" y="347903"/>
                  <a:pt x="375612" y="347903"/>
                </a:cubicBezTo>
                <a:lnTo>
                  <a:pt x="375612" y="440267"/>
                </a:lnTo>
                <a:cubicBezTo>
                  <a:pt x="375612" y="461305"/>
                  <a:pt x="377151" y="462844"/>
                  <a:pt x="375612" y="474133"/>
                </a:cubicBezTo>
                <a:cubicBezTo>
                  <a:pt x="374073" y="485422"/>
                  <a:pt x="369968" y="497737"/>
                  <a:pt x="366376" y="508000"/>
                </a:cubicBezTo>
                <a:cubicBezTo>
                  <a:pt x="362784" y="518263"/>
                  <a:pt x="359192" y="528525"/>
                  <a:pt x="354061" y="535709"/>
                </a:cubicBezTo>
                <a:cubicBezTo>
                  <a:pt x="348930" y="542893"/>
                  <a:pt x="342772" y="543406"/>
                  <a:pt x="335588" y="551103"/>
                </a:cubicBezTo>
                <a:cubicBezTo>
                  <a:pt x="328404" y="558800"/>
                  <a:pt x="317629" y="574194"/>
                  <a:pt x="310958" y="581891"/>
                </a:cubicBezTo>
                <a:cubicBezTo>
                  <a:pt x="304287" y="589588"/>
                  <a:pt x="306853" y="592667"/>
                  <a:pt x="295564" y="597285"/>
                </a:cubicBezTo>
                <a:cubicBezTo>
                  <a:pt x="284275" y="601903"/>
                  <a:pt x="252460" y="608574"/>
                  <a:pt x="243224" y="609600"/>
                </a:cubicBezTo>
                <a:cubicBezTo>
                  <a:pt x="233988" y="610626"/>
                  <a:pt x="255540" y="595745"/>
                  <a:pt x="240146" y="603442"/>
                </a:cubicBezTo>
                <a:cubicBezTo>
                  <a:pt x="224752" y="611139"/>
                  <a:pt x="168821" y="647059"/>
                  <a:pt x="150861" y="655782"/>
                </a:cubicBezTo>
                <a:cubicBezTo>
                  <a:pt x="132901" y="664505"/>
                  <a:pt x="138032" y="655269"/>
                  <a:pt x="132388" y="655782"/>
                </a:cubicBezTo>
                <a:cubicBezTo>
                  <a:pt x="126744" y="656295"/>
                  <a:pt x="116994" y="658861"/>
                  <a:pt x="116994" y="658861"/>
                </a:cubicBezTo>
                <a:lnTo>
                  <a:pt x="89285" y="665018"/>
                </a:lnTo>
                <a:cubicBezTo>
                  <a:pt x="82614" y="665018"/>
                  <a:pt x="76970" y="658861"/>
                  <a:pt x="76970" y="658861"/>
                </a:cubicBezTo>
                <a:cubicBezTo>
                  <a:pt x="73378" y="656809"/>
                  <a:pt x="72865" y="654242"/>
                  <a:pt x="67734" y="652703"/>
                </a:cubicBezTo>
                <a:cubicBezTo>
                  <a:pt x="62603" y="651164"/>
                  <a:pt x="52340" y="650137"/>
                  <a:pt x="46182" y="649624"/>
                </a:cubicBezTo>
                <a:cubicBezTo>
                  <a:pt x="40024" y="649111"/>
                  <a:pt x="35406" y="646545"/>
                  <a:pt x="30788" y="649624"/>
                </a:cubicBezTo>
                <a:cubicBezTo>
                  <a:pt x="26170" y="652703"/>
                  <a:pt x="20525" y="660913"/>
                  <a:pt x="18473" y="668097"/>
                </a:cubicBezTo>
                <a:cubicBezTo>
                  <a:pt x="16421" y="675281"/>
                  <a:pt x="17960" y="686056"/>
                  <a:pt x="18473" y="692727"/>
                </a:cubicBezTo>
                <a:cubicBezTo>
                  <a:pt x="18986" y="699398"/>
                  <a:pt x="21552" y="708121"/>
                  <a:pt x="21552" y="708121"/>
                </a:cubicBezTo>
                <a:cubicBezTo>
                  <a:pt x="21039" y="712739"/>
                  <a:pt x="15394" y="720436"/>
                  <a:pt x="15394" y="720436"/>
                </a:cubicBezTo>
                <a:cubicBezTo>
                  <a:pt x="13342" y="724541"/>
                  <a:pt x="10776" y="728133"/>
                  <a:pt x="9237" y="732751"/>
                </a:cubicBezTo>
                <a:cubicBezTo>
                  <a:pt x="7698" y="737369"/>
                  <a:pt x="7697" y="740961"/>
                  <a:pt x="6158" y="748145"/>
                </a:cubicBezTo>
                <a:cubicBezTo>
                  <a:pt x="4619" y="755329"/>
                  <a:pt x="2309" y="765592"/>
                  <a:pt x="0" y="775855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олилиния 30"/>
          <p:cNvSpPr/>
          <p:nvPr/>
        </p:nvSpPr>
        <p:spPr>
          <a:xfrm>
            <a:off x="3145460" y="2089741"/>
            <a:ext cx="474511" cy="775855"/>
          </a:xfrm>
          <a:custGeom>
            <a:avLst/>
            <a:gdLst>
              <a:gd name="connsiteX0" fmla="*/ 418715 w 474511"/>
              <a:gd name="connsiteY0" fmla="*/ 0 h 775855"/>
              <a:gd name="connsiteX1" fmla="*/ 464897 w 474511"/>
              <a:gd name="connsiteY1" fmla="*/ 49261 h 775855"/>
              <a:gd name="connsiteX2" fmla="*/ 464897 w 474511"/>
              <a:gd name="connsiteY2" fmla="*/ 86206 h 775855"/>
              <a:gd name="connsiteX3" fmla="*/ 464897 w 474511"/>
              <a:gd name="connsiteY3" fmla="*/ 113915 h 775855"/>
              <a:gd name="connsiteX4" fmla="*/ 461818 w 474511"/>
              <a:gd name="connsiteY4" fmla="*/ 132388 h 775855"/>
              <a:gd name="connsiteX5" fmla="*/ 474134 w 474511"/>
              <a:gd name="connsiteY5" fmla="*/ 157018 h 775855"/>
              <a:gd name="connsiteX6" fmla="*/ 471055 w 474511"/>
              <a:gd name="connsiteY6" fmla="*/ 190885 h 775855"/>
              <a:gd name="connsiteX7" fmla="*/ 467976 w 474511"/>
              <a:gd name="connsiteY7" fmla="*/ 221673 h 775855"/>
              <a:gd name="connsiteX8" fmla="*/ 446424 w 474511"/>
              <a:gd name="connsiteY8" fmla="*/ 255539 h 775855"/>
              <a:gd name="connsiteX9" fmla="*/ 434109 w 474511"/>
              <a:gd name="connsiteY9" fmla="*/ 286327 h 775855"/>
              <a:gd name="connsiteX10" fmla="*/ 415637 w 474511"/>
              <a:gd name="connsiteY10" fmla="*/ 295564 h 775855"/>
              <a:gd name="connsiteX11" fmla="*/ 384849 w 474511"/>
              <a:gd name="connsiteY11" fmla="*/ 301721 h 775855"/>
              <a:gd name="connsiteX12" fmla="*/ 375612 w 474511"/>
              <a:gd name="connsiteY12" fmla="*/ 323273 h 775855"/>
              <a:gd name="connsiteX13" fmla="*/ 375612 w 474511"/>
              <a:gd name="connsiteY13" fmla="*/ 347903 h 775855"/>
              <a:gd name="connsiteX14" fmla="*/ 375612 w 474511"/>
              <a:gd name="connsiteY14" fmla="*/ 440267 h 775855"/>
              <a:gd name="connsiteX15" fmla="*/ 375612 w 474511"/>
              <a:gd name="connsiteY15" fmla="*/ 474133 h 775855"/>
              <a:gd name="connsiteX16" fmla="*/ 366376 w 474511"/>
              <a:gd name="connsiteY16" fmla="*/ 508000 h 775855"/>
              <a:gd name="connsiteX17" fmla="*/ 354061 w 474511"/>
              <a:gd name="connsiteY17" fmla="*/ 535709 h 775855"/>
              <a:gd name="connsiteX18" fmla="*/ 335588 w 474511"/>
              <a:gd name="connsiteY18" fmla="*/ 551103 h 775855"/>
              <a:gd name="connsiteX19" fmla="*/ 310958 w 474511"/>
              <a:gd name="connsiteY19" fmla="*/ 581891 h 775855"/>
              <a:gd name="connsiteX20" fmla="*/ 295564 w 474511"/>
              <a:gd name="connsiteY20" fmla="*/ 597285 h 775855"/>
              <a:gd name="connsiteX21" fmla="*/ 243224 w 474511"/>
              <a:gd name="connsiteY21" fmla="*/ 609600 h 775855"/>
              <a:gd name="connsiteX22" fmla="*/ 240146 w 474511"/>
              <a:gd name="connsiteY22" fmla="*/ 603442 h 775855"/>
              <a:gd name="connsiteX23" fmla="*/ 150861 w 474511"/>
              <a:gd name="connsiteY23" fmla="*/ 655782 h 775855"/>
              <a:gd name="connsiteX24" fmla="*/ 132388 w 474511"/>
              <a:gd name="connsiteY24" fmla="*/ 655782 h 775855"/>
              <a:gd name="connsiteX25" fmla="*/ 116994 w 474511"/>
              <a:gd name="connsiteY25" fmla="*/ 658861 h 775855"/>
              <a:gd name="connsiteX26" fmla="*/ 89285 w 474511"/>
              <a:gd name="connsiteY26" fmla="*/ 665018 h 775855"/>
              <a:gd name="connsiteX27" fmla="*/ 76970 w 474511"/>
              <a:gd name="connsiteY27" fmla="*/ 658861 h 775855"/>
              <a:gd name="connsiteX28" fmla="*/ 67734 w 474511"/>
              <a:gd name="connsiteY28" fmla="*/ 652703 h 775855"/>
              <a:gd name="connsiteX29" fmla="*/ 46182 w 474511"/>
              <a:gd name="connsiteY29" fmla="*/ 649624 h 775855"/>
              <a:gd name="connsiteX30" fmla="*/ 30788 w 474511"/>
              <a:gd name="connsiteY30" fmla="*/ 649624 h 775855"/>
              <a:gd name="connsiteX31" fmla="*/ 18473 w 474511"/>
              <a:gd name="connsiteY31" fmla="*/ 668097 h 775855"/>
              <a:gd name="connsiteX32" fmla="*/ 18473 w 474511"/>
              <a:gd name="connsiteY32" fmla="*/ 692727 h 775855"/>
              <a:gd name="connsiteX33" fmla="*/ 21552 w 474511"/>
              <a:gd name="connsiteY33" fmla="*/ 708121 h 775855"/>
              <a:gd name="connsiteX34" fmla="*/ 15394 w 474511"/>
              <a:gd name="connsiteY34" fmla="*/ 720436 h 775855"/>
              <a:gd name="connsiteX35" fmla="*/ 9237 w 474511"/>
              <a:gd name="connsiteY35" fmla="*/ 732751 h 775855"/>
              <a:gd name="connsiteX36" fmla="*/ 6158 w 474511"/>
              <a:gd name="connsiteY36" fmla="*/ 748145 h 775855"/>
              <a:gd name="connsiteX37" fmla="*/ 0 w 474511"/>
              <a:gd name="connsiteY37" fmla="*/ 775855 h 77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74511" h="775855">
                <a:moveTo>
                  <a:pt x="418715" y="0"/>
                </a:moveTo>
                <a:cubicBezTo>
                  <a:pt x="437957" y="17446"/>
                  <a:pt x="457200" y="34893"/>
                  <a:pt x="464897" y="49261"/>
                </a:cubicBezTo>
                <a:cubicBezTo>
                  <a:pt x="472594" y="63629"/>
                  <a:pt x="464897" y="86206"/>
                  <a:pt x="464897" y="86206"/>
                </a:cubicBezTo>
                <a:cubicBezTo>
                  <a:pt x="464897" y="96982"/>
                  <a:pt x="465410" y="106218"/>
                  <a:pt x="464897" y="113915"/>
                </a:cubicBezTo>
                <a:cubicBezTo>
                  <a:pt x="464384" y="121612"/>
                  <a:pt x="460279" y="125204"/>
                  <a:pt x="461818" y="132388"/>
                </a:cubicBezTo>
                <a:cubicBezTo>
                  <a:pt x="463357" y="139572"/>
                  <a:pt x="472595" y="147269"/>
                  <a:pt x="474134" y="157018"/>
                </a:cubicBezTo>
                <a:cubicBezTo>
                  <a:pt x="475673" y="166767"/>
                  <a:pt x="472081" y="180109"/>
                  <a:pt x="471055" y="190885"/>
                </a:cubicBezTo>
                <a:cubicBezTo>
                  <a:pt x="470029" y="201661"/>
                  <a:pt x="472081" y="210897"/>
                  <a:pt x="467976" y="221673"/>
                </a:cubicBezTo>
                <a:cubicBezTo>
                  <a:pt x="463871" y="232449"/>
                  <a:pt x="452069" y="244763"/>
                  <a:pt x="446424" y="255539"/>
                </a:cubicBezTo>
                <a:cubicBezTo>
                  <a:pt x="440780" y="266315"/>
                  <a:pt x="439240" y="279656"/>
                  <a:pt x="434109" y="286327"/>
                </a:cubicBezTo>
                <a:cubicBezTo>
                  <a:pt x="428978" y="292998"/>
                  <a:pt x="423847" y="292998"/>
                  <a:pt x="415637" y="295564"/>
                </a:cubicBezTo>
                <a:cubicBezTo>
                  <a:pt x="407427" y="298130"/>
                  <a:pt x="391520" y="297103"/>
                  <a:pt x="384849" y="301721"/>
                </a:cubicBezTo>
                <a:cubicBezTo>
                  <a:pt x="378178" y="306339"/>
                  <a:pt x="377151" y="315576"/>
                  <a:pt x="375612" y="323273"/>
                </a:cubicBezTo>
                <a:cubicBezTo>
                  <a:pt x="374072" y="330970"/>
                  <a:pt x="375612" y="347903"/>
                  <a:pt x="375612" y="347903"/>
                </a:cubicBezTo>
                <a:lnTo>
                  <a:pt x="375612" y="440267"/>
                </a:lnTo>
                <a:cubicBezTo>
                  <a:pt x="375612" y="461305"/>
                  <a:pt x="377151" y="462844"/>
                  <a:pt x="375612" y="474133"/>
                </a:cubicBezTo>
                <a:cubicBezTo>
                  <a:pt x="374073" y="485422"/>
                  <a:pt x="369968" y="497737"/>
                  <a:pt x="366376" y="508000"/>
                </a:cubicBezTo>
                <a:cubicBezTo>
                  <a:pt x="362784" y="518263"/>
                  <a:pt x="359192" y="528525"/>
                  <a:pt x="354061" y="535709"/>
                </a:cubicBezTo>
                <a:cubicBezTo>
                  <a:pt x="348930" y="542893"/>
                  <a:pt x="342772" y="543406"/>
                  <a:pt x="335588" y="551103"/>
                </a:cubicBezTo>
                <a:cubicBezTo>
                  <a:pt x="328404" y="558800"/>
                  <a:pt x="317629" y="574194"/>
                  <a:pt x="310958" y="581891"/>
                </a:cubicBezTo>
                <a:cubicBezTo>
                  <a:pt x="304287" y="589588"/>
                  <a:pt x="306853" y="592667"/>
                  <a:pt x="295564" y="597285"/>
                </a:cubicBezTo>
                <a:cubicBezTo>
                  <a:pt x="284275" y="601903"/>
                  <a:pt x="252460" y="608574"/>
                  <a:pt x="243224" y="609600"/>
                </a:cubicBezTo>
                <a:cubicBezTo>
                  <a:pt x="233988" y="610626"/>
                  <a:pt x="255540" y="595745"/>
                  <a:pt x="240146" y="603442"/>
                </a:cubicBezTo>
                <a:cubicBezTo>
                  <a:pt x="224752" y="611139"/>
                  <a:pt x="168821" y="647059"/>
                  <a:pt x="150861" y="655782"/>
                </a:cubicBezTo>
                <a:cubicBezTo>
                  <a:pt x="132901" y="664505"/>
                  <a:pt x="138032" y="655269"/>
                  <a:pt x="132388" y="655782"/>
                </a:cubicBezTo>
                <a:cubicBezTo>
                  <a:pt x="126744" y="656295"/>
                  <a:pt x="116994" y="658861"/>
                  <a:pt x="116994" y="658861"/>
                </a:cubicBezTo>
                <a:lnTo>
                  <a:pt x="89285" y="665018"/>
                </a:lnTo>
                <a:cubicBezTo>
                  <a:pt x="82614" y="665018"/>
                  <a:pt x="76970" y="658861"/>
                  <a:pt x="76970" y="658861"/>
                </a:cubicBezTo>
                <a:cubicBezTo>
                  <a:pt x="73378" y="656809"/>
                  <a:pt x="72865" y="654242"/>
                  <a:pt x="67734" y="652703"/>
                </a:cubicBezTo>
                <a:cubicBezTo>
                  <a:pt x="62603" y="651164"/>
                  <a:pt x="52340" y="650137"/>
                  <a:pt x="46182" y="649624"/>
                </a:cubicBezTo>
                <a:cubicBezTo>
                  <a:pt x="40024" y="649111"/>
                  <a:pt x="35406" y="646545"/>
                  <a:pt x="30788" y="649624"/>
                </a:cubicBezTo>
                <a:cubicBezTo>
                  <a:pt x="26170" y="652703"/>
                  <a:pt x="20525" y="660913"/>
                  <a:pt x="18473" y="668097"/>
                </a:cubicBezTo>
                <a:cubicBezTo>
                  <a:pt x="16421" y="675281"/>
                  <a:pt x="17960" y="686056"/>
                  <a:pt x="18473" y="692727"/>
                </a:cubicBezTo>
                <a:cubicBezTo>
                  <a:pt x="18986" y="699398"/>
                  <a:pt x="21552" y="708121"/>
                  <a:pt x="21552" y="708121"/>
                </a:cubicBezTo>
                <a:cubicBezTo>
                  <a:pt x="21039" y="712739"/>
                  <a:pt x="15394" y="720436"/>
                  <a:pt x="15394" y="720436"/>
                </a:cubicBezTo>
                <a:cubicBezTo>
                  <a:pt x="13342" y="724541"/>
                  <a:pt x="10776" y="728133"/>
                  <a:pt x="9237" y="732751"/>
                </a:cubicBezTo>
                <a:cubicBezTo>
                  <a:pt x="7698" y="737369"/>
                  <a:pt x="7697" y="740961"/>
                  <a:pt x="6158" y="748145"/>
                </a:cubicBezTo>
                <a:cubicBezTo>
                  <a:pt x="4619" y="755329"/>
                  <a:pt x="2309" y="765592"/>
                  <a:pt x="0" y="77585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олилиния 12"/>
          <p:cNvSpPr/>
          <p:nvPr/>
        </p:nvSpPr>
        <p:spPr>
          <a:xfrm>
            <a:off x="3574473" y="1567555"/>
            <a:ext cx="1982739" cy="979055"/>
          </a:xfrm>
          <a:custGeom>
            <a:avLst/>
            <a:gdLst>
              <a:gd name="connsiteX0" fmla="*/ 1982739 w 1982739"/>
              <a:gd name="connsiteY0" fmla="*/ 979055 h 979055"/>
              <a:gd name="connsiteX1" fmla="*/ 1924242 w 1982739"/>
              <a:gd name="connsiteY1" fmla="*/ 963661 h 979055"/>
              <a:gd name="connsiteX2" fmla="*/ 1890375 w 1982739"/>
              <a:gd name="connsiteY2" fmla="*/ 948267 h 979055"/>
              <a:gd name="connsiteX3" fmla="*/ 1874982 w 1982739"/>
              <a:gd name="connsiteY3" fmla="*/ 935952 h 979055"/>
              <a:gd name="connsiteX4" fmla="*/ 1828800 w 1982739"/>
              <a:gd name="connsiteY4" fmla="*/ 935952 h 979055"/>
              <a:gd name="connsiteX5" fmla="*/ 1813406 w 1982739"/>
              <a:gd name="connsiteY5" fmla="*/ 926715 h 979055"/>
              <a:gd name="connsiteX6" fmla="*/ 1770303 w 1982739"/>
              <a:gd name="connsiteY6" fmla="*/ 935952 h 979055"/>
              <a:gd name="connsiteX7" fmla="*/ 1727200 w 1982739"/>
              <a:gd name="connsiteY7" fmla="*/ 935952 h 979055"/>
              <a:gd name="connsiteX8" fmla="*/ 1693333 w 1982739"/>
              <a:gd name="connsiteY8" fmla="*/ 935952 h 979055"/>
              <a:gd name="connsiteX9" fmla="*/ 1659466 w 1982739"/>
              <a:gd name="connsiteY9" fmla="*/ 917479 h 979055"/>
              <a:gd name="connsiteX10" fmla="*/ 1637915 w 1982739"/>
              <a:gd name="connsiteY10" fmla="*/ 902085 h 979055"/>
              <a:gd name="connsiteX11" fmla="*/ 1634836 w 1982739"/>
              <a:gd name="connsiteY11" fmla="*/ 886691 h 979055"/>
              <a:gd name="connsiteX12" fmla="*/ 1634836 w 1982739"/>
              <a:gd name="connsiteY12" fmla="*/ 871297 h 979055"/>
              <a:gd name="connsiteX13" fmla="*/ 1640994 w 1982739"/>
              <a:gd name="connsiteY13" fmla="*/ 855903 h 979055"/>
              <a:gd name="connsiteX14" fmla="*/ 1647151 w 1982739"/>
              <a:gd name="connsiteY14" fmla="*/ 837431 h 979055"/>
              <a:gd name="connsiteX15" fmla="*/ 1628679 w 1982739"/>
              <a:gd name="connsiteY15" fmla="*/ 822037 h 979055"/>
              <a:gd name="connsiteX16" fmla="*/ 1570182 w 1982739"/>
              <a:gd name="connsiteY16" fmla="*/ 803564 h 979055"/>
              <a:gd name="connsiteX17" fmla="*/ 1520921 w 1982739"/>
              <a:gd name="connsiteY17" fmla="*/ 782012 h 979055"/>
              <a:gd name="connsiteX18" fmla="*/ 1434715 w 1982739"/>
              <a:gd name="connsiteY18" fmla="*/ 775855 h 979055"/>
              <a:gd name="connsiteX19" fmla="*/ 1379297 w 1982739"/>
              <a:gd name="connsiteY19" fmla="*/ 775855 h 979055"/>
              <a:gd name="connsiteX20" fmla="*/ 1311563 w 1982739"/>
              <a:gd name="connsiteY20" fmla="*/ 788170 h 979055"/>
              <a:gd name="connsiteX21" fmla="*/ 1268460 w 1982739"/>
              <a:gd name="connsiteY21" fmla="*/ 797406 h 979055"/>
              <a:gd name="connsiteX22" fmla="*/ 1259224 w 1982739"/>
              <a:gd name="connsiteY22" fmla="*/ 797406 h 979055"/>
              <a:gd name="connsiteX23" fmla="*/ 1253066 w 1982739"/>
              <a:gd name="connsiteY23" fmla="*/ 778934 h 979055"/>
              <a:gd name="connsiteX24" fmla="*/ 1234594 w 1982739"/>
              <a:gd name="connsiteY24" fmla="*/ 772776 h 979055"/>
              <a:gd name="connsiteX25" fmla="*/ 1203806 w 1982739"/>
              <a:gd name="connsiteY25" fmla="*/ 782012 h 979055"/>
              <a:gd name="connsiteX26" fmla="*/ 1154545 w 1982739"/>
              <a:gd name="connsiteY26" fmla="*/ 763540 h 979055"/>
              <a:gd name="connsiteX27" fmla="*/ 1136072 w 1982739"/>
              <a:gd name="connsiteY27" fmla="*/ 754303 h 979055"/>
              <a:gd name="connsiteX28" fmla="*/ 1111442 w 1982739"/>
              <a:gd name="connsiteY28" fmla="*/ 760461 h 979055"/>
              <a:gd name="connsiteX29" fmla="*/ 1068339 w 1982739"/>
              <a:gd name="connsiteY29" fmla="*/ 757382 h 979055"/>
              <a:gd name="connsiteX30" fmla="*/ 1043709 w 1982739"/>
              <a:gd name="connsiteY30" fmla="*/ 754303 h 979055"/>
              <a:gd name="connsiteX31" fmla="*/ 1028315 w 1982739"/>
              <a:gd name="connsiteY31" fmla="*/ 766618 h 979055"/>
              <a:gd name="connsiteX32" fmla="*/ 1006763 w 1982739"/>
              <a:gd name="connsiteY32" fmla="*/ 772776 h 979055"/>
              <a:gd name="connsiteX33" fmla="*/ 975975 w 1982739"/>
              <a:gd name="connsiteY33" fmla="*/ 751224 h 979055"/>
              <a:gd name="connsiteX34" fmla="*/ 963660 w 1982739"/>
              <a:gd name="connsiteY34" fmla="*/ 732752 h 979055"/>
              <a:gd name="connsiteX35" fmla="*/ 954424 w 1982739"/>
              <a:gd name="connsiteY35" fmla="*/ 732752 h 979055"/>
              <a:gd name="connsiteX36" fmla="*/ 948266 w 1982739"/>
              <a:gd name="connsiteY36" fmla="*/ 748146 h 979055"/>
              <a:gd name="connsiteX37" fmla="*/ 923636 w 1982739"/>
              <a:gd name="connsiteY37" fmla="*/ 766618 h 979055"/>
              <a:gd name="connsiteX38" fmla="*/ 908242 w 1982739"/>
              <a:gd name="connsiteY38" fmla="*/ 772776 h 979055"/>
              <a:gd name="connsiteX39" fmla="*/ 908242 w 1982739"/>
              <a:gd name="connsiteY39" fmla="*/ 757382 h 979055"/>
              <a:gd name="connsiteX40" fmla="*/ 905163 w 1982739"/>
              <a:gd name="connsiteY40" fmla="*/ 732752 h 979055"/>
              <a:gd name="connsiteX41" fmla="*/ 880533 w 1982739"/>
              <a:gd name="connsiteY41" fmla="*/ 717358 h 979055"/>
              <a:gd name="connsiteX42" fmla="*/ 852824 w 1982739"/>
              <a:gd name="connsiteY42" fmla="*/ 711200 h 979055"/>
              <a:gd name="connsiteX43" fmla="*/ 803563 w 1982739"/>
              <a:gd name="connsiteY43" fmla="*/ 698885 h 979055"/>
              <a:gd name="connsiteX44" fmla="*/ 760460 w 1982739"/>
              <a:gd name="connsiteY44" fmla="*/ 686570 h 979055"/>
              <a:gd name="connsiteX45" fmla="*/ 723515 w 1982739"/>
              <a:gd name="connsiteY45" fmla="*/ 668097 h 979055"/>
              <a:gd name="connsiteX46" fmla="*/ 689648 w 1982739"/>
              <a:gd name="connsiteY46" fmla="*/ 640388 h 979055"/>
              <a:gd name="connsiteX47" fmla="*/ 658860 w 1982739"/>
              <a:gd name="connsiteY47" fmla="*/ 624994 h 979055"/>
              <a:gd name="connsiteX48" fmla="*/ 628072 w 1982739"/>
              <a:gd name="connsiteY48" fmla="*/ 624994 h 979055"/>
              <a:gd name="connsiteX49" fmla="*/ 603442 w 1982739"/>
              <a:gd name="connsiteY49" fmla="*/ 621915 h 979055"/>
              <a:gd name="connsiteX50" fmla="*/ 575733 w 1982739"/>
              <a:gd name="connsiteY50" fmla="*/ 600364 h 979055"/>
              <a:gd name="connsiteX51" fmla="*/ 551103 w 1982739"/>
              <a:gd name="connsiteY51" fmla="*/ 591128 h 979055"/>
              <a:gd name="connsiteX52" fmla="*/ 523394 w 1982739"/>
              <a:gd name="connsiteY52" fmla="*/ 588049 h 979055"/>
              <a:gd name="connsiteX53" fmla="*/ 498763 w 1982739"/>
              <a:gd name="connsiteY53" fmla="*/ 597285 h 979055"/>
              <a:gd name="connsiteX54" fmla="*/ 489527 w 1982739"/>
              <a:gd name="connsiteY54" fmla="*/ 597285 h 979055"/>
              <a:gd name="connsiteX55" fmla="*/ 483369 w 1982739"/>
              <a:gd name="connsiteY55" fmla="*/ 578812 h 979055"/>
              <a:gd name="connsiteX56" fmla="*/ 464897 w 1982739"/>
              <a:gd name="connsiteY56" fmla="*/ 523394 h 979055"/>
              <a:gd name="connsiteX57" fmla="*/ 464897 w 1982739"/>
              <a:gd name="connsiteY57" fmla="*/ 504921 h 979055"/>
              <a:gd name="connsiteX58" fmla="*/ 452582 w 1982739"/>
              <a:gd name="connsiteY58" fmla="*/ 461818 h 979055"/>
              <a:gd name="connsiteX59" fmla="*/ 427951 w 1982739"/>
              <a:gd name="connsiteY59" fmla="*/ 400243 h 979055"/>
              <a:gd name="connsiteX60" fmla="*/ 403321 w 1982739"/>
              <a:gd name="connsiteY60" fmla="*/ 338667 h 979055"/>
              <a:gd name="connsiteX61" fmla="*/ 387927 w 1982739"/>
              <a:gd name="connsiteY61" fmla="*/ 295564 h 979055"/>
              <a:gd name="connsiteX62" fmla="*/ 369454 w 1982739"/>
              <a:gd name="connsiteY62" fmla="*/ 255540 h 979055"/>
              <a:gd name="connsiteX63" fmla="*/ 344824 w 1982739"/>
              <a:gd name="connsiteY63" fmla="*/ 215515 h 979055"/>
              <a:gd name="connsiteX64" fmla="*/ 295563 w 1982739"/>
              <a:gd name="connsiteY64" fmla="*/ 184728 h 979055"/>
              <a:gd name="connsiteX65" fmla="*/ 261697 w 1982739"/>
              <a:gd name="connsiteY65" fmla="*/ 160097 h 979055"/>
              <a:gd name="connsiteX66" fmla="*/ 218594 w 1982739"/>
              <a:gd name="connsiteY66" fmla="*/ 132388 h 979055"/>
              <a:gd name="connsiteX67" fmla="*/ 175491 w 1982739"/>
              <a:gd name="connsiteY67" fmla="*/ 107758 h 979055"/>
              <a:gd name="connsiteX68" fmla="*/ 144703 w 1982739"/>
              <a:gd name="connsiteY68" fmla="*/ 104679 h 979055"/>
              <a:gd name="connsiteX69" fmla="*/ 104679 w 1982739"/>
              <a:gd name="connsiteY69" fmla="*/ 104679 h 979055"/>
              <a:gd name="connsiteX70" fmla="*/ 83127 w 1982739"/>
              <a:gd name="connsiteY70" fmla="*/ 92364 h 979055"/>
              <a:gd name="connsiteX71" fmla="*/ 58497 w 1982739"/>
              <a:gd name="connsiteY71" fmla="*/ 61576 h 979055"/>
              <a:gd name="connsiteX72" fmla="*/ 40024 w 1982739"/>
              <a:gd name="connsiteY72" fmla="*/ 40024 h 979055"/>
              <a:gd name="connsiteX73" fmla="*/ 9236 w 1982739"/>
              <a:gd name="connsiteY73" fmla="*/ 9237 h 979055"/>
              <a:gd name="connsiteX74" fmla="*/ 0 w 1982739"/>
              <a:gd name="connsiteY74" fmla="*/ 0 h 979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982739" h="979055">
                <a:moveTo>
                  <a:pt x="1982739" y="979055"/>
                </a:moveTo>
                <a:cubicBezTo>
                  <a:pt x="1961187" y="973923"/>
                  <a:pt x="1939636" y="968792"/>
                  <a:pt x="1924242" y="963661"/>
                </a:cubicBezTo>
                <a:cubicBezTo>
                  <a:pt x="1908848" y="958530"/>
                  <a:pt x="1898585" y="952885"/>
                  <a:pt x="1890375" y="948267"/>
                </a:cubicBezTo>
                <a:cubicBezTo>
                  <a:pt x="1882165" y="943649"/>
                  <a:pt x="1885244" y="938004"/>
                  <a:pt x="1874982" y="935952"/>
                </a:cubicBezTo>
                <a:cubicBezTo>
                  <a:pt x="1864720" y="933900"/>
                  <a:pt x="1839063" y="937491"/>
                  <a:pt x="1828800" y="935952"/>
                </a:cubicBezTo>
                <a:cubicBezTo>
                  <a:pt x="1818537" y="934413"/>
                  <a:pt x="1823155" y="926715"/>
                  <a:pt x="1813406" y="926715"/>
                </a:cubicBezTo>
                <a:cubicBezTo>
                  <a:pt x="1803657" y="926715"/>
                  <a:pt x="1784671" y="934412"/>
                  <a:pt x="1770303" y="935952"/>
                </a:cubicBezTo>
                <a:cubicBezTo>
                  <a:pt x="1755935" y="937491"/>
                  <a:pt x="1727200" y="935952"/>
                  <a:pt x="1727200" y="935952"/>
                </a:cubicBezTo>
                <a:cubicBezTo>
                  <a:pt x="1714372" y="935952"/>
                  <a:pt x="1704622" y="939031"/>
                  <a:pt x="1693333" y="935952"/>
                </a:cubicBezTo>
                <a:cubicBezTo>
                  <a:pt x="1682044" y="932873"/>
                  <a:pt x="1668702" y="923123"/>
                  <a:pt x="1659466" y="917479"/>
                </a:cubicBezTo>
                <a:cubicBezTo>
                  <a:pt x="1650230" y="911834"/>
                  <a:pt x="1637915" y="902085"/>
                  <a:pt x="1637915" y="902085"/>
                </a:cubicBezTo>
                <a:cubicBezTo>
                  <a:pt x="1633810" y="896954"/>
                  <a:pt x="1635349" y="891822"/>
                  <a:pt x="1634836" y="886691"/>
                </a:cubicBezTo>
                <a:cubicBezTo>
                  <a:pt x="1634323" y="881560"/>
                  <a:pt x="1633810" y="876428"/>
                  <a:pt x="1634836" y="871297"/>
                </a:cubicBezTo>
                <a:cubicBezTo>
                  <a:pt x="1635862" y="866166"/>
                  <a:pt x="1638942" y="861547"/>
                  <a:pt x="1640994" y="855903"/>
                </a:cubicBezTo>
                <a:cubicBezTo>
                  <a:pt x="1643046" y="850259"/>
                  <a:pt x="1649203" y="843075"/>
                  <a:pt x="1647151" y="837431"/>
                </a:cubicBezTo>
                <a:cubicBezTo>
                  <a:pt x="1645099" y="831787"/>
                  <a:pt x="1641507" y="827681"/>
                  <a:pt x="1628679" y="822037"/>
                </a:cubicBezTo>
                <a:cubicBezTo>
                  <a:pt x="1615851" y="816393"/>
                  <a:pt x="1588142" y="810235"/>
                  <a:pt x="1570182" y="803564"/>
                </a:cubicBezTo>
                <a:cubicBezTo>
                  <a:pt x="1552222" y="796893"/>
                  <a:pt x="1543499" y="786630"/>
                  <a:pt x="1520921" y="782012"/>
                </a:cubicBezTo>
                <a:cubicBezTo>
                  <a:pt x="1498343" y="777394"/>
                  <a:pt x="1458319" y="776881"/>
                  <a:pt x="1434715" y="775855"/>
                </a:cubicBezTo>
                <a:cubicBezTo>
                  <a:pt x="1411111" y="774829"/>
                  <a:pt x="1399822" y="773803"/>
                  <a:pt x="1379297" y="775855"/>
                </a:cubicBezTo>
                <a:cubicBezTo>
                  <a:pt x="1358772" y="777907"/>
                  <a:pt x="1330036" y="784578"/>
                  <a:pt x="1311563" y="788170"/>
                </a:cubicBezTo>
                <a:cubicBezTo>
                  <a:pt x="1293090" y="791762"/>
                  <a:pt x="1268460" y="797406"/>
                  <a:pt x="1268460" y="797406"/>
                </a:cubicBezTo>
                <a:cubicBezTo>
                  <a:pt x="1259737" y="798945"/>
                  <a:pt x="1261790" y="800485"/>
                  <a:pt x="1259224" y="797406"/>
                </a:cubicBezTo>
                <a:cubicBezTo>
                  <a:pt x="1256658" y="794327"/>
                  <a:pt x="1257171" y="783039"/>
                  <a:pt x="1253066" y="778934"/>
                </a:cubicBezTo>
                <a:cubicBezTo>
                  <a:pt x="1248961" y="774829"/>
                  <a:pt x="1242804" y="772263"/>
                  <a:pt x="1234594" y="772776"/>
                </a:cubicBezTo>
                <a:cubicBezTo>
                  <a:pt x="1226384" y="773289"/>
                  <a:pt x="1217147" y="783551"/>
                  <a:pt x="1203806" y="782012"/>
                </a:cubicBezTo>
                <a:cubicBezTo>
                  <a:pt x="1190465" y="780473"/>
                  <a:pt x="1165834" y="768158"/>
                  <a:pt x="1154545" y="763540"/>
                </a:cubicBezTo>
                <a:cubicBezTo>
                  <a:pt x="1143256" y="758922"/>
                  <a:pt x="1143256" y="754816"/>
                  <a:pt x="1136072" y="754303"/>
                </a:cubicBezTo>
                <a:cubicBezTo>
                  <a:pt x="1128888" y="753790"/>
                  <a:pt x="1122731" y="759948"/>
                  <a:pt x="1111442" y="760461"/>
                </a:cubicBezTo>
                <a:cubicBezTo>
                  <a:pt x="1100153" y="760974"/>
                  <a:pt x="1079628" y="758408"/>
                  <a:pt x="1068339" y="757382"/>
                </a:cubicBezTo>
                <a:cubicBezTo>
                  <a:pt x="1057050" y="756356"/>
                  <a:pt x="1050380" y="752764"/>
                  <a:pt x="1043709" y="754303"/>
                </a:cubicBezTo>
                <a:cubicBezTo>
                  <a:pt x="1037038" y="755842"/>
                  <a:pt x="1034473" y="763539"/>
                  <a:pt x="1028315" y="766618"/>
                </a:cubicBezTo>
                <a:cubicBezTo>
                  <a:pt x="1022157" y="769697"/>
                  <a:pt x="1015486" y="775342"/>
                  <a:pt x="1006763" y="772776"/>
                </a:cubicBezTo>
                <a:cubicBezTo>
                  <a:pt x="998040" y="770210"/>
                  <a:pt x="975975" y="751224"/>
                  <a:pt x="975975" y="751224"/>
                </a:cubicBezTo>
                <a:cubicBezTo>
                  <a:pt x="968791" y="744553"/>
                  <a:pt x="963660" y="732752"/>
                  <a:pt x="963660" y="732752"/>
                </a:cubicBezTo>
                <a:cubicBezTo>
                  <a:pt x="960068" y="729673"/>
                  <a:pt x="956990" y="730186"/>
                  <a:pt x="954424" y="732752"/>
                </a:cubicBezTo>
                <a:cubicBezTo>
                  <a:pt x="951858" y="735318"/>
                  <a:pt x="953397" y="742502"/>
                  <a:pt x="948266" y="748146"/>
                </a:cubicBezTo>
                <a:cubicBezTo>
                  <a:pt x="943135" y="753790"/>
                  <a:pt x="930307" y="762513"/>
                  <a:pt x="923636" y="766618"/>
                </a:cubicBezTo>
                <a:cubicBezTo>
                  <a:pt x="916965" y="770723"/>
                  <a:pt x="908242" y="772776"/>
                  <a:pt x="908242" y="772776"/>
                </a:cubicBezTo>
                <a:cubicBezTo>
                  <a:pt x="905676" y="771237"/>
                  <a:pt x="908755" y="764053"/>
                  <a:pt x="908242" y="757382"/>
                </a:cubicBezTo>
                <a:cubicBezTo>
                  <a:pt x="907729" y="750711"/>
                  <a:pt x="905163" y="732752"/>
                  <a:pt x="905163" y="732752"/>
                </a:cubicBezTo>
                <a:cubicBezTo>
                  <a:pt x="900545" y="726081"/>
                  <a:pt x="889256" y="720950"/>
                  <a:pt x="880533" y="717358"/>
                </a:cubicBezTo>
                <a:cubicBezTo>
                  <a:pt x="871810" y="713766"/>
                  <a:pt x="852824" y="711200"/>
                  <a:pt x="852824" y="711200"/>
                </a:cubicBezTo>
                <a:lnTo>
                  <a:pt x="803563" y="698885"/>
                </a:lnTo>
                <a:cubicBezTo>
                  <a:pt x="788169" y="694780"/>
                  <a:pt x="773801" y="691701"/>
                  <a:pt x="760460" y="686570"/>
                </a:cubicBezTo>
                <a:cubicBezTo>
                  <a:pt x="747119" y="681439"/>
                  <a:pt x="735317" y="675794"/>
                  <a:pt x="723515" y="668097"/>
                </a:cubicBezTo>
                <a:cubicBezTo>
                  <a:pt x="711713" y="660400"/>
                  <a:pt x="700424" y="647572"/>
                  <a:pt x="689648" y="640388"/>
                </a:cubicBezTo>
                <a:cubicBezTo>
                  <a:pt x="678872" y="633204"/>
                  <a:pt x="669123" y="627560"/>
                  <a:pt x="658860" y="624994"/>
                </a:cubicBezTo>
                <a:cubicBezTo>
                  <a:pt x="648597" y="622428"/>
                  <a:pt x="637308" y="625507"/>
                  <a:pt x="628072" y="624994"/>
                </a:cubicBezTo>
                <a:cubicBezTo>
                  <a:pt x="618836" y="624481"/>
                  <a:pt x="612165" y="626020"/>
                  <a:pt x="603442" y="621915"/>
                </a:cubicBezTo>
                <a:cubicBezTo>
                  <a:pt x="594719" y="617810"/>
                  <a:pt x="584456" y="605495"/>
                  <a:pt x="575733" y="600364"/>
                </a:cubicBezTo>
                <a:cubicBezTo>
                  <a:pt x="567010" y="595233"/>
                  <a:pt x="559826" y="593181"/>
                  <a:pt x="551103" y="591128"/>
                </a:cubicBezTo>
                <a:cubicBezTo>
                  <a:pt x="542380" y="589075"/>
                  <a:pt x="532117" y="587023"/>
                  <a:pt x="523394" y="588049"/>
                </a:cubicBezTo>
                <a:cubicBezTo>
                  <a:pt x="514671" y="589075"/>
                  <a:pt x="498763" y="597285"/>
                  <a:pt x="498763" y="597285"/>
                </a:cubicBezTo>
                <a:cubicBezTo>
                  <a:pt x="493118" y="598824"/>
                  <a:pt x="492093" y="600364"/>
                  <a:pt x="489527" y="597285"/>
                </a:cubicBezTo>
                <a:cubicBezTo>
                  <a:pt x="486961" y="594206"/>
                  <a:pt x="483369" y="578812"/>
                  <a:pt x="483369" y="578812"/>
                </a:cubicBezTo>
                <a:cubicBezTo>
                  <a:pt x="479264" y="566497"/>
                  <a:pt x="467976" y="535709"/>
                  <a:pt x="464897" y="523394"/>
                </a:cubicBezTo>
                <a:cubicBezTo>
                  <a:pt x="461818" y="511079"/>
                  <a:pt x="466949" y="515184"/>
                  <a:pt x="464897" y="504921"/>
                </a:cubicBezTo>
                <a:cubicBezTo>
                  <a:pt x="462845" y="494658"/>
                  <a:pt x="458740" y="479264"/>
                  <a:pt x="452582" y="461818"/>
                </a:cubicBezTo>
                <a:cubicBezTo>
                  <a:pt x="446424" y="444372"/>
                  <a:pt x="427951" y="400243"/>
                  <a:pt x="427951" y="400243"/>
                </a:cubicBezTo>
                <a:cubicBezTo>
                  <a:pt x="419741" y="379718"/>
                  <a:pt x="409992" y="356113"/>
                  <a:pt x="403321" y="338667"/>
                </a:cubicBezTo>
                <a:cubicBezTo>
                  <a:pt x="396650" y="321221"/>
                  <a:pt x="393571" y="309418"/>
                  <a:pt x="387927" y="295564"/>
                </a:cubicBezTo>
                <a:cubicBezTo>
                  <a:pt x="382282" y="281709"/>
                  <a:pt x="376638" y="268881"/>
                  <a:pt x="369454" y="255540"/>
                </a:cubicBezTo>
                <a:cubicBezTo>
                  <a:pt x="362270" y="242199"/>
                  <a:pt x="357139" y="227317"/>
                  <a:pt x="344824" y="215515"/>
                </a:cubicBezTo>
                <a:cubicBezTo>
                  <a:pt x="332509" y="203713"/>
                  <a:pt x="309417" y="193964"/>
                  <a:pt x="295563" y="184728"/>
                </a:cubicBezTo>
                <a:cubicBezTo>
                  <a:pt x="281708" y="175492"/>
                  <a:pt x="274525" y="168820"/>
                  <a:pt x="261697" y="160097"/>
                </a:cubicBezTo>
                <a:cubicBezTo>
                  <a:pt x="248869" y="151374"/>
                  <a:pt x="232962" y="141111"/>
                  <a:pt x="218594" y="132388"/>
                </a:cubicBezTo>
                <a:cubicBezTo>
                  <a:pt x="204226" y="123665"/>
                  <a:pt x="187806" y="112376"/>
                  <a:pt x="175491" y="107758"/>
                </a:cubicBezTo>
                <a:cubicBezTo>
                  <a:pt x="163176" y="103140"/>
                  <a:pt x="156505" y="105192"/>
                  <a:pt x="144703" y="104679"/>
                </a:cubicBezTo>
                <a:cubicBezTo>
                  <a:pt x="132901" y="104166"/>
                  <a:pt x="114942" y="106731"/>
                  <a:pt x="104679" y="104679"/>
                </a:cubicBezTo>
                <a:cubicBezTo>
                  <a:pt x="94416" y="102627"/>
                  <a:pt x="90824" y="99548"/>
                  <a:pt x="83127" y="92364"/>
                </a:cubicBezTo>
                <a:cubicBezTo>
                  <a:pt x="75430" y="85180"/>
                  <a:pt x="65681" y="70299"/>
                  <a:pt x="58497" y="61576"/>
                </a:cubicBezTo>
                <a:cubicBezTo>
                  <a:pt x="51313" y="52853"/>
                  <a:pt x="48234" y="48747"/>
                  <a:pt x="40024" y="40024"/>
                </a:cubicBezTo>
                <a:cubicBezTo>
                  <a:pt x="31814" y="31301"/>
                  <a:pt x="9236" y="9237"/>
                  <a:pt x="9236" y="9237"/>
                </a:cubicBezTo>
                <a:lnTo>
                  <a:pt x="0" y="0"/>
                </a:ln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олилиния 33"/>
          <p:cNvSpPr/>
          <p:nvPr/>
        </p:nvSpPr>
        <p:spPr>
          <a:xfrm>
            <a:off x="3572930" y="1565560"/>
            <a:ext cx="1982739" cy="979055"/>
          </a:xfrm>
          <a:custGeom>
            <a:avLst/>
            <a:gdLst>
              <a:gd name="connsiteX0" fmla="*/ 1982739 w 1982739"/>
              <a:gd name="connsiteY0" fmla="*/ 979055 h 979055"/>
              <a:gd name="connsiteX1" fmla="*/ 1924242 w 1982739"/>
              <a:gd name="connsiteY1" fmla="*/ 963661 h 979055"/>
              <a:gd name="connsiteX2" fmla="*/ 1890375 w 1982739"/>
              <a:gd name="connsiteY2" fmla="*/ 948267 h 979055"/>
              <a:gd name="connsiteX3" fmla="*/ 1874982 w 1982739"/>
              <a:gd name="connsiteY3" fmla="*/ 935952 h 979055"/>
              <a:gd name="connsiteX4" fmla="*/ 1828800 w 1982739"/>
              <a:gd name="connsiteY4" fmla="*/ 935952 h 979055"/>
              <a:gd name="connsiteX5" fmla="*/ 1813406 w 1982739"/>
              <a:gd name="connsiteY5" fmla="*/ 926715 h 979055"/>
              <a:gd name="connsiteX6" fmla="*/ 1770303 w 1982739"/>
              <a:gd name="connsiteY6" fmla="*/ 935952 h 979055"/>
              <a:gd name="connsiteX7" fmla="*/ 1727200 w 1982739"/>
              <a:gd name="connsiteY7" fmla="*/ 935952 h 979055"/>
              <a:gd name="connsiteX8" fmla="*/ 1693333 w 1982739"/>
              <a:gd name="connsiteY8" fmla="*/ 935952 h 979055"/>
              <a:gd name="connsiteX9" fmla="*/ 1659466 w 1982739"/>
              <a:gd name="connsiteY9" fmla="*/ 917479 h 979055"/>
              <a:gd name="connsiteX10" fmla="*/ 1637915 w 1982739"/>
              <a:gd name="connsiteY10" fmla="*/ 902085 h 979055"/>
              <a:gd name="connsiteX11" fmla="*/ 1634836 w 1982739"/>
              <a:gd name="connsiteY11" fmla="*/ 886691 h 979055"/>
              <a:gd name="connsiteX12" fmla="*/ 1634836 w 1982739"/>
              <a:gd name="connsiteY12" fmla="*/ 871297 h 979055"/>
              <a:gd name="connsiteX13" fmla="*/ 1640994 w 1982739"/>
              <a:gd name="connsiteY13" fmla="*/ 855903 h 979055"/>
              <a:gd name="connsiteX14" fmla="*/ 1647151 w 1982739"/>
              <a:gd name="connsiteY14" fmla="*/ 837431 h 979055"/>
              <a:gd name="connsiteX15" fmla="*/ 1628679 w 1982739"/>
              <a:gd name="connsiteY15" fmla="*/ 822037 h 979055"/>
              <a:gd name="connsiteX16" fmla="*/ 1570182 w 1982739"/>
              <a:gd name="connsiteY16" fmla="*/ 803564 h 979055"/>
              <a:gd name="connsiteX17" fmla="*/ 1520921 w 1982739"/>
              <a:gd name="connsiteY17" fmla="*/ 782012 h 979055"/>
              <a:gd name="connsiteX18" fmla="*/ 1434715 w 1982739"/>
              <a:gd name="connsiteY18" fmla="*/ 775855 h 979055"/>
              <a:gd name="connsiteX19" fmla="*/ 1379297 w 1982739"/>
              <a:gd name="connsiteY19" fmla="*/ 775855 h 979055"/>
              <a:gd name="connsiteX20" fmla="*/ 1311563 w 1982739"/>
              <a:gd name="connsiteY20" fmla="*/ 788170 h 979055"/>
              <a:gd name="connsiteX21" fmla="*/ 1268460 w 1982739"/>
              <a:gd name="connsiteY21" fmla="*/ 797406 h 979055"/>
              <a:gd name="connsiteX22" fmla="*/ 1259224 w 1982739"/>
              <a:gd name="connsiteY22" fmla="*/ 797406 h 979055"/>
              <a:gd name="connsiteX23" fmla="*/ 1253066 w 1982739"/>
              <a:gd name="connsiteY23" fmla="*/ 778934 h 979055"/>
              <a:gd name="connsiteX24" fmla="*/ 1234594 w 1982739"/>
              <a:gd name="connsiteY24" fmla="*/ 772776 h 979055"/>
              <a:gd name="connsiteX25" fmla="*/ 1203806 w 1982739"/>
              <a:gd name="connsiteY25" fmla="*/ 782012 h 979055"/>
              <a:gd name="connsiteX26" fmla="*/ 1154545 w 1982739"/>
              <a:gd name="connsiteY26" fmla="*/ 763540 h 979055"/>
              <a:gd name="connsiteX27" fmla="*/ 1136072 w 1982739"/>
              <a:gd name="connsiteY27" fmla="*/ 754303 h 979055"/>
              <a:gd name="connsiteX28" fmla="*/ 1111442 w 1982739"/>
              <a:gd name="connsiteY28" fmla="*/ 760461 h 979055"/>
              <a:gd name="connsiteX29" fmla="*/ 1068339 w 1982739"/>
              <a:gd name="connsiteY29" fmla="*/ 757382 h 979055"/>
              <a:gd name="connsiteX30" fmla="*/ 1043709 w 1982739"/>
              <a:gd name="connsiteY30" fmla="*/ 754303 h 979055"/>
              <a:gd name="connsiteX31" fmla="*/ 1028315 w 1982739"/>
              <a:gd name="connsiteY31" fmla="*/ 766618 h 979055"/>
              <a:gd name="connsiteX32" fmla="*/ 1006763 w 1982739"/>
              <a:gd name="connsiteY32" fmla="*/ 772776 h 979055"/>
              <a:gd name="connsiteX33" fmla="*/ 975975 w 1982739"/>
              <a:gd name="connsiteY33" fmla="*/ 751224 h 979055"/>
              <a:gd name="connsiteX34" fmla="*/ 963660 w 1982739"/>
              <a:gd name="connsiteY34" fmla="*/ 732752 h 979055"/>
              <a:gd name="connsiteX35" fmla="*/ 954424 w 1982739"/>
              <a:gd name="connsiteY35" fmla="*/ 732752 h 979055"/>
              <a:gd name="connsiteX36" fmla="*/ 948266 w 1982739"/>
              <a:gd name="connsiteY36" fmla="*/ 748146 h 979055"/>
              <a:gd name="connsiteX37" fmla="*/ 923636 w 1982739"/>
              <a:gd name="connsiteY37" fmla="*/ 766618 h 979055"/>
              <a:gd name="connsiteX38" fmla="*/ 908242 w 1982739"/>
              <a:gd name="connsiteY38" fmla="*/ 772776 h 979055"/>
              <a:gd name="connsiteX39" fmla="*/ 908242 w 1982739"/>
              <a:gd name="connsiteY39" fmla="*/ 757382 h 979055"/>
              <a:gd name="connsiteX40" fmla="*/ 905163 w 1982739"/>
              <a:gd name="connsiteY40" fmla="*/ 732752 h 979055"/>
              <a:gd name="connsiteX41" fmla="*/ 880533 w 1982739"/>
              <a:gd name="connsiteY41" fmla="*/ 717358 h 979055"/>
              <a:gd name="connsiteX42" fmla="*/ 852824 w 1982739"/>
              <a:gd name="connsiteY42" fmla="*/ 711200 h 979055"/>
              <a:gd name="connsiteX43" fmla="*/ 803563 w 1982739"/>
              <a:gd name="connsiteY43" fmla="*/ 698885 h 979055"/>
              <a:gd name="connsiteX44" fmla="*/ 760460 w 1982739"/>
              <a:gd name="connsiteY44" fmla="*/ 686570 h 979055"/>
              <a:gd name="connsiteX45" fmla="*/ 723515 w 1982739"/>
              <a:gd name="connsiteY45" fmla="*/ 668097 h 979055"/>
              <a:gd name="connsiteX46" fmla="*/ 689648 w 1982739"/>
              <a:gd name="connsiteY46" fmla="*/ 640388 h 979055"/>
              <a:gd name="connsiteX47" fmla="*/ 658860 w 1982739"/>
              <a:gd name="connsiteY47" fmla="*/ 624994 h 979055"/>
              <a:gd name="connsiteX48" fmla="*/ 628072 w 1982739"/>
              <a:gd name="connsiteY48" fmla="*/ 624994 h 979055"/>
              <a:gd name="connsiteX49" fmla="*/ 603442 w 1982739"/>
              <a:gd name="connsiteY49" fmla="*/ 621915 h 979055"/>
              <a:gd name="connsiteX50" fmla="*/ 575733 w 1982739"/>
              <a:gd name="connsiteY50" fmla="*/ 600364 h 979055"/>
              <a:gd name="connsiteX51" fmla="*/ 551103 w 1982739"/>
              <a:gd name="connsiteY51" fmla="*/ 591128 h 979055"/>
              <a:gd name="connsiteX52" fmla="*/ 523394 w 1982739"/>
              <a:gd name="connsiteY52" fmla="*/ 588049 h 979055"/>
              <a:gd name="connsiteX53" fmla="*/ 498763 w 1982739"/>
              <a:gd name="connsiteY53" fmla="*/ 597285 h 979055"/>
              <a:gd name="connsiteX54" fmla="*/ 489527 w 1982739"/>
              <a:gd name="connsiteY54" fmla="*/ 597285 h 979055"/>
              <a:gd name="connsiteX55" fmla="*/ 483369 w 1982739"/>
              <a:gd name="connsiteY55" fmla="*/ 578812 h 979055"/>
              <a:gd name="connsiteX56" fmla="*/ 464897 w 1982739"/>
              <a:gd name="connsiteY56" fmla="*/ 523394 h 979055"/>
              <a:gd name="connsiteX57" fmla="*/ 464897 w 1982739"/>
              <a:gd name="connsiteY57" fmla="*/ 504921 h 979055"/>
              <a:gd name="connsiteX58" fmla="*/ 452582 w 1982739"/>
              <a:gd name="connsiteY58" fmla="*/ 461818 h 979055"/>
              <a:gd name="connsiteX59" fmla="*/ 427951 w 1982739"/>
              <a:gd name="connsiteY59" fmla="*/ 400243 h 979055"/>
              <a:gd name="connsiteX60" fmla="*/ 403321 w 1982739"/>
              <a:gd name="connsiteY60" fmla="*/ 338667 h 979055"/>
              <a:gd name="connsiteX61" fmla="*/ 387927 w 1982739"/>
              <a:gd name="connsiteY61" fmla="*/ 295564 h 979055"/>
              <a:gd name="connsiteX62" fmla="*/ 369454 w 1982739"/>
              <a:gd name="connsiteY62" fmla="*/ 255540 h 979055"/>
              <a:gd name="connsiteX63" fmla="*/ 344824 w 1982739"/>
              <a:gd name="connsiteY63" fmla="*/ 215515 h 979055"/>
              <a:gd name="connsiteX64" fmla="*/ 295563 w 1982739"/>
              <a:gd name="connsiteY64" fmla="*/ 184728 h 979055"/>
              <a:gd name="connsiteX65" fmla="*/ 261697 w 1982739"/>
              <a:gd name="connsiteY65" fmla="*/ 160097 h 979055"/>
              <a:gd name="connsiteX66" fmla="*/ 218594 w 1982739"/>
              <a:gd name="connsiteY66" fmla="*/ 132388 h 979055"/>
              <a:gd name="connsiteX67" fmla="*/ 175491 w 1982739"/>
              <a:gd name="connsiteY67" fmla="*/ 107758 h 979055"/>
              <a:gd name="connsiteX68" fmla="*/ 144703 w 1982739"/>
              <a:gd name="connsiteY68" fmla="*/ 104679 h 979055"/>
              <a:gd name="connsiteX69" fmla="*/ 104679 w 1982739"/>
              <a:gd name="connsiteY69" fmla="*/ 104679 h 979055"/>
              <a:gd name="connsiteX70" fmla="*/ 83127 w 1982739"/>
              <a:gd name="connsiteY70" fmla="*/ 92364 h 979055"/>
              <a:gd name="connsiteX71" fmla="*/ 58497 w 1982739"/>
              <a:gd name="connsiteY71" fmla="*/ 61576 h 979055"/>
              <a:gd name="connsiteX72" fmla="*/ 40024 w 1982739"/>
              <a:gd name="connsiteY72" fmla="*/ 40024 h 979055"/>
              <a:gd name="connsiteX73" fmla="*/ 9236 w 1982739"/>
              <a:gd name="connsiteY73" fmla="*/ 9237 h 979055"/>
              <a:gd name="connsiteX74" fmla="*/ 0 w 1982739"/>
              <a:gd name="connsiteY74" fmla="*/ 0 h 979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982739" h="979055">
                <a:moveTo>
                  <a:pt x="1982739" y="979055"/>
                </a:moveTo>
                <a:cubicBezTo>
                  <a:pt x="1961187" y="973923"/>
                  <a:pt x="1939636" y="968792"/>
                  <a:pt x="1924242" y="963661"/>
                </a:cubicBezTo>
                <a:cubicBezTo>
                  <a:pt x="1908848" y="958530"/>
                  <a:pt x="1898585" y="952885"/>
                  <a:pt x="1890375" y="948267"/>
                </a:cubicBezTo>
                <a:cubicBezTo>
                  <a:pt x="1882165" y="943649"/>
                  <a:pt x="1885244" y="938004"/>
                  <a:pt x="1874982" y="935952"/>
                </a:cubicBezTo>
                <a:cubicBezTo>
                  <a:pt x="1864720" y="933900"/>
                  <a:pt x="1839063" y="937491"/>
                  <a:pt x="1828800" y="935952"/>
                </a:cubicBezTo>
                <a:cubicBezTo>
                  <a:pt x="1818537" y="934413"/>
                  <a:pt x="1823155" y="926715"/>
                  <a:pt x="1813406" y="926715"/>
                </a:cubicBezTo>
                <a:cubicBezTo>
                  <a:pt x="1803657" y="926715"/>
                  <a:pt x="1784671" y="934412"/>
                  <a:pt x="1770303" y="935952"/>
                </a:cubicBezTo>
                <a:cubicBezTo>
                  <a:pt x="1755935" y="937491"/>
                  <a:pt x="1727200" y="935952"/>
                  <a:pt x="1727200" y="935952"/>
                </a:cubicBezTo>
                <a:cubicBezTo>
                  <a:pt x="1714372" y="935952"/>
                  <a:pt x="1704622" y="939031"/>
                  <a:pt x="1693333" y="935952"/>
                </a:cubicBezTo>
                <a:cubicBezTo>
                  <a:pt x="1682044" y="932873"/>
                  <a:pt x="1668702" y="923123"/>
                  <a:pt x="1659466" y="917479"/>
                </a:cubicBezTo>
                <a:cubicBezTo>
                  <a:pt x="1650230" y="911834"/>
                  <a:pt x="1637915" y="902085"/>
                  <a:pt x="1637915" y="902085"/>
                </a:cubicBezTo>
                <a:cubicBezTo>
                  <a:pt x="1633810" y="896954"/>
                  <a:pt x="1635349" y="891822"/>
                  <a:pt x="1634836" y="886691"/>
                </a:cubicBezTo>
                <a:cubicBezTo>
                  <a:pt x="1634323" y="881560"/>
                  <a:pt x="1633810" y="876428"/>
                  <a:pt x="1634836" y="871297"/>
                </a:cubicBezTo>
                <a:cubicBezTo>
                  <a:pt x="1635862" y="866166"/>
                  <a:pt x="1638942" y="861547"/>
                  <a:pt x="1640994" y="855903"/>
                </a:cubicBezTo>
                <a:cubicBezTo>
                  <a:pt x="1643046" y="850259"/>
                  <a:pt x="1649203" y="843075"/>
                  <a:pt x="1647151" y="837431"/>
                </a:cubicBezTo>
                <a:cubicBezTo>
                  <a:pt x="1645099" y="831787"/>
                  <a:pt x="1641507" y="827681"/>
                  <a:pt x="1628679" y="822037"/>
                </a:cubicBezTo>
                <a:cubicBezTo>
                  <a:pt x="1615851" y="816393"/>
                  <a:pt x="1588142" y="810235"/>
                  <a:pt x="1570182" y="803564"/>
                </a:cubicBezTo>
                <a:cubicBezTo>
                  <a:pt x="1552222" y="796893"/>
                  <a:pt x="1543499" y="786630"/>
                  <a:pt x="1520921" y="782012"/>
                </a:cubicBezTo>
                <a:cubicBezTo>
                  <a:pt x="1498343" y="777394"/>
                  <a:pt x="1458319" y="776881"/>
                  <a:pt x="1434715" y="775855"/>
                </a:cubicBezTo>
                <a:cubicBezTo>
                  <a:pt x="1411111" y="774829"/>
                  <a:pt x="1399822" y="773803"/>
                  <a:pt x="1379297" y="775855"/>
                </a:cubicBezTo>
                <a:cubicBezTo>
                  <a:pt x="1358772" y="777907"/>
                  <a:pt x="1330036" y="784578"/>
                  <a:pt x="1311563" y="788170"/>
                </a:cubicBezTo>
                <a:cubicBezTo>
                  <a:pt x="1293090" y="791762"/>
                  <a:pt x="1268460" y="797406"/>
                  <a:pt x="1268460" y="797406"/>
                </a:cubicBezTo>
                <a:cubicBezTo>
                  <a:pt x="1259737" y="798945"/>
                  <a:pt x="1261790" y="800485"/>
                  <a:pt x="1259224" y="797406"/>
                </a:cubicBezTo>
                <a:cubicBezTo>
                  <a:pt x="1256658" y="794327"/>
                  <a:pt x="1257171" y="783039"/>
                  <a:pt x="1253066" y="778934"/>
                </a:cubicBezTo>
                <a:cubicBezTo>
                  <a:pt x="1248961" y="774829"/>
                  <a:pt x="1242804" y="772263"/>
                  <a:pt x="1234594" y="772776"/>
                </a:cubicBezTo>
                <a:cubicBezTo>
                  <a:pt x="1226384" y="773289"/>
                  <a:pt x="1217147" y="783551"/>
                  <a:pt x="1203806" y="782012"/>
                </a:cubicBezTo>
                <a:cubicBezTo>
                  <a:pt x="1190465" y="780473"/>
                  <a:pt x="1165834" y="768158"/>
                  <a:pt x="1154545" y="763540"/>
                </a:cubicBezTo>
                <a:cubicBezTo>
                  <a:pt x="1143256" y="758922"/>
                  <a:pt x="1143256" y="754816"/>
                  <a:pt x="1136072" y="754303"/>
                </a:cubicBezTo>
                <a:cubicBezTo>
                  <a:pt x="1128888" y="753790"/>
                  <a:pt x="1122731" y="759948"/>
                  <a:pt x="1111442" y="760461"/>
                </a:cubicBezTo>
                <a:cubicBezTo>
                  <a:pt x="1100153" y="760974"/>
                  <a:pt x="1079628" y="758408"/>
                  <a:pt x="1068339" y="757382"/>
                </a:cubicBezTo>
                <a:cubicBezTo>
                  <a:pt x="1057050" y="756356"/>
                  <a:pt x="1050380" y="752764"/>
                  <a:pt x="1043709" y="754303"/>
                </a:cubicBezTo>
                <a:cubicBezTo>
                  <a:pt x="1037038" y="755842"/>
                  <a:pt x="1034473" y="763539"/>
                  <a:pt x="1028315" y="766618"/>
                </a:cubicBezTo>
                <a:cubicBezTo>
                  <a:pt x="1022157" y="769697"/>
                  <a:pt x="1015486" y="775342"/>
                  <a:pt x="1006763" y="772776"/>
                </a:cubicBezTo>
                <a:cubicBezTo>
                  <a:pt x="998040" y="770210"/>
                  <a:pt x="975975" y="751224"/>
                  <a:pt x="975975" y="751224"/>
                </a:cubicBezTo>
                <a:cubicBezTo>
                  <a:pt x="968791" y="744553"/>
                  <a:pt x="963660" y="732752"/>
                  <a:pt x="963660" y="732752"/>
                </a:cubicBezTo>
                <a:cubicBezTo>
                  <a:pt x="960068" y="729673"/>
                  <a:pt x="956990" y="730186"/>
                  <a:pt x="954424" y="732752"/>
                </a:cubicBezTo>
                <a:cubicBezTo>
                  <a:pt x="951858" y="735318"/>
                  <a:pt x="953397" y="742502"/>
                  <a:pt x="948266" y="748146"/>
                </a:cubicBezTo>
                <a:cubicBezTo>
                  <a:pt x="943135" y="753790"/>
                  <a:pt x="930307" y="762513"/>
                  <a:pt x="923636" y="766618"/>
                </a:cubicBezTo>
                <a:cubicBezTo>
                  <a:pt x="916965" y="770723"/>
                  <a:pt x="908242" y="772776"/>
                  <a:pt x="908242" y="772776"/>
                </a:cubicBezTo>
                <a:cubicBezTo>
                  <a:pt x="905676" y="771237"/>
                  <a:pt x="908755" y="764053"/>
                  <a:pt x="908242" y="757382"/>
                </a:cubicBezTo>
                <a:cubicBezTo>
                  <a:pt x="907729" y="750711"/>
                  <a:pt x="905163" y="732752"/>
                  <a:pt x="905163" y="732752"/>
                </a:cubicBezTo>
                <a:cubicBezTo>
                  <a:pt x="900545" y="726081"/>
                  <a:pt x="889256" y="720950"/>
                  <a:pt x="880533" y="717358"/>
                </a:cubicBezTo>
                <a:cubicBezTo>
                  <a:pt x="871810" y="713766"/>
                  <a:pt x="852824" y="711200"/>
                  <a:pt x="852824" y="711200"/>
                </a:cubicBezTo>
                <a:lnTo>
                  <a:pt x="803563" y="698885"/>
                </a:lnTo>
                <a:cubicBezTo>
                  <a:pt x="788169" y="694780"/>
                  <a:pt x="773801" y="691701"/>
                  <a:pt x="760460" y="686570"/>
                </a:cubicBezTo>
                <a:cubicBezTo>
                  <a:pt x="747119" y="681439"/>
                  <a:pt x="735317" y="675794"/>
                  <a:pt x="723515" y="668097"/>
                </a:cubicBezTo>
                <a:cubicBezTo>
                  <a:pt x="711713" y="660400"/>
                  <a:pt x="700424" y="647572"/>
                  <a:pt x="689648" y="640388"/>
                </a:cubicBezTo>
                <a:cubicBezTo>
                  <a:pt x="678872" y="633204"/>
                  <a:pt x="669123" y="627560"/>
                  <a:pt x="658860" y="624994"/>
                </a:cubicBezTo>
                <a:cubicBezTo>
                  <a:pt x="648597" y="622428"/>
                  <a:pt x="637308" y="625507"/>
                  <a:pt x="628072" y="624994"/>
                </a:cubicBezTo>
                <a:cubicBezTo>
                  <a:pt x="618836" y="624481"/>
                  <a:pt x="612165" y="626020"/>
                  <a:pt x="603442" y="621915"/>
                </a:cubicBezTo>
                <a:cubicBezTo>
                  <a:pt x="594719" y="617810"/>
                  <a:pt x="584456" y="605495"/>
                  <a:pt x="575733" y="600364"/>
                </a:cubicBezTo>
                <a:cubicBezTo>
                  <a:pt x="567010" y="595233"/>
                  <a:pt x="559826" y="593181"/>
                  <a:pt x="551103" y="591128"/>
                </a:cubicBezTo>
                <a:cubicBezTo>
                  <a:pt x="542380" y="589075"/>
                  <a:pt x="532117" y="587023"/>
                  <a:pt x="523394" y="588049"/>
                </a:cubicBezTo>
                <a:cubicBezTo>
                  <a:pt x="514671" y="589075"/>
                  <a:pt x="498763" y="597285"/>
                  <a:pt x="498763" y="597285"/>
                </a:cubicBezTo>
                <a:cubicBezTo>
                  <a:pt x="493118" y="598824"/>
                  <a:pt x="492093" y="600364"/>
                  <a:pt x="489527" y="597285"/>
                </a:cubicBezTo>
                <a:cubicBezTo>
                  <a:pt x="486961" y="594206"/>
                  <a:pt x="483369" y="578812"/>
                  <a:pt x="483369" y="578812"/>
                </a:cubicBezTo>
                <a:cubicBezTo>
                  <a:pt x="479264" y="566497"/>
                  <a:pt x="467976" y="535709"/>
                  <a:pt x="464897" y="523394"/>
                </a:cubicBezTo>
                <a:cubicBezTo>
                  <a:pt x="461818" y="511079"/>
                  <a:pt x="466949" y="515184"/>
                  <a:pt x="464897" y="504921"/>
                </a:cubicBezTo>
                <a:cubicBezTo>
                  <a:pt x="462845" y="494658"/>
                  <a:pt x="458740" y="479264"/>
                  <a:pt x="452582" y="461818"/>
                </a:cubicBezTo>
                <a:cubicBezTo>
                  <a:pt x="446424" y="444372"/>
                  <a:pt x="427951" y="400243"/>
                  <a:pt x="427951" y="400243"/>
                </a:cubicBezTo>
                <a:cubicBezTo>
                  <a:pt x="419741" y="379718"/>
                  <a:pt x="409992" y="356113"/>
                  <a:pt x="403321" y="338667"/>
                </a:cubicBezTo>
                <a:cubicBezTo>
                  <a:pt x="396650" y="321221"/>
                  <a:pt x="393571" y="309418"/>
                  <a:pt x="387927" y="295564"/>
                </a:cubicBezTo>
                <a:cubicBezTo>
                  <a:pt x="382282" y="281709"/>
                  <a:pt x="376638" y="268881"/>
                  <a:pt x="369454" y="255540"/>
                </a:cubicBezTo>
                <a:cubicBezTo>
                  <a:pt x="362270" y="242199"/>
                  <a:pt x="357139" y="227317"/>
                  <a:pt x="344824" y="215515"/>
                </a:cubicBezTo>
                <a:cubicBezTo>
                  <a:pt x="332509" y="203713"/>
                  <a:pt x="309417" y="193964"/>
                  <a:pt x="295563" y="184728"/>
                </a:cubicBezTo>
                <a:cubicBezTo>
                  <a:pt x="281708" y="175492"/>
                  <a:pt x="274525" y="168820"/>
                  <a:pt x="261697" y="160097"/>
                </a:cubicBezTo>
                <a:cubicBezTo>
                  <a:pt x="248869" y="151374"/>
                  <a:pt x="232962" y="141111"/>
                  <a:pt x="218594" y="132388"/>
                </a:cubicBezTo>
                <a:cubicBezTo>
                  <a:pt x="204226" y="123665"/>
                  <a:pt x="187806" y="112376"/>
                  <a:pt x="175491" y="107758"/>
                </a:cubicBezTo>
                <a:cubicBezTo>
                  <a:pt x="163176" y="103140"/>
                  <a:pt x="156505" y="105192"/>
                  <a:pt x="144703" y="104679"/>
                </a:cubicBezTo>
                <a:cubicBezTo>
                  <a:pt x="132901" y="104166"/>
                  <a:pt x="114942" y="106731"/>
                  <a:pt x="104679" y="104679"/>
                </a:cubicBezTo>
                <a:cubicBezTo>
                  <a:pt x="94416" y="102627"/>
                  <a:pt x="90824" y="99548"/>
                  <a:pt x="83127" y="92364"/>
                </a:cubicBezTo>
                <a:cubicBezTo>
                  <a:pt x="75430" y="85180"/>
                  <a:pt x="65681" y="70299"/>
                  <a:pt x="58497" y="61576"/>
                </a:cubicBezTo>
                <a:cubicBezTo>
                  <a:pt x="51313" y="52853"/>
                  <a:pt x="48234" y="48747"/>
                  <a:pt x="40024" y="40024"/>
                </a:cubicBezTo>
                <a:cubicBezTo>
                  <a:pt x="31814" y="31301"/>
                  <a:pt x="9236" y="9237"/>
                  <a:pt x="9236" y="9237"/>
                </a:cubicBezTo>
                <a:lnTo>
                  <a:pt x="0" y="0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 14"/>
          <p:cNvSpPr/>
          <p:nvPr/>
        </p:nvSpPr>
        <p:spPr>
          <a:xfrm>
            <a:off x="6213682" y="1588725"/>
            <a:ext cx="437783" cy="451905"/>
          </a:xfrm>
          <a:custGeom>
            <a:avLst/>
            <a:gdLst>
              <a:gd name="connsiteX0" fmla="*/ 0 w 437783"/>
              <a:gd name="connsiteY0" fmla="*/ 0 h 451905"/>
              <a:gd name="connsiteX1" fmla="*/ 42366 w 437783"/>
              <a:gd name="connsiteY1" fmla="*/ 52958 h 451905"/>
              <a:gd name="connsiteX2" fmla="*/ 56488 w 437783"/>
              <a:gd name="connsiteY2" fmla="*/ 70610 h 451905"/>
              <a:gd name="connsiteX3" fmla="*/ 74141 w 437783"/>
              <a:gd name="connsiteY3" fmla="*/ 77671 h 451905"/>
              <a:gd name="connsiteX4" fmla="*/ 88263 w 437783"/>
              <a:gd name="connsiteY4" fmla="*/ 81202 h 451905"/>
              <a:gd name="connsiteX5" fmla="*/ 102385 w 437783"/>
              <a:gd name="connsiteY5" fmla="*/ 102385 h 451905"/>
              <a:gd name="connsiteX6" fmla="*/ 127098 w 437783"/>
              <a:gd name="connsiteY6" fmla="*/ 127098 h 451905"/>
              <a:gd name="connsiteX7" fmla="*/ 144751 w 437783"/>
              <a:gd name="connsiteY7" fmla="*/ 151812 h 451905"/>
              <a:gd name="connsiteX8" fmla="*/ 165934 w 437783"/>
              <a:gd name="connsiteY8" fmla="*/ 172995 h 451905"/>
              <a:gd name="connsiteX9" fmla="*/ 180056 w 437783"/>
              <a:gd name="connsiteY9" fmla="*/ 190647 h 451905"/>
              <a:gd name="connsiteX10" fmla="*/ 197709 w 437783"/>
              <a:gd name="connsiteY10" fmla="*/ 197708 h 451905"/>
              <a:gd name="connsiteX11" fmla="*/ 215361 w 437783"/>
              <a:gd name="connsiteY11" fmla="*/ 208300 h 451905"/>
              <a:gd name="connsiteX12" fmla="*/ 236544 w 437783"/>
              <a:gd name="connsiteY12" fmla="*/ 211830 h 451905"/>
              <a:gd name="connsiteX13" fmla="*/ 275380 w 437783"/>
              <a:gd name="connsiteY13" fmla="*/ 218891 h 451905"/>
              <a:gd name="connsiteX14" fmla="*/ 307154 w 437783"/>
              <a:gd name="connsiteY14" fmla="*/ 236544 h 451905"/>
              <a:gd name="connsiteX15" fmla="*/ 349520 w 437783"/>
              <a:gd name="connsiteY15" fmla="*/ 264788 h 451905"/>
              <a:gd name="connsiteX16" fmla="*/ 374234 w 437783"/>
              <a:gd name="connsiteY16" fmla="*/ 307154 h 451905"/>
              <a:gd name="connsiteX17" fmla="*/ 388356 w 437783"/>
              <a:gd name="connsiteY17" fmla="*/ 335398 h 451905"/>
              <a:gd name="connsiteX18" fmla="*/ 416600 w 437783"/>
              <a:gd name="connsiteY18" fmla="*/ 370703 h 451905"/>
              <a:gd name="connsiteX19" fmla="*/ 434252 w 437783"/>
              <a:gd name="connsiteY19" fmla="*/ 427191 h 451905"/>
              <a:gd name="connsiteX20" fmla="*/ 437783 w 437783"/>
              <a:gd name="connsiteY20" fmla="*/ 451905 h 451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7783" h="451905">
                <a:moveTo>
                  <a:pt x="0" y="0"/>
                </a:moveTo>
                <a:lnTo>
                  <a:pt x="42366" y="52958"/>
                </a:lnTo>
                <a:cubicBezTo>
                  <a:pt x="51781" y="64726"/>
                  <a:pt x="51192" y="66491"/>
                  <a:pt x="56488" y="70610"/>
                </a:cubicBezTo>
                <a:cubicBezTo>
                  <a:pt x="61784" y="74729"/>
                  <a:pt x="74141" y="77671"/>
                  <a:pt x="74141" y="77671"/>
                </a:cubicBezTo>
                <a:cubicBezTo>
                  <a:pt x="79437" y="79436"/>
                  <a:pt x="83556" y="77083"/>
                  <a:pt x="88263" y="81202"/>
                </a:cubicBezTo>
                <a:cubicBezTo>
                  <a:pt x="92970" y="85321"/>
                  <a:pt x="95913" y="94736"/>
                  <a:pt x="102385" y="102385"/>
                </a:cubicBezTo>
                <a:cubicBezTo>
                  <a:pt x="108857" y="110034"/>
                  <a:pt x="120037" y="118860"/>
                  <a:pt x="127098" y="127098"/>
                </a:cubicBezTo>
                <a:cubicBezTo>
                  <a:pt x="134159" y="135336"/>
                  <a:pt x="138278" y="144163"/>
                  <a:pt x="144751" y="151812"/>
                </a:cubicBezTo>
                <a:cubicBezTo>
                  <a:pt x="151224" y="159461"/>
                  <a:pt x="160050" y="166523"/>
                  <a:pt x="165934" y="172995"/>
                </a:cubicBezTo>
                <a:cubicBezTo>
                  <a:pt x="171818" y="179467"/>
                  <a:pt x="180056" y="190647"/>
                  <a:pt x="180056" y="190647"/>
                </a:cubicBezTo>
                <a:cubicBezTo>
                  <a:pt x="185352" y="194766"/>
                  <a:pt x="191825" y="194766"/>
                  <a:pt x="197709" y="197708"/>
                </a:cubicBezTo>
                <a:cubicBezTo>
                  <a:pt x="203593" y="200650"/>
                  <a:pt x="208889" y="205946"/>
                  <a:pt x="215361" y="208300"/>
                </a:cubicBezTo>
                <a:cubicBezTo>
                  <a:pt x="221833" y="210654"/>
                  <a:pt x="236544" y="211830"/>
                  <a:pt x="236544" y="211830"/>
                </a:cubicBezTo>
                <a:cubicBezTo>
                  <a:pt x="246547" y="213595"/>
                  <a:pt x="263612" y="214772"/>
                  <a:pt x="275380" y="218891"/>
                </a:cubicBezTo>
                <a:cubicBezTo>
                  <a:pt x="287148" y="223010"/>
                  <a:pt x="294797" y="228895"/>
                  <a:pt x="307154" y="236544"/>
                </a:cubicBezTo>
                <a:cubicBezTo>
                  <a:pt x="319511" y="244194"/>
                  <a:pt x="338340" y="253020"/>
                  <a:pt x="349520" y="264788"/>
                </a:cubicBezTo>
                <a:cubicBezTo>
                  <a:pt x="360700" y="276556"/>
                  <a:pt x="367761" y="295386"/>
                  <a:pt x="374234" y="307154"/>
                </a:cubicBezTo>
                <a:cubicBezTo>
                  <a:pt x="380707" y="318922"/>
                  <a:pt x="381295" y="324807"/>
                  <a:pt x="388356" y="335398"/>
                </a:cubicBezTo>
                <a:cubicBezTo>
                  <a:pt x="395417" y="345989"/>
                  <a:pt x="408951" y="355404"/>
                  <a:pt x="416600" y="370703"/>
                </a:cubicBezTo>
                <a:cubicBezTo>
                  <a:pt x="424249" y="386002"/>
                  <a:pt x="430722" y="413657"/>
                  <a:pt x="434252" y="427191"/>
                </a:cubicBezTo>
                <a:cubicBezTo>
                  <a:pt x="437782" y="440725"/>
                  <a:pt x="437782" y="446315"/>
                  <a:pt x="437783" y="451905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олилиния 35"/>
          <p:cNvSpPr/>
          <p:nvPr/>
        </p:nvSpPr>
        <p:spPr>
          <a:xfrm>
            <a:off x="6210737" y="1585775"/>
            <a:ext cx="437783" cy="451905"/>
          </a:xfrm>
          <a:custGeom>
            <a:avLst/>
            <a:gdLst>
              <a:gd name="connsiteX0" fmla="*/ 0 w 437783"/>
              <a:gd name="connsiteY0" fmla="*/ 0 h 451905"/>
              <a:gd name="connsiteX1" fmla="*/ 42366 w 437783"/>
              <a:gd name="connsiteY1" fmla="*/ 52958 h 451905"/>
              <a:gd name="connsiteX2" fmla="*/ 56488 w 437783"/>
              <a:gd name="connsiteY2" fmla="*/ 70610 h 451905"/>
              <a:gd name="connsiteX3" fmla="*/ 74141 w 437783"/>
              <a:gd name="connsiteY3" fmla="*/ 77671 h 451905"/>
              <a:gd name="connsiteX4" fmla="*/ 88263 w 437783"/>
              <a:gd name="connsiteY4" fmla="*/ 81202 h 451905"/>
              <a:gd name="connsiteX5" fmla="*/ 102385 w 437783"/>
              <a:gd name="connsiteY5" fmla="*/ 102385 h 451905"/>
              <a:gd name="connsiteX6" fmla="*/ 127098 w 437783"/>
              <a:gd name="connsiteY6" fmla="*/ 127098 h 451905"/>
              <a:gd name="connsiteX7" fmla="*/ 144751 w 437783"/>
              <a:gd name="connsiteY7" fmla="*/ 151812 h 451905"/>
              <a:gd name="connsiteX8" fmla="*/ 165934 w 437783"/>
              <a:gd name="connsiteY8" fmla="*/ 172995 h 451905"/>
              <a:gd name="connsiteX9" fmla="*/ 180056 w 437783"/>
              <a:gd name="connsiteY9" fmla="*/ 190647 h 451905"/>
              <a:gd name="connsiteX10" fmla="*/ 197709 w 437783"/>
              <a:gd name="connsiteY10" fmla="*/ 197708 h 451905"/>
              <a:gd name="connsiteX11" fmla="*/ 215361 w 437783"/>
              <a:gd name="connsiteY11" fmla="*/ 208300 h 451905"/>
              <a:gd name="connsiteX12" fmla="*/ 236544 w 437783"/>
              <a:gd name="connsiteY12" fmla="*/ 211830 h 451905"/>
              <a:gd name="connsiteX13" fmla="*/ 275380 w 437783"/>
              <a:gd name="connsiteY13" fmla="*/ 218891 h 451905"/>
              <a:gd name="connsiteX14" fmla="*/ 307154 w 437783"/>
              <a:gd name="connsiteY14" fmla="*/ 236544 h 451905"/>
              <a:gd name="connsiteX15" fmla="*/ 349520 w 437783"/>
              <a:gd name="connsiteY15" fmla="*/ 264788 h 451905"/>
              <a:gd name="connsiteX16" fmla="*/ 374234 w 437783"/>
              <a:gd name="connsiteY16" fmla="*/ 307154 h 451905"/>
              <a:gd name="connsiteX17" fmla="*/ 388356 w 437783"/>
              <a:gd name="connsiteY17" fmla="*/ 335398 h 451905"/>
              <a:gd name="connsiteX18" fmla="*/ 416600 w 437783"/>
              <a:gd name="connsiteY18" fmla="*/ 370703 h 451905"/>
              <a:gd name="connsiteX19" fmla="*/ 434252 w 437783"/>
              <a:gd name="connsiteY19" fmla="*/ 427191 h 451905"/>
              <a:gd name="connsiteX20" fmla="*/ 437783 w 437783"/>
              <a:gd name="connsiteY20" fmla="*/ 451905 h 451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7783" h="451905">
                <a:moveTo>
                  <a:pt x="0" y="0"/>
                </a:moveTo>
                <a:lnTo>
                  <a:pt x="42366" y="52958"/>
                </a:lnTo>
                <a:cubicBezTo>
                  <a:pt x="51781" y="64726"/>
                  <a:pt x="51192" y="66491"/>
                  <a:pt x="56488" y="70610"/>
                </a:cubicBezTo>
                <a:cubicBezTo>
                  <a:pt x="61784" y="74729"/>
                  <a:pt x="74141" y="77671"/>
                  <a:pt x="74141" y="77671"/>
                </a:cubicBezTo>
                <a:cubicBezTo>
                  <a:pt x="79437" y="79436"/>
                  <a:pt x="83556" y="77083"/>
                  <a:pt x="88263" y="81202"/>
                </a:cubicBezTo>
                <a:cubicBezTo>
                  <a:pt x="92970" y="85321"/>
                  <a:pt x="95913" y="94736"/>
                  <a:pt x="102385" y="102385"/>
                </a:cubicBezTo>
                <a:cubicBezTo>
                  <a:pt x="108857" y="110034"/>
                  <a:pt x="120037" y="118860"/>
                  <a:pt x="127098" y="127098"/>
                </a:cubicBezTo>
                <a:cubicBezTo>
                  <a:pt x="134159" y="135336"/>
                  <a:pt x="138278" y="144163"/>
                  <a:pt x="144751" y="151812"/>
                </a:cubicBezTo>
                <a:cubicBezTo>
                  <a:pt x="151224" y="159461"/>
                  <a:pt x="160050" y="166523"/>
                  <a:pt x="165934" y="172995"/>
                </a:cubicBezTo>
                <a:cubicBezTo>
                  <a:pt x="171818" y="179467"/>
                  <a:pt x="180056" y="190647"/>
                  <a:pt x="180056" y="190647"/>
                </a:cubicBezTo>
                <a:cubicBezTo>
                  <a:pt x="185352" y="194766"/>
                  <a:pt x="191825" y="194766"/>
                  <a:pt x="197709" y="197708"/>
                </a:cubicBezTo>
                <a:cubicBezTo>
                  <a:pt x="203593" y="200650"/>
                  <a:pt x="208889" y="205946"/>
                  <a:pt x="215361" y="208300"/>
                </a:cubicBezTo>
                <a:cubicBezTo>
                  <a:pt x="221833" y="210654"/>
                  <a:pt x="236544" y="211830"/>
                  <a:pt x="236544" y="211830"/>
                </a:cubicBezTo>
                <a:cubicBezTo>
                  <a:pt x="246547" y="213595"/>
                  <a:pt x="263612" y="214772"/>
                  <a:pt x="275380" y="218891"/>
                </a:cubicBezTo>
                <a:cubicBezTo>
                  <a:pt x="287148" y="223010"/>
                  <a:pt x="294797" y="228895"/>
                  <a:pt x="307154" y="236544"/>
                </a:cubicBezTo>
                <a:cubicBezTo>
                  <a:pt x="319511" y="244194"/>
                  <a:pt x="338340" y="253020"/>
                  <a:pt x="349520" y="264788"/>
                </a:cubicBezTo>
                <a:cubicBezTo>
                  <a:pt x="360700" y="276556"/>
                  <a:pt x="367761" y="295386"/>
                  <a:pt x="374234" y="307154"/>
                </a:cubicBezTo>
                <a:cubicBezTo>
                  <a:pt x="380707" y="318922"/>
                  <a:pt x="381295" y="324807"/>
                  <a:pt x="388356" y="335398"/>
                </a:cubicBezTo>
                <a:cubicBezTo>
                  <a:pt x="395417" y="345989"/>
                  <a:pt x="408951" y="355404"/>
                  <a:pt x="416600" y="370703"/>
                </a:cubicBezTo>
                <a:cubicBezTo>
                  <a:pt x="424249" y="386002"/>
                  <a:pt x="430722" y="413657"/>
                  <a:pt x="434252" y="427191"/>
                </a:cubicBezTo>
                <a:cubicBezTo>
                  <a:pt x="437782" y="440725"/>
                  <a:pt x="437782" y="446315"/>
                  <a:pt x="437783" y="45190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олилиния 31"/>
          <p:cNvSpPr/>
          <p:nvPr/>
        </p:nvSpPr>
        <p:spPr>
          <a:xfrm>
            <a:off x="5038026" y="1316877"/>
            <a:ext cx="81202" cy="547228"/>
          </a:xfrm>
          <a:custGeom>
            <a:avLst/>
            <a:gdLst>
              <a:gd name="connsiteX0" fmla="*/ 0 w 81202"/>
              <a:gd name="connsiteY0" fmla="*/ 0 h 547228"/>
              <a:gd name="connsiteX1" fmla="*/ 7061 w 81202"/>
              <a:gd name="connsiteY1" fmla="*/ 84732 h 547228"/>
              <a:gd name="connsiteX2" fmla="*/ 21183 w 81202"/>
              <a:gd name="connsiteY2" fmla="*/ 112976 h 547228"/>
              <a:gd name="connsiteX3" fmla="*/ 28244 w 81202"/>
              <a:gd name="connsiteY3" fmla="*/ 134159 h 547228"/>
              <a:gd name="connsiteX4" fmla="*/ 35305 w 81202"/>
              <a:gd name="connsiteY4" fmla="*/ 155342 h 547228"/>
              <a:gd name="connsiteX5" fmla="*/ 21183 w 81202"/>
              <a:gd name="connsiteY5" fmla="*/ 194178 h 547228"/>
              <a:gd name="connsiteX6" fmla="*/ 10592 w 81202"/>
              <a:gd name="connsiteY6" fmla="*/ 233013 h 547228"/>
              <a:gd name="connsiteX7" fmla="*/ 10592 w 81202"/>
              <a:gd name="connsiteY7" fmla="*/ 275379 h 547228"/>
              <a:gd name="connsiteX8" fmla="*/ 17653 w 81202"/>
              <a:gd name="connsiteY8" fmla="*/ 307154 h 547228"/>
              <a:gd name="connsiteX9" fmla="*/ 24714 w 81202"/>
              <a:gd name="connsiteY9" fmla="*/ 321276 h 547228"/>
              <a:gd name="connsiteX10" fmla="*/ 35305 w 81202"/>
              <a:gd name="connsiteY10" fmla="*/ 335398 h 547228"/>
              <a:gd name="connsiteX11" fmla="*/ 52958 w 81202"/>
              <a:gd name="connsiteY11" fmla="*/ 356581 h 547228"/>
              <a:gd name="connsiteX12" fmla="*/ 74141 w 81202"/>
              <a:gd name="connsiteY12" fmla="*/ 391886 h 547228"/>
              <a:gd name="connsiteX13" fmla="*/ 81202 w 81202"/>
              <a:gd name="connsiteY13" fmla="*/ 444843 h 547228"/>
              <a:gd name="connsiteX14" fmla="*/ 74141 w 81202"/>
              <a:gd name="connsiteY14" fmla="*/ 480148 h 547228"/>
              <a:gd name="connsiteX15" fmla="*/ 70610 w 81202"/>
              <a:gd name="connsiteY15" fmla="*/ 529576 h 547228"/>
              <a:gd name="connsiteX16" fmla="*/ 63549 w 81202"/>
              <a:gd name="connsiteY16" fmla="*/ 547228 h 547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1202" h="547228">
                <a:moveTo>
                  <a:pt x="0" y="0"/>
                </a:moveTo>
                <a:cubicBezTo>
                  <a:pt x="1765" y="32951"/>
                  <a:pt x="3531" y="65903"/>
                  <a:pt x="7061" y="84732"/>
                </a:cubicBezTo>
                <a:cubicBezTo>
                  <a:pt x="10591" y="103561"/>
                  <a:pt x="21183" y="112976"/>
                  <a:pt x="21183" y="112976"/>
                </a:cubicBezTo>
                <a:cubicBezTo>
                  <a:pt x="24713" y="121214"/>
                  <a:pt x="28244" y="134159"/>
                  <a:pt x="28244" y="134159"/>
                </a:cubicBezTo>
                <a:cubicBezTo>
                  <a:pt x="30598" y="141220"/>
                  <a:pt x="36482" y="145339"/>
                  <a:pt x="35305" y="155342"/>
                </a:cubicBezTo>
                <a:cubicBezTo>
                  <a:pt x="34128" y="165345"/>
                  <a:pt x="25302" y="181233"/>
                  <a:pt x="21183" y="194178"/>
                </a:cubicBezTo>
                <a:cubicBezTo>
                  <a:pt x="17064" y="207123"/>
                  <a:pt x="12357" y="219479"/>
                  <a:pt x="10592" y="233013"/>
                </a:cubicBezTo>
                <a:cubicBezTo>
                  <a:pt x="8827" y="246547"/>
                  <a:pt x="9415" y="263022"/>
                  <a:pt x="10592" y="275379"/>
                </a:cubicBezTo>
                <a:cubicBezTo>
                  <a:pt x="11769" y="287736"/>
                  <a:pt x="17653" y="307154"/>
                  <a:pt x="17653" y="307154"/>
                </a:cubicBezTo>
                <a:cubicBezTo>
                  <a:pt x="20007" y="314804"/>
                  <a:pt x="24714" y="321276"/>
                  <a:pt x="24714" y="321276"/>
                </a:cubicBezTo>
                <a:cubicBezTo>
                  <a:pt x="27656" y="325983"/>
                  <a:pt x="30598" y="329514"/>
                  <a:pt x="35305" y="335398"/>
                </a:cubicBezTo>
                <a:cubicBezTo>
                  <a:pt x="40012" y="341282"/>
                  <a:pt x="46485" y="347166"/>
                  <a:pt x="52958" y="356581"/>
                </a:cubicBezTo>
                <a:cubicBezTo>
                  <a:pt x="59431" y="365996"/>
                  <a:pt x="69434" y="377176"/>
                  <a:pt x="74141" y="391886"/>
                </a:cubicBezTo>
                <a:cubicBezTo>
                  <a:pt x="78848" y="406596"/>
                  <a:pt x="81202" y="430133"/>
                  <a:pt x="81202" y="444843"/>
                </a:cubicBezTo>
                <a:cubicBezTo>
                  <a:pt x="81202" y="459553"/>
                  <a:pt x="75906" y="466026"/>
                  <a:pt x="74141" y="480148"/>
                </a:cubicBezTo>
                <a:cubicBezTo>
                  <a:pt x="72376" y="494270"/>
                  <a:pt x="72375" y="518396"/>
                  <a:pt x="70610" y="529576"/>
                </a:cubicBezTo>
                <a:cubicBezTo>
                  <a:pt x="68845" y="540756"/>
                  <a:pt x="66197" y="543992"/>
                  <a:pt x="63549" y="547228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олилиния 38"/>
          <p:cNvSpPr/>
          <p:nvPr/>
        </p:nvSpPr>
        <p:spPr>
          <a:xfrm>
            <a:off x="5035089" y="1306869"/>
            <a:ext cx="81202" cy="547228"/>
          </a:xfrm>
          <a:custGeom>
            <a:avLst/>
            <a:gdLst>
              <a:gd name="connsiteX0" fmla="*/ 0 w 81202"/>
              <a:gd name="connsiteY0" fmla="*/ 0 h 547228"/>
              <a:gd name="connsiteX1" fmla="*/ 7061 w 81202"/>
              <a:gd name="connsiteY1" fmla="*/ 84732 h 547228"/>
              <a:gd name="connsiteX2" fmla="*/ 21183 w 81202"/>
              <a:gd name="connsiteY2" fmla="*/ 112976 h 547228"/>
              <a:gd name="connsiteX3" fmla="*/ 28244 w 81202"/>
              <a:gd name="connsiteY3" fmla="*/ 134159 h 547228"/>
              <a:gd name="connsiteX4" fmla="*/ 35305 w 81202"/>
              <a:gd name="connsiteY4" fmla="*/ 155342 h 547228"/>
              <a:gd name="connsiteX5" fmla="*/ 21183 w 81202"/>
              <a:gd name="connsiteY5" fmla="*/ 194178 h 547228"/>
              <a:gd name="connsiteX6" fmla="*/ 10592 w 81202"/>
              <a:gd name="connsiteY6" fmla="*/ 233013 h 547228"/>
              <a:gd name="connsiteX7" fmla="*/ 10592 w 81202"/>
              <a:gd name="connsiteY7" fmla="*/ 275379 h 547228"/>
              <a:gd name="connsiteX8" fmla="*/ 17653 w 81202"/>
              <a:gd name="connsiteY8" fmla="*/ 307154 h 547228"/>
              <a:gd name="connsiteX9" fmla="*/ 24714 w 81202"/>
              <a:gd name="connsiteY9" fmla="*/ 321276 h 547228"/>
              <a:gd name="connsiteX10" fmla="*/ 35305 w 81202"/>
              <a:gd name="connsiteY10" fmla="*/ 335398 h 547228"/>
              <a:gd name="connsiteX11" fmla="*/ 52958 w 81202"/>
              <a:gd name="connsiteY11" fmla="*/ 356581 h 547228"/>
              <a:gd name="connsiteX12" fmla="*/ 74141 w 81202"/>
              <a:gd name="connsiteY12" fmla="*/ 391886 h 547228"/>
              <a:gd name="connsiteX13" fmla="*/ 81202 w 81202"/>
              <a:gd name="connsiteY13" fmla="*/ 444843 h 547228"/>
              <a:gd name="connsiteX14" fmla="*/ 74141 w 81202"/>
              <a:gd name="connsiteY14" fmla="*/ 480148 h 547228"/>
              <a:gd name="connsiteX15" fmla="*/ 70610 w 81202"/>
              <a:gd name="connsiteY15" fmla="*/ 529576 h 547228"/>
              <a:gd name="connsiteX16" fmla="*/ 63549 w 81202"/>
              <a:gd name="connsiteY16" fmla="*/ 547228 h 547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1202" h="547228">
                <a:moveTo>
                  <a:pt x="0" y="0"/>
                </a:moveTo>
                <a:cubicBezTo>
                  <a:pt x="1765" y="32951"/>
                  <a:pt x="3531" y="65903"/>
                  <a:pt x="7061" y="84732"/>
                </a:cubicBezTo>
                <a:cubicBezTo>
                  <a:pt x="10591" y="103561"/>
                  <a:pt x="21183" y="112976"/>
                  <a:pt x="21183" y="112976"/>
                </a:cubicBezTo>
                <a:cubicBezTo>
                  <a:pt x="24713" y="121214"/>
                  <a:pt x="28244" y="134159"/>
                  <a:pt x="28244" y="134159"/>
                </a:cubicBezTo>
                <a:cubicBezTo>
                  <a:pt x="30598" y="141220"/>
                  <a:pt x="36482" y="145339"/>
                  <a:pt x="35305" y="155342"/>
                </a:cubicBezTo>
                <a:cubicBezTo>
                  <a:pt x="34128" y="165345"/>
                  <a:pt x="25302" y="181233"/>
                  <a:pt x="21183" y="194178"/>
                </a:cubicBezTo>
                <a:cubicBezTo>
                  <a:pt x="17064" y="207123"/>
                  <a:pt x="12357" y="219479"/>
                  <a:pt x="10592" y="233013"/>
                </a:cubicBezTo>
                <a:cubicBezTo>
                  <a:pt x="8827" y="246547"/>
                  <a:pt x="9415" y="263022"/>
                  <a:pt x="10592" y="275379"/>
                </a:cubicBezTo>
                <a:cubicBezTo>
                  <a:pt x="11769" y="287736"/>
                  <a:pt x="17653" y="307154"/>
                  <a:pt x="17653" y="307154"/>
                </a:cubicBezTo>
                <a:cubicBezTo>
                  <a:pt x="20007" y="314804"/>
                  <a:pt x="24714" y="321276"/>
                  <a:pt x="24714" y="321276"/>
                </a:cubicBezTo>
                <a:cubicBezTo>
                  <a:pt x="27656" y="325983"/>
                  <a:pt x="30598" y="329514"/>
                  <a:pt x="35305" y="335398"/>
                </a:cubicBezTo>
                <a:cubicBezTo>
                  <a:pt x="40012" y="341282"/>
                  <a:pt x="46485" y="347166"/>
                  <a:pt x="52958" y="356581"/>
                </a:cubicBezTo>
                <a:cubicBezTo>
                  <a:pt x="59431" y="365996"/>
                  <a:pt x="69434" y="377176"/>
                  <a:pt x="74141" y="391886"/>
                </a:cubicBezTo>
                <a:cubicBezTo>
                  <a:pt x="78848" y="406596"/>
                  <a:pt x="81202" y="430133"/>
                  <a:pt x="81202" y="444843"/>
                </a:cubicBezTo>
                <a:cubicBezTo>
                  <a:pt x="81202" y="459553"/>
                  <a:pt x="75906" y="466026"/>
                  <a:pt x="74141" y="480148"/>
                </a:cubicBezTo>
                <a:cubicBezTo>
                  <a:pt x="72376" y="494270"/>
                  <a:pt x="72375" y="518396"/>
                  <a:pt x="70610" y="529576"/>
                </a:cubicBezTo>
                <a:cubicBezTo>
                  <a:pt x="68845" y="540756"/>
                  <a:pt x="66197" y="543992"/>
                  <a:pt x="63549" y="547228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олилиния 53"/>
          <p:cNvSpPr/>
          <p:nvPr/>
        </p:nvSpPr>
        <p:spPr>
          <a:xfrm>
            <a:off x="972403" y="4735773"/>
            <a:ext cx="160361" cy="92123"/>
          </a:xfrm>
          <a:custGeom>
            <a:avLst/>
            <a:gdLst>
              <a:gd name="connsiteX0" fmla="*/ 0 w 160361"/>
              <a:gd name="connsiteY0" fmla="*/ 0 h 92123"/>
              <a:gd name="connsiteX1" fmla="*/ 61415 w 160361"/>
              <a:gd name="connsiteY1" fmla="*/ 47767 h 92123"/>
              <a:gd name="connsiteX2" fmla="*/ 102358 w 160361"/>
              <a:gd name="connsiteY2" fmla="*/ 58003 h 92123"/>
              <a:gd name="connsiteX3" fmla="*/ 129654 w 160361"/>
              <a:gd name="connsiteY3" fmla="*/ 71651 h 92123"/>
              <a:gd name="connsiteX4" fmla="*/ 153537 w 160361"/>
              <a:gd name="connsiteY4" fmla="*/ 81887 h 92123"/>
              <a:gd name="connsiteX5" fmla="*/ 160361 w 160361"/>
              <a:gd name="connsiteY5" fmla="*/ 92123 h 9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361" h="92123">
                <a:moveTo>
                  <a:pt x="0" y="0"/>
                </a:moveTo>
                <a:cubicBezTo>
                  <a:pt x="22177" y="19050"/>
                  <a:pt x="44355" y="38100"/>
                  <a:pt x="61415" y="47767"/>
                </a:cubicBezTo>
                <a:cubicBezTo>
                  <a:pt x="78475" y="57434"/>
                  <a:pt x="90985" y="54022"/>
                  <a:pt x="102358" y="58003"/>
                </a:cubicBezTo>
                <a:cubicBezTo>
                  <a:pt x="113731" y="61984"/>
                  <a:pt x="121124" y="67670"/>
                  <a:pt x="129654" y="71651"/>
                </a:cubicBezTo>
                <a:cubicBezTo>
                  <a:pt x="138184" y="75632"/>
                  <a:pt x="153537" y="81887"/>
                  <a:pt x="153537" y="81887"/>
                </a:cubicBezTo>
                <a:cubicBezTo>
                  <a:pt x="158655" y="85299"/>
                  <a:pt x="159508" y="88711"/>
                  <a:pt x="160361" y="92123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олилиния 54"/>
          <p:cNvSpPr/>
          <p:nvPr/>
        </p:nvSpPr>
        <p:spPr>
          <a:xfrm>
            <a:off x="971263" y="4734633"/>
            <a:ext cx="160361" cy="92123"/>
          </a:xfrm>
          <a:custGeom>
            <a:avLst/>
            <a:gdLst>
              <a:gd name="connsiteX0" fmla="*/ 0 w 160361"/>
              <a:gd name="connsiteY0" fmla="*/ 0 h 92123"/>
              <a:gd name="connsiteX1" fmla="*/ 61415 w 160361"/>
              <a:gd name="connsiteY1" fmla="*/ 47767 h 92123"/>
              <a:gd name="connsiteX2" fmla="*/ 102358 w 160361"/>
              <a:gd name="connsiteY2" fmla="*/ 58003 h 92123"/>
              <a:gd name="connsiteX3" fmla="*/ 129654 w 160361"/>
              <a:gd name="connsiteY3" fmla="*/ 71651 h 92123"/>
              <a:gd name="connsiteX4" fmla="*/ 153537 w 160361"/>
              <a:gd name="connsiteY4" fmla="*/ 81887 h 92123"/>
              <a:gd name="connsiteX5" fmla="*/ 160361 w 160361"/>
              <a:gd name="connsiteY5" fmla="*/ 92123 h 9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361" h="92123">
                <a:moveTo>
                  <a:pt x="0" y="0"/>
                </a:moveTo>
                <a:cubicBezTo>
                  <a:pt x="22177" y="19050"/>
                  <a:pt x="44355" y="38100"/>
                  <a:pt x="61415" y="47767"/>
                </a:cubicBezTo>
                <a:cubicBezTo>
                  <a:pt x="78475" y="57434"/>
                  <a:pt x="90985" y="54022"/>
                  <a:pt x="102358" y="58003"/>
                </a:cubicBezTo>
                <a:cubicBezTo>
                  <a:pt x="113731" y="61984"/>
                  <a:pt x="121124" y="67670"/>
                  <a:pt x="129654" y="71651"/>
                </a:cubicBezTo>
                <a:cubicBezTo>
                  <a:pt x="138184" y="75632"/>
                  <a:pt x="153537" y="81887"/>
                  <a:pt x="153537" y="81887"/>
                </a:cubicBezTo>
                <a:cubicBezTo>
                  <a:pt x="158655" y="85299"/>
                  <a:pt x="159508" y="88711"/>
                  <a:pt x="160361" y="92123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олилиния 57"/>
          <p:cNvSpPr/>
          <p:nvPr/>
        </p:nvSpPr>
        <p:spPr>
          <a:xfrm>
            <a:off x="3582537" y="1897039"/>
            <a:ext cx="371902" cy="191068"/>
          </a:xfrm>
          <a:custGeom>
            <a:avLst/>
            <a:gdLst>
              <a:gd name="connsiteX0" fmla="*/ 371902 w 371902"/>
              <a:gd name="connsiteY0" fmla="*/ 0 h 191068"/>
              <a:gd name="connsiteX1" fmla="*/ 300251 w 371902"/>
              <a:gd name="connsiteY1" fmla="*/ 30707 h 191068"/>
              <a:gd name="connsiteX2" fmla="*/ 255896 w 371902"/>
              <a:gd name="connsiteY2" fmla="*/ 34119 h 191068"/>
              <a:gd name="connsiteX3" fmla="*/ 232012 w 371902"/>
              <a:gd name="connsiteY3" fmla="*/ 47767 h 191068"/>
              <a:gd name="connsiteX4" fmla="*/ 191069 w 371902"/>
              <a:gd name="connsiteY4" fmla="*/ 92122 h 191068"/>
              <a:gd name="connsiteX5" fmla="*/ 163773 w 371902"/>
              <a:gd name="connsiteY5" fmla="*/ 136477 h 191068"/>
              <a:gd name="connsiteX6" fmla="*/ 133066 w 371902"/>
              <a:gd name="connsiteY6" fmla="*/ 167185 h 191068"/>
              <a:gd name="connsiteX7" fmla="*/ 98947 w 371902"/>
              <a:gd name="connsiteY7" fmla="*/ 170597 h 191068"/>
              <a:gd name="connsiteX8" fmla="*/ 58003 w 371902"/>
              <a:gd name="connsiteY8" fmla="*/ 180833 h 191068"/>
              <a:gd name="connsiteX9" fmla="*/ 10236 w 371902"/>
              <a:gd name="connsiteY9" fmla="*/ 184245 h 191068"/>
              <a:gd name="connsiteX10" fmla="*/ 0 w 371902"/>
              <a:gd name="connsiteY10" fmla="*/ 191068 h 191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1902" h="191068">
                <a:moveTo>
                  <a:pt x="371902" y="0"/>
                </a:moveTo>
                <a:cubicBezTo>
                  <a:pt x="345743" y="12510"/>
                  <a:pt x="319585" y="25021"/>
                  <a:pt x="300251" y="30707"/>
                </a:cubicBezTo>
                <a:cubicBezTo>
                  <a:pt x="280917" y="36393"/>
                  <a:pt x="267269" y="31276"/>
                  <a:pt x="255896" y="34119"/>
                </a:cubicBezTo>
                <a:cubicBezTo>
                  <a:pt x="244523" y="36962"/>
                  <a:pt x="242816" y="38100"/>
                  <a:pt x="232012" y="47767"/>
                </a:cubicBezTo>
                <a:cubicBezTo>
                  <a:pt x="221208" y="57434"/>
                  <a:pt x="202442" y="77337"/>
                  <a:pt x="191069" y="92122"/>
                </a:cubicBezTo>
                <a:cubicBezTo>
                  <a:pt x="179696" y="106907"/>
                  <a:pt x="173440" y="123966"/>
                  <a:pt x="163773" y="136477"/>
                </a:cubicBezTo>
                <a:cubicBezTo>
                  <a:pt x="154106" y="148988"/>
                  <a:pt x="143870" y="161498"/>
                  <a:pt x="133066" y="167185"/>
                </a:cubicBezTo>
                <a:cubicBezTo>
                  <a:pt x="122262" y="172872"/>
                  <a:pt x="111457" y="168322"/>
                  <a:pt x="98947" y="170597"/>
                </a:cubicBezTo>
                <a:cubicBezTo>
                  <a:pt x="86436" y="172872"/>
                  <a:pt x="72788" y="178558"/>
                  <a:pt x="58003" y="180833"/>
                </a:cubicBezTo>
                <a:cubicBezTo>
                  <a:pt x="43218" y="183108"/>
                  <a:pt x="10236" y="184245"/>
                  <a:pt x="10236" y="184245"/>
                </a:cubicBezTo>
                <a:cubicBezTo>
                  <a:pt x="569" y="185951"/>
                  <a:pt x="284" y="188509"/>
                  <a:pt x="0" y="191068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олилиния 58"/>
          <p:cNvSpPr/>
          <p:nvPr/>
        </p:nvSpPr>
        <p:spPr>
          <a:xfrm>
            <a:off x="3577985" y="1895899"/>
            <a:ext cx="371902" cy="191068"/>
          </a:xfrm>
          <a:custGeom>
            <a:avLst/>
            <a:gdLst>
              <a:gd name="connsiteX0" fmla="*/ 371902 w 371902"/>
              <a:gd name="connsiteY0" fmla="*/ 0 h 191068"/>
              <a:gd name="connsiteX1" fmla="*/ 300251 w 371902"/>
              <a:gd name="connsiteY1" fmla="*/ 30707 h 191068"/>
              <a:gd name="connsiteX2" fmla="*/ 255896 w 371902"/>
              <a:gd name="connsiteY2" fmla="*/ 34119 h 191068"/>
              <a:gd name="connsiteX3" fmla="*/ 232012 w 371902"/>
              <a:gd name="connsiteY3" fmla="*/ 47767 h 191068"/>
              <a:gd name="connsiteX4" fmla="*/ 191069 w 371902"/>
              <a:gd name="connsiteY4" fmla="*/ 92122 h 191068"/>
              <a:gd name="connsiteX5" fmla="*/ 163773 w 371902"/>
              <a:gd name="connsiteY5" fmla="*/ 136477 h 191068"/>
              <a:gd name="connsiteX6" fmla="*/ 133066 w 371902"/>
              <a:gd name="connsiteY6" fmla="*/ 167185 h 191068"/>
              <a:gd name="connsiteX7" fmla="*/ 98947 w 371902"/>
              <a:gd name="connsiteY7" fmla="*/ 170597 h 191068"/>
              <a:gd name="connsiteX8" fmla="*/ 58003 w 371902"/>
              <a:gd name="connsiteY8" fmla="*/ 180833 h 191068"/>
              <a:gd name="connsiteX9" fmla="*/ 10236 w 371902"/>
              <a:gd name="connsiteY9" fmla="*/ 184245 h 191068"/>
              <a:gd name="connsiteX10" fmla="*/ 0 w 371902"/>
              <a:gd name="connsiteY10" fmla="*/ 191068 h 191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1902" h="191068">
                <a:moveTo>
                  <a:pt x="371902" y="0"/>
                </a:moveTo>
                <a:cubicBezTo>
                  <a:pt x="345743" y="12510"/>
                  <a:pt x="319585" y="25021"/>
                  <a:pt x="300251" y="30707"/>
                </a:cubicBezTo>
                <a:cubicBezTo>
                  <a:pt x="280917" y="36393"/>
                  <a:pt x="267269" y="31276"/>
                  <a:pt x="255896" y="34119"/>
                </a:cubicBezTo>
                <a:cubicBezTo>
                  <a:pt x="244523" y="36962"/>
                  <a:pt x="242816" y="38100"/>
                  <a:pt x="232012" y="47767"/>
                </a:cubicBezTo>
                <a:cubicBezTo>
                  <a:pt x="221208" y="57434"/>
                  <a:pt x="202442" y="77337"/>
                  <a:pt x="191069" y="92122"/>
                </a:cubicBezTo>
                <a:cubicBezTo>
                  <a:pt x="179696" y="106907"/>
                  <a:pt x="173440" y="123966"/>
                  <a:pt x="163773" y="136477"/>
                </a:cubicBezTo>
                <a:cubicBezTo>
                  <a:pt x="154106" y="148988"/>
                  <a:pt x="143870" y="161498"/>
                  <a:pt x="133066" y="167185"/>
                </a:cubicBezTo>
                <a:cubicBezTo>
                  <a:pt x="122262" y="172872"/>
                  <a:pt x="111457" y="168322"/>
                  <a:pt x="98947" y="170597"/>
                </a:cubicBezTo>
                <a:cubicBezTo>
                  <a:pt x="86436" y="172872"/>
                  <a:pt x="72788" y="178558"/>
                  <a:pt x="58003" y="180833"/>
                </a:cubicBezTo>
                <a:cubicBezTo>
                  <a:pt x="43218" y="183108"/>
                  <a:pt x="10236" y="184245"/>
                  <a:pt x="10236" y="184245"/>
                </a:cubicBezTo>
                <a:cubicBezTo>
                  <a:pt x="569" y="185951"/>
                  <a:pt x="284" y="188509"/>
                  <a:pt x="0" y="191068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олилиния 64"/>
          <p:cNvSpPr/>
          <p:nvPr/>
        </p:nvSpPr>
        <p:spPr>
          <a:xfrm>
            <a:off x="7627583" y="2862144"/>
            <a:ext cx="247266" cy="1081585"/>
          </a:xfrm>
          <a:custGeom>
            <a:avLst/>
            <a:gdLst>
              <a:gd name="connsiteX0" fmla="*/ 192347 w 247266"/>
              <a:gd name="connsiteY0" fmla="*/ 0 h 1081585"/>
              <a:gd name="connsiteX1" fmla="*/ 117285 w 247266"/>
              <a:gd name="connsiteY1" fmla="*/ 58003 h 1081585"/>
              <a:gd name="connsiteX2" fmla="*/ 89989 w 247266"/>
              <a:gd name="connsiteY2" fmla="*/ 85299 h 1081585"/>
              <a:gd name="connsiteX3" fmla="*/ 72929 w 247266"/>
              <a:gd name="connsiteY3" fmla="*/ 129654 h 1081585"/>
              <a:gd name="connsiteX4" fmla="*/ 55870 w 247266"/>
              <a:gd name="connsiteY4" fmla="*/ 146714 h 1081585"/>
              <a:gd name="connsiteX5" fmla="*/ 42222 w 247266"/>
              <a:gd name="connsiteY5" fmla="*/ 187657 h 1081585"/>
              <a:gd name="connsiteX6" fmla="*/ 52458 w 247266"/>
              <a:gd name="connsiteY6" fmla="*/ 232012 h 1081585"/>
              <a:gd name="connsiteX7" fmla="*/ 55870 w 247266"/>
              <a:gd name="connsiteY7" fmla="*/ 266132 h 1081585"/>
              <a:gd name="connsiteX8" fmla="*/ 42222 w 247266"/>
              <a:gd name="connsiteY8" fmla="*/ 290015 h 1081585"/>
              <a:gd name="connsiteX9" fmla="*/ 21750 w 247266"/>
              <a:gd name="connsiteY9" fmla="*/ 303663 h 1081585"/>
              <a:gd name="connsiteX10" fmla="*/ 11514 w 247266"/>
              <a:gd name="connsiteY10" fmla="*/ 348018 h 1081585"/>
              <a:gd name="connsiteX11" fmla="*/ 1279 w 247266"/>
              <a:gd name="connsiteY11" fmla="*/ 392373 h 1081585"/>
              <a:gd name="connsiteX12" fmla="*/ 1279 w 247266"/>
              <a:gd name="connsiteY12" fmla="*/ 423081 h 1081585"/>
              <a:gd name="connsiteX13" fmla="*/ 11514 w 247266"/>
              <a:gd name="connsiteY13" fmla="*/ 450376 h 1081585"/>
              <a:gd name="connsiteX14" fmla="*/ 18338 w 247266"/>
              <a:gd name="connsiteY14" fmla="*/ 474260 h 1081585"/>
              <a:gd name="connsiteX15" fmla="*/ 18338 w 247266"/>
              <a:gd name="connsiteY15" fmla="*/ 511791 h 1081585"/>
              <a:gd name="connsiteX16" fmla="*/ 42222 w 247266"/>
              <a:gd name="connsiteY16" fmla="*/ 549323 h 1081585"/>
              <a:gd name="connsiteX17" fmla="*/ 79753 w 247266"/>
              <a:gd name="connsiteY17" fmla="*/ 586854 h 1081585"/>
              <a:gd name="connsiteX18" fmla="*/ 100225 w 247266"/>
              <a:gd name="connsiteY18" fmla="*/ 603914 h 1081585"/>
              <a:gd name="connsiteX19" fmla="*/ 107049 w 247266"/>
              <a:gd name="connsiteY19" fmla="*/ 648269 h 1081585"/>
              <a:gd name="connsiteX20" fmla="*/ 103637 w 247266"/>
              <a:gd name="connsiteY20" fmla="*/ 689212 h 1081585"/>
              <a:gd name="connsiteX21" fmla="*/ 124108 w 247266"/>
              <a:gd name="connsiteY21" fmla="*/ 736979 h 1081585"/>
              <a:gd name="connsiteX22" fmla="*/ 141168 w 247266"/>
              <a:gd name="connsiteY22" fmla="*/ 747215 h 1081585"/>
              <a:gd name="connsiteX23" fmla="*/ 141168 w 247266"/>
              <a:gd name="connsiteY23" fmla="*/ 781335 h 1081585"/>
              <a:gd name="connsiteX24" fmla="*/ 151404 w 247266"/>
              <a:gd name="connsiteY24" fmla="*/ 815454 h 1081585"/>
              <a:gd name="connsiteX25" fmla="*/ 154816 w 247266"/>
              <a:gd name="connsiteY25" fmla="*/ 852985 h 1081585"/>
              <a:gd name="connsiteX26" fmla="*/ 151404 w 247266"/>
              <a:gd name="connsiteY26" fmla="*/ 887105 h 1081585"/>
              <a:gd name="connsiteX27" fmla="*/ 151404 w 247266"/>
              <a:gd name="connsiteY27" fmla="*/ 948520 h 1081585"/>
              <a:gd name="connsiteX28" fmla="*/ 171876 w 247266"/>
              <a:gd name="connsiteY28" fmla="*/ 986051 h 1081585"/>
              <a:gd name="connsiteX29" fmla="*/ 226467 w 247266"/>
              <a:gd name="connsiteY29" fmla="*/ 1023582 h 1081585"/>
              <a:gd name="connsiteX30" fmla="*/ 243526 w 247266"/>
              <a:gd name="connsiteY30" fmla="*/ 1037230 h 1081585"/>
              <a:gd name="connsiteX31" fmla="*/ 246938 w 247266"/>
              <a:gd name="connsiteY31" fmla="*/ 1061114 h 1081585"/>
              <a:gd name="connsiteX32" fmla="*/ 246938 w 247266"/>
              <a:gd name="connsiteY32" fmla="*/ 1081585 h 1081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47266" h="1081585">
                <a:moveTo>
                  <a:pt x="192347" y="0"/>
                </a:moveTo>
                <a:cubicBezTo>
                  <a:pt x="163346" y="21893"/>
                  <a:pt x="134345" y="43787"/>
                  <a:pt x="117285" y="58003"/>
                </a:cubicBezTo>
                <a:cubicBezTo>
                  <a:pt x="100225" y="72219"/>
                  <a:pt x="97382" y="73357"/>
                  <a:pt x="89989" y="85299"/>
                </a:cubicBezTo>
                <a:cubicBezTo>
                  <a:pt x="82596" y="97241"/>
                  <a:pt x="78615" y="119418"/>
                  <a:pt x="72929" y="129654"/>
                </a:cubicBezTo>
                <a:cubicBezTo>
                  <a:pt x="67242" y="139890"/>
                  <a:pt x="60988" y="137047"/>
                  <a:pt x="55870" y="146714"/>
                </a:cubicBezTo>
                <a:cubicBezTo>
                  <a:pt x="50752" y="156381"/>
                  <a:pt x="42791" y="173441"/>
                  <a:pt x="42222" y="187657"/>
                </a:cubicBezTo>
                <a:cubicBezTo>
                  <a:pt x="41653" y="201873"/>
                  <a:pt x="50183" y="218933"/>
                  <a:pt x="52458" y="232012"/>
                </a:cubicBezTo>
                <a:cubicBezTo>
                  <a:pt x="54733" y="245091"/>
                  <a:pt x="57576" y="256465"/>
                  <a:pt x="55870" y="266132"/>
                </a:cubicBezTo>
                <a:cubicBezTo>
                  <a:pt x="54164" y="275799"/>
                  <a:pt x="47908" y="283760"/>
                  <a:pt x="42222" y="290015"/>
                </a:cubicBezTo>
                <a:cubicBezTo>
                  <a:pt x="36536" y="296270"/>
                  <a:pt x="26868" y="293996"/>
                  <a:pt x="21750" y="303663"/>
                </a:cubicBezTo>
                <a:cubicBezTo>
                  <a:pt x="16632" y="313330"/>
                  <a:pt x="11514" y="348018"/>
                  <a:pt x="11514" y="348018"/>
                </a:cubicBezTo>
                <a:cubicBezTo>
                  <a:pt x="8102" y="362803"/>
                  <a:pt x="2985" y="379863"/>
                  <a:pt x="1279" y="392373"/>
                </a:cubicBezTo>
                <a:cubicBezTo>
                  <a:pt x="-427" y="404884"/>
                  <a:pt x="-427" y="413414"/>
                  <a:pt x="1279" y="423081"/>
                </a:cubicBezTo>
                <a:cubicBezTo>
                  <a:pt x="2985" y="432748"/>
                  <a:pt x="8671" y="441846"/>
                  <a:pt x="11514" y="450376"/>
                </a:cubicBezTo>
                <a:cubicBezTo>
                  <a:pt x="14357" y="458906"/>
                  <a:pt x="17201" y="464024"/>
                  <a:pt x="18338" y="474260"/>
                </a:cubicBezTo>
                <a:cubicBezTo>
                  <a:pt x="19475" y="484496"/>
                  <a:pt x="14357" y="499281"/>
                  <a:pt x="18338" y="511791"/>
                </a:cubicBezTo>
                <a:cubicBezTo>
                  <a:pt x="22319" y="524301"/>
                  <a:pt x="31986" y="536812"/>
                  <a:pt x="42222" y="549323"/>
                </a:cubicBezTo>
                <a:cubicBezTo>
                  <a:pt x="52458" y="561834"/>
                  <a:pt x="70086" y="577756"/>
                  <a:pt x="79753" y="586854"/>
                </a:cubicBezTo>
                <a:cubicBezTo>
                  <a:pt x="89420" y="595952"/>
                  <a:pt x="95676" y="593678"/>
                  <a:pt x="100225" y="603914"/>
                </a:cubicBezTo>
                <a:cubicBezTo>
                  <a:pt x="104774" y="614150"/>
                  <a:pt x="106480" y="634053"/>
                  <a:pt x="107049" y="648269"/>
                </a:cubicBezTo>
                <a:cubicBezTo>
                  <a:pt x="107618" y="662485"/>
                  <a:pt x="100794" y="674427"/>
                  <a:pt x="103637" y="689212"/>
                </a:cubicBezTo>
                <a:cubicBezTo>
                  <a:pt x="106480" y="703997"/>
                  <a:pt x="117853" y="727312"/>
                  <a:pt x="124108" y="736979"/>
                </a:cubicBezTo>
                <a:cubicBezTo>
                  <a:pt x="130363" y="746646"/>
                  <a:pt x="138325" y="739822"/>
                  <a:pt x="141168" y="747215"/>
                </a:cubicBezTo>
                <a:cubicBezTo>
                  <a:pt x="144011" y="754608"/>
                  <a:pt x="139462" y="769962"/>
                  <a:pt x="141168" y="781335"/>
                </a:cubicBezTo>
                <a:cubicBezTo>
                  <a:pt x="142874" y="792708"/>
                  <a:pt x="149129" y="803512"/>
                  <a:pt x="151404" y="815454"/>
                </a:cubicBezTo>
                <a:cubicBezTo>
                  <a:pt x="153679" y="827396"/>
                  <a:pt x="154816" y="841043"/>
                  <a:pt x="154816" y="852985"/>
                </a:cubicBezTo>
                <a:cubicBezTo>
                  <a:pt x="154816" y="864927"/>
                  <a:pt x="151973" y="871183"/>
                  <a:pt x="151404" y="887105"/>
                </a:cubicBezTo>
                <a:cubicBezTo>
                  <a:pt x="150835" y="903027"/>
                  <a:pt x="147992" y="932029"/>
                  <a:pt x="151404" y="948520"/>
                </a:cubicBezTo>
                <a:cubicBezTo>
                  <a:pt x="154816" y="965011"/>
                  <a:pt x="159365" y="973541"/>
                  <a:pt x="171876" y="986051"/>
                </a:cubicBezTo>
                <a:cubicBezTo>
                  <a:pt x="184386" y="998561"/>
                  <a:pt x="214525" y="1015052"/>
                  <a:pt x="226467" y="1023582"/>
                </a:cubicBezTo>
                <a:cubicBezTo>
                  <a:pt x="238409" y="1032112"/>
                  <a:pt x="240114" y="1030975"/>
                  <a:pt x="243526" y="1037230"/>
                </a:cubicBezTo>
                <a:cubicBezTo>
                  <a:pt x="246938" y="1043485"/>
                  <a:pt x="246369" y="1053722"/>
                  <a:pt x="246938" y="1061114"/>
                </a:cubicBezTo>
                <a:cubicBezTo>
                  <a:pt x="247507" y="1068506"/>
                  <a:pt x="247222" y="1075045"/>
                  <a:pt x="246938" y="1081585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олилиния 65"/>
          <p:cNvSpPr/>
          <p:nvPr/>
        </p:nvSpPr>
        <p:spPr>
          <a:xfrm>
            <a:off x="7626680" y="2858066"/>
            <a:ext cx="247266" cy="1081585"/>
          </a:xfrm>
          <a:custGeom>
            <a:avLst/>
            <a:gdLst>
              <a:gd name="connsiteX0" fmla="*/ 192347 w 247266"/>
              <a:gd name="connsiteY0" fmla="*/ 0 h 1081585"/>
              <a:gd name="connsiteX1" fmla="*/ 117285 w 247266"/>
              <a:gd name="connsiteY1" fmla="*/ 58003 h 1081585"/>
              <a:gd name="connsiteX2" fmla="*/ 89989 w 247266"/>
              <a:gd name="connsiteY2" fmla="*/ 85299 h 1081585"/>
              <a:gd name="connsiteX3" fmla="*/ 72929 w 247266"/>
              <a:gd name="connsiteY3" fmla="*/ 129654 h 1081585"/>
              <a:gd name="connsiteX4" fmla="*/ 55870 w 247266"/>
              <a:gd name="connsiteY4" fmla="*/ 146714 h 1081585"/>
              <a:gd name="connsiteX5" fmla="*/ 42222 w 247266"/>
              <a:gd name="connsiteY5" fmla="*/ 187657 h 1081585"/>
              <a:gd name="connsiteX6" fmla="*/ 52458 w 247266"/>
              <a:gd name="connsiteY6" fmla="*/ 232012 h 1081585"/>
              <a:gd name="connsiteX7" fmla="*/ 55870 w 247266"/>
              <a:gd name="connsiteY7" fmla="*/ 266132 h 1081585"/>
              <a:gd name="connsiteX8" fmla="*/ 42222 w 247266"/>
              <a:gd name="connsiteY8" fmla="*/ 290015 h 1081585"/>
              <a:gd name="connsiteX9" fmla="*/ 21750 w 247266"/>
              <a:gd name="connsiteY9" fmla="*/ 303663 h 1081585"/>
              <a:gd name="connsiteX10" fmla="*/ 11514 w 247266"/>
              <a:gd name="connsiteY10" fmla="*/ 348018 h 1081585"/>
              <a:gd name="connsiteX11" fmla="*/ 1279 w 247266"/>
              <a:gd name="connsiteY11" fmla="*/ 392373 h 1081585"/>
              <a:gd name="connsiteX12" fmla="*/ 1279 w 247266"/>
              <a:gd name="connsiteY12" fmla="*/ 423081 h 1081585"/>
              <a:gd name="connsiteX13" fmla="*/ 11514 w 247266"/>
              <a:gd name="connsiteY13" fmla="*/ 450376 h 1081585"/>
              <a:gd name="connsiteX14" fmla="*/ 18338 w 247266"/>
              <a:gd name="connsiteY14" fmla="*/ 474260 h 1081585"/>
              <a:gd name="connsiteX15" fmla="*/ 18338 w 247266"/>
              <a:gd name="connsiteY15" fmla="*/ 511791 h 1081585"/>
              <a:gd name="connsiteX16" fmla="*/ 42222 w 247266"/>
              <a:gd name="connsiteY16" fmla="*/ 549323 h 1081585"/>
              <a:gd name="connsiteX17" fmla="*/ 79753 w 247266"/>
              <a:gd name="connsiteY17" fmla="*/ 586854 h 1081585"/>
              <a:gd name="connsiteX18" fmla="*/ 100225 w 247266"/>
              <a:gd name="connsiteY18" fmla="*/ 603914 h 1081585"/>
              <a:gd name="connsiteX19" fmla="*/ 107049 w 247266"/>
              <a:gd name="connsiteY19" fmla="*/ 648269 h 1081585"/>
              <a:gd name="connsiteX20" fmla="*/ 103637 w 247266"/>
              <a:gd name="connsiteY20" fmla="*/ 689212 h 1081585"/>
              <a:gd name="connsiteX21" fmla="*/ 124108 w 247266"/>
              <a:gd name="connsiteY21" fmla="*/ 736979 h 1081585"/>
              <a:gd name="connsiteX22" fmla="*/ 141168 w 247266"/>
              <a:gd name="connsiteY22" fmla="*/ 747215 h 1081585"/>
              <a:gd name="connsiteX23" fmla="*/ 141168 w 247266"/>
              <a:gd name="connsiteY23" fmla="*/ 781335 h 1081585"/>
              <a:gd name="connsiteX24" fmla="*/ 151404 w 247266"/>
              <a:gd name="connsiteY24" fmla="*/ 815454 h 1081585"/>
              <a:gd name="connsiteX25" fmla="*/ 154816 w 247266"/>
              <a:gd name="connsiteY25" fmla="*/ 852985 h 1081585"/>
              <a:gd name="connsiteX26" fmla="*/ 151404 w 247266"/>
              <a:gd name="connsiteY26" fmla="*/ 887105 h 1081585"/>
              <a:gd name="connsiteX27" fmla="*/ 151404 w 247266"/>
              <a:gd name="connsiteY27" fmla="*/ 948520 h 1081585"/>
              <a:gd name="connsiteX28" fmla="*/ 171876 w 247266"/>
              <a:gd name="connsiteY28" fmla="*/ 986051 h 1081585"/>
              <a:gd name="connsiteX29" fmla="*/ 226467 w 247266"/>
              <a:gd name="connsiteY29" fmla="*/ 1023582 h 1081585"/>
              <a:gd name="connsiteX30" fmla="*/ 243526 w 247266"/>
              <a:gd name="connsiteY30" fmla="*/ 1037230 h 1081585"/>
              <a:gd name="connsiteX31" fmla="*/ 246938 w 247266"/>
              <a:gd name="connsiteY31" fmla="*/ 1061114 h 1081585"/>
              <a:gd name="connsiteX32" fmla="*/ 246938 w 247266"/>
              <a:gd name="connsiteY32" fmla="*/ 1081585 h 1081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47266" h="1081585">
                <a:moveTo>
                  <a:pt x="192347" y="0"/>
                </a:moveTo>
                <a:cubicBezTo>
                  <a:pt x="163346" y="21893"/>
                  <a:pt x="134345" y="43787"/>
                  <a:pt x="117285" y="58003"/>
                </a:cubicBezTo>
                <a:cubicBezTo>
                  <a:pt x="100225" y="72219"/>
                  <a:pt x="97382" y="73357"/>
                  <a:pt x="89989" y="85299"/>
                </a:cubicBezTo>
                <a:cubicBezTo>
                  <a:pt x="82596" y="97241"/>
                  <a:pt x="78615" y="119418"/>
                  <a:pt x="72929" y="129654"/>
                </a:cubicBezTo>
                <a:cubicBezTo>
                  <a:pt x="67242" y="139890"/>
                  <a:pt x="60988" y="137047"/>
                  <a:pt x="55870" y="146714"/>
                </a:cubicBezTo>
                <a:cubicBezTo>
                  <a:pt x="50752" y="156381"/>
                  <a:pt x="42791" y="173441"/>
                  <a:pt x="42222" y="187657"/>
                </a:cubicBezTo>
                <a:cubicBezTo>
                  <a:pt x="41653" y="201873"/>
                  <a:pt x="50183" y="218933"/>
                  <a:pt x="52458" y="232012"/>
                </a:cubicBezTo>
                <a:cubicBezTo>
                  <a:pt x="54733" y="245091"/>
                  <a:pt x="57576" y="256465"/>
                  <a:pt x="55870" y="266132"/>
                </a:cubicBezTo>
                <a:cubicBezTo>
                  <a:pt x="54164" y="275799"/>
                  <a:pt x="47908" y="283760"/>
                  <a:pt x="42222" y="290015"/>
                </a:cubicBezTo>
                <a:cubicBezTo>
                  <a:pt x="36536" y="296270"/>
                  <a:pt x="26868" y="293996"/>
                  <a:pt x="21750" y="303663"/>
                </a:cubicBezTo>
                <a:cubicBezTo>
                  <a:pt x="16632" y="313330"/>
                  <a:pt x="11514" y="348018"/>
                  <a:pt x="11514" y="348018"/>
                </a:cubicBezTo>
                <a:cubicBezTo>
                  <a:pt x="8102" y="362803"/>
                  <a:pt x="2985" y="379863"/>
                  <a:pt x="1279" y="392373"/>
                </a:cubicBezTo>
                <a:cubicBezTo>
                  <a:pt x="-427" y="404884"/>
                  <a:pt x="-427" y="413414"/>
                  <a:pt x="1279" y="423081"/>
                </a:cubicBezTo>
                <a:cubicBezTo>
                  <a:pt x="2985" y="432748"/>
                  <a:pt x="8671" y="441846"/>
                  <a:pt x="11514" y="450376"/>
                </a:cubicBezTo>
                <a:cubicBezTo>
                  <a:pt x="14357" y="458906"/>
                  <a:pt x="17201" y="464024"/>
                  <a:pt x="18338" y="474260"/>
                </a:cubicBezTo>
                <a:cubicBezTo>
                  <a:pt x="19475" y="484496"/>
                  <a:pt x="14357" y="499281"/>
                  <a:pt x="18338" y="511791"/>
                </a:cubicBezTo>
                <a:cubicBezTo>
                  <a:pt x="22319" y="524301"/>
                  <a:pt x="31986" y="536812"/>
                  <a:pt x="42222" y="549323"/>
                </a:cubicBezTo>
                <a:cubicBezTo>
                  <a:pt x="52458" y="561834"/>
                  <a:pt x="70086" y="577756"/>
                  <a:pt x="79753" y="586854"/>
                </a:cubicBezTo>
                <a:cubicBezTo>
                  <a:pt x="89420" y="595952"/>
                  <a:pt x="95676" y="593678"/>
                  <a:pt x="100225" y="603914"/>
                </a:cubicBezTo>
                <a:cubicBezTo>
                  <a:pt x="104774" y="614150"/>
                  <a:pt x="106480" y="634053"/>
                  <a:pt x="107049" y="648269"/>
                </a:cubicBezTo>
                <a:cubicBezTo>
                  <a:pt x="107618" y="662485"/>
                  <a:pt x="100794" y="674427"/>
                  <a:pt x="103637" y="689212"/>
                </a:cubicBezTo>
                <a:cubicBezTo>
                  <a:pt x="106480" y="703997"/>
                  <a:pt x="117853" y="727312"/>
                  <a:pt x="124108" y="736979"/>
                </a:cubicBezTo>
                <a:cubicBezTo>
                  <a:pt x="130363" y="746646"/>
                  <a:pt x="138325" y="739822"/>
                  <a:pt x="141168" y="747215"/>
                </a:cubicBezTo>
                <a:cubicBezTo>
                  <a:pt x="144011" y="754608"/>
                  <a:pt x="139462" y="769962"/>
                  <a:pt x="141168" y="781335"/>
                </a:cubicBezTo>
                <a:cubicBezTo>
                  <a:pt x="142874" y="792708"/>
                  <a:pt x="149129" y="803512"/>
                  <a:pt x="151404" y="815454"/>
                </a:cubicBezTo>
                <a:cubicBezTo>
                  <a:pt x="153679" y="827396"/>
                  <a:pt x="154816" y="841043"/>
                  <a:pt x="154816" y="852985"/>
                </a:cubicBezTo>
                <a:cubicBezTo>
                  <a:pt x="154816" y="864927"/>
                  <a:pt x="151973" y="871183"/>
                  <a:pt x="151404" y="887105"/>
                </a:cubicBezTo>
                <a:cubicBezTo>
                  <a:pt x="150835" y="903027"/>
                  <a:pt x="147992" y="932029"/>
                  <a:pt x="151404" y="948520"/>
                </a:cubicBezTo>
                <a:cubicBezTo>
                  <a:pt x="154816" y="965011"/>
                  <a:pt x="159365" y="973541"/>
                  <a:pt x="171876" y="986051"/>
                </a:cubicBezTo>
                <a:cubicBezTo>
                  <a:pt x="184386" y="998561"/>
                  <a:pt x="214525" y="1015052"/>
                  <a:pt x="226467" y="1023582"/>
                </a:cubicBezTo>
                <a:cubicBezTo>
                  <a:pt x="238409" y="1032112"/>
                  <a:pt x="240114" y="1030975"/>
                  <a:pt x="243526" y="1037230"/>
                </a:cubicBezTo>
                <a:cubicBezTo>
                  <a:pt x="246938" y="1043485"/>
                  <a:pt x="246369" y="1053722"/>
                  <a:pt x="246938" y="1061114"/>
                </a:cubicBezTo>
                <a:cubicBezTo>
                  <a:pt x="247507" y="1068506"/>
                  <a:pt x="247222" y="1075045"/>
                  <a:pt x="246938" y="108158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олилиния 66"/>
          <p:cNvSpPr/>
          <p:nvPr/>
        </p:nvSpPr>
        <p:spPr>
          <a:xfrm>
            <a:off x="7919113" y="2933890"/>
            <a:ext cx="931460" cy="355337"/>
          </a:xfrm>
          <a:custGeom>
            <a:avLst/>
            <a:gdLst>
              <a:gd name="connsiteX0" fmla="*/ 931460 w 931460"/>
              <a:gd name="connsiteY0" fmla="*/ 314277 h 355337"/>
              <a:gd name="connsiteX1" fmla="*/ 866633 w 931460"/>
              <a:gd name="connsiteY1" fmla="*/ 293806 h 355337"/>
              <a:gd name="connsiteX2" fmla="*/ 839338 w 931460"/>
              <a:gd name="connsiteY2" fmla="*/ 280158 h 355337"/>
              <a:gd name="connsiteX3" fmla="*/ 812042 w 931460"/>
              <a:gd name="connsiteY3" fmla="*/ 280158 h 355337"/>
              <a:gd name="connsiteX4" fmla="*/ 788159 w 931460"/>
              <a:gd name="connsiteY4" fmla="*/ 314277 h 355337"/>
              <a:gd name="connsiteX5" fmla="*/ 781335 w 931460"/>
              <a:gd name="connsiteY5" fmla="*/ 338161 h 355337"/>
              <a:gd name="connsiteX6" fmla="*/ 767687 w 931460"/>
              <a:gd name="connsiteY6" fmla="*/ 355220 h 355337"/>
              <a:gd name="connsiteX7" fmla="*/ 730156 w 931460"/>
              <a:gd name="connsiteY7" fmla="*/ 344985 h 355337"/>
              <a:gd name="connsiteX8" fmla="*/ 696036 w 931460"/>
              <a:gd name="connsiteY8" fmla="*/ 331337 h 355337"/>
              <a:gd name="connsiteX9" fmla="*/ 634621 w 931460"/>
              <a:gd name="connsiteY9" fmla="*/ 321101 h 355337"/>
              <a:gd name="connsiteX10" fmla="*/ 586854 w 931460"/>
              <a:gd name="connsiteY10" fmla="*/ 331337 h 355337"/>
              <a:gd name="connsiteX11" fmla="*/ 484496 w 931460"/>
              <a:gd name="connsiteY11" fmla="*/ 300629 h 355337"/>
              <a:gd name="connsiteX12" fmla="*/ 446965 w 931460"/>
              <a:gd name="connsiteY12" fmla="*/ 314277 h 355337"/>
              <a:gd name="connsiteX13" fmla="*/ 395786 w 931460"/>
              <a:gd name="connsiteY13" fmla="*/ 307453 h 355337"/>
              <a:gd name="connsiteX14" fmla="*/ 375314 w 931460"/>
              <a:gd name="connsiteY14" fmla="*/ 290394 h 355337"/>
              <a:gd name="connsiteX15" fmla="*/ 341194 w 931460"/>
              <a:gd name="connsiteY15" fmla="*/ 269922 h 355337"/>
              <a:gd name="connsiteX16" fmla="*/ 286603 w 931460"/>
              <a:gd name="connsiteY16" fmla="*/ 249450 h 355337"/>
              <a:gd name="connsiteX17" fmla="*/ 269544 w 931460"/>
              <a:gd name="connsiteY17" fmla="*/ 228979 h 355337"/>
              <a:gd name="connsiteX18" fmla="*/ 235424 w 931460"/>
              <a:gd name="connsiteY18" fmla="*/ 205095 h 355337"/>
              <a:gd name="connsiteX19" fmla="*/ 218365 w 931460"/>
              <a:gd name="connsiteY19" fmla="*/ 184623 h 355337"/>
              <a:gd name="connsiteX20" fmla="*/ 211541 w 931460"/>
              <a:gd name="connsiteY20" fmla="*/ 160740 h 355337"/>
              <a:gd name="connsiteX21" fmla="*/ 170597 w 931460"/>
              <a:gd name="connsiteY21" fmla="*/ 123209 h 355337"/>
              <a:gd name="connsiteX22" fmla="*/ 156950 w 931460"/>
              <a:gd name="connsiteY22" fmla="*/ 112973 h 355337"/>
              <a:gd name="connsiteX23" fmla="*/ 136478 w 931460"/>
              <a:gd name="connsiteY23" fmla="*/ 99325 h 355337"/>
              <a:gd name="connsiteX24" fmla="*/ 105771 w 931460"/>
              <a:gd name="connsiteY24" fmla="*/ 75441 h 355337"/>
              <a:gd name="connsiteX25" fmla="*/ 75063 w 931460"/>
              <a:gd name="connsiteY25" fmla="*/ 54970 h 355337"/>
              <a:gd name="connsiteX26" fmla="*/ 20472 w 931460"/>
              <a:gd name="connsiteY26" fmla="*/ 27674 h 355337"/>
              <a:gd name="connsiteX27" fmla="*/ 6824 w 931460"/>
              <a:gd name="connsiteY27" fmla="*/ 3791 h 355337"/>
              <a:gd name="connsiteX28" fmla="*/ 0 w 931460"/>
              <a:gd name="connsiteY28" fmla="*/ 379 h 355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931460" h="355337">
                <a:moveTo>
                  <a:pt x="931460" y="314277"/>
                </a:moveTo>
                <a:cubicBezTo>
                  <a:pt x="906723" y="306884"/>
                  <a:pt x="881987" y="299492"/>
                  <a:pt x="866633" y="293806"/>
                </a:cubicBezTo>
                <a:cubicBezTo>
                  <a:pt x="851279" y="288119"/>
                  <a:pt x="848437" y="282433"/>
                  <a:pt x="839338" y="280158"/>
                </a:cubicBezTo>
                <a:cubicBezTo>
                  <a:pt x="830239" y="277883"/>
                  <a:pt x="820572" y="274472"/>
                  <a:pt x="812042" y="280158"/>
                </a:cubicBezTo>
                <a:cubicBezTo>
                  <a:pt x="803512" y="285844"/>
                  <a:pt x="793277" y="304610"/>
                  <a:pt x="788159" y="314277"/>
                </a:cubicBezTo>
                <a:cubicBezTo>
                  <a:pt x="783041" y="323944"/>
                  <a:pt x="784747" y="331337"/>
                  <a:pt x="781335" y="338161"/>
                </a:cubicBezTo>
                <a:cubicBezTo>
                  <a:pt x="777923" y="344985"/>
                  <a:pt x="776217" y="354083"/>
                  <a:pt x="767687" y="355220"/>
                </a:cubicBezTo>
                <a:cubicBezTo>
                  <a:pt x="759157" y="356357"/>
                  <a:pt x="742098" y="348965"/>
                  <a:pt x="730156" y="344985"/>
                </a:cubicBezTo>
                <a:cubicBezTo>
                  <a:pt x="718214" y="341005"/>
                  <a:pt x="711958" y="335318"/>
                  <a:pt x="696036" y="331337"/>
                </a:cubicBezTo>
                <a:cubicBezTo>
                  <a:pt x="680114" y="327356"/>
                  <a:pt x="652818" y="321101"/>
                  <a:pt x="634621" y="321101"/>
                </a:cubicBezTo>
                <a:cubicBezTo>
                  <a:pt x="616424" y="321101"/>
                  <a:pt x="611875" y="334749"/>
                  <a:pt x="586854" y="331337"/>
                </a:cubicBezTo>
                <a:cubicBezTo>
                  <a:pt x="561833" y="327925"/>
                  <a:pt x="507811" y="303472"/>
                  <a:pt x="484496" y="300629"/>
                </a:cubicBezTo>
                <a:cubicBezTo>
                  <a:pt x="461181" y="297786"/>
                  <a:pt x="461750" y="313140"/>
                  <a:pt x="446965" y="314277"/>
                </a:cubicBezTo>
                <a:cubicBezTo>
                  <a:pt x="432180" y="315414"/>
                  <a:pt x="407728" y="311433"/>
                  <a:pt x="395786" y="307453"/>
                </a:cubicBezTo>
                <a:cubicBezTo>
                  <a:pt x="383844" y="303473"/>
                  <a:pt x="384413" y="296649"/>
                  <a:pt x="375314" y="290394"/>
                </a:cubicBezTo>
                <a:cubicBezTo>
                  <a:pt x="366215" y="284139"/>
                  <a:pt x="355979" y="276746"/>
                  <a:pt x="341194" y="269922"/>
                </a:cubicBezTo>
                <a:cubicBezTo>
                  <a:pt x="326409" y="263098"/>
                  <a:pt x="298545" y="256274"/>
                  <a:pt x="286603" y="249450"/>
                </a:cubicBezTo>
                <a:cubicBezTo>
                  <a:pt x="274661" y="242626"/>
                  <a:pt x="278074" y="236371"/>
                  <a:pt x="269544" y="228979"/>
                </a:cubicBezTo>
                <a:cubicBezTo>
                  <a:pt x="261014" y="221586"/>
                  <a:pt x="235424" y="205095"/>
                  <a:pt x="235424" y="205095"/>
                </a:cubicBezTo>
                <a:cubicBezTo>
                  <a:pt x="226894" y="197702"/>
                  <a:pt x="222346" y="192016"/>
                  <a:pt x="218365" y="184623"/>
                </a:cubicBezTo>
                <a:cubicBezTo>
                  <a:pt x="214384" y="177230"/>
                  <a:pt x="219502" y="170975"/>
                  <a:pt x="211541" y="160740"/>
                </a:cubicBezTo>
                <a:cubicBezTo>
                  <a:pt x="203580" y="150505"/>
                  <a:pt x="170597" y="123209"/>
                  <a:pt x="170597" y="123209"/>
                </a:cubicBezTo>
                <a:cubicBezTo>
                  <a:pt x="161498" y="115248"/>
                  <a:pt x="162637" y="116954"/>
                  <a:pt x="156950" y="112973"/>
                </a:cubicBezTo>
                <a:cubicBezTo>
                  <a:pt x="151263" y="108992"/>
                  <a:pt x="145008" y="105580"/>
                  <a:pt x="136478" y="99325"/>
                </a:cubicBezTo>
                <a:cubicBezTo>
                  <a:pt x="127948" y="93070"/>
                  <a:pt x="116007" y="82833"/>
                  <a:pt x="105771" y="75441"/>
                </a:cubicBezTo>
                <a:cubicBezTo>
                  <a:pt x="95535" y="68048"/>
                  <a:pt x="89280" y="62931"/>
                  <a:pt x="75063" y="54970"/>
                </a:cubicBezTo>
                <a:cubicBezTo>
                  <a:pt x="60846" y="47009"/>
                  <a:pt x="31845" y="36204"/>
                  <a:pt x="20472" y="27674"/>
                </a:cubicBezTo>
                <a:cubicBezTo>
                  <a:pt x="9099" y="19144"/>
                  <a:pt x="6824" y="3791"/>
                  <a:pt x="6824" y="3791"/>
                </a:cubicBezTo>
                <a:cubicBezTo>
                  <a:pt x="3412" y="-758"/>
                  <a:pt x="1706" y="-190"/>
                  <a:pt x="0" y="379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Полилиния 67"/>
          <p:cNvSpPr/>
          <p:nvPr/>
        </p:nvSpPr>
        <p:spPr>
          <a:xfrm>
            <a:off x="7917973" y="2932750"/>
            <a:ext cx="931460" cy="355337"/>
          </a:xfrm>
          <a:custGeom>
            <a:avLst/>
            <a:gdLst>
              <a:gd name="connsiteX0" fmla="*/ 931460 w 931460"/>
              <a:gd name="connsiteY0" fmla="*/ 314277 h 355337"/>
              <a:gd name="connsiteX1" fmla="*/ 866633 w 931460"/>
              <a:gd name="connsiteY1" fmla="*/ 293806 h 355337"/>
              <a:gd name="connsiteX2" fmla="*/ 839338 w 931460"/>
              <a:gd name="connsiteY2" fmla="*/ 280158 h 355337"/>
              <a:gd name="connsiteX3" fmla="*/ 812042 w 931460"/>
              <a:gd name="connsiteY3" fmla="*/ 280158 h 355337"/>
              <a:gd name="connsiteX4" fmla="*/ 788159 w 931460"/>
              <a:gd name="connsiteY4" fmla="*/ 314277 h 355337"/>
              <a:gd name="connsiteX5" fmla="*/ 781335 w 931460"/>
              <a:gd name="connsiteY5" fmla="*/ 338161 h 355337"/>
              <a:gd name="connsiteX6" fmla="*/ 767687 w 931460"/>
              <a:gd name="connsiteY6" fmla="*/ 355220 h 355337"/>
              <a:gd name="connsiteX7" fmla="*/ 730156 w 931460"/>
              <a:gd name="connsiteY7" fmla="*/ 344985 h 355337"/>
              <a:gd name="connsiteX8" fmla="*/ 696036 w 931460"/>
              <a:gd name="connsiteY8" fmla="*/ 331337 h 355337"/>
              <a:gd name="connsiteX9" fmla="*/ 634621 w 931460"/>
              <a:gd name="connsiteY9" fmla="*/ 321101 h 355337"/>
              <a:gd name="connsiteX10" fmla="*/ 586854 w 931460"/>
              <a:gd name="connsiteY10" fmla="*/ 331337 h 355337"/>
              <a:gd name="connsiteX11" fmla="*/ 484496 w 931460"/>
              <a:gd name="connsiteY11" fmla="*/ 300629 h 355337"/>
              <a:gd name="connsiteX12" fmla="*/ 446965 w 931460"/>
              <a:gd name="connsiteY12" fmla="*/ 314277 h 355337"/>
              <a:gd name="connsiteX13" fmla="*/ 395786 w 931460"/>
              <a:gd name="connsiteY13" fmla="*/ 307453 h 355337"/>
              <a:gd name="connsiteX14" fmla="*/ 375314 w 931460"/>
              <a:gd name="connsiteY14" fmla="*/ 290394 h 355337"/>
              <a:gd name="connsiteX15" fmla="*/ 341194 w 931460"/>
              <a:gd name="connsiteY15" fmla="*/ 269922 h 355337"/>
              <a:gd name="connsiteX16" fmla="*/ 286603 w 931460"/>
              <a:gd name="connsiteY16" fmla="*/ 249450 h 355337"/>
              <a:gd name="connsiteX17" fmla="*/ 269544 w 931460"/>
              <a:gd name="connsiteY17" fmla="*/ 228979 h 355337"/>
              <a:gd name="connsiteX18" fmla="*/ 235424 w 931460"/>
              <a:gd name="connsiteY18" fmla="*/ 205095 h 355337"/>
              <a:gd name="connsiteX19" fmla="*/ 218365 w 931460"/>
              <a:gd name="connsiteY19" fmla="*/ 184623 h 355337"/>
              <a:gd name="connsiteX20" fmla="*/ 211541 w 931460"/>
              <a:gd name="connsiteY20" fmla="*/ 160740 h 355337"/>
              <a:gd name="connsiteX21" fmla="*/ 170597 w 931460"/>
              <a:gd name="connsiteY21" fmla="*/ 123209 h 355337"/>
              <a:gd name="connsiteX22" fmla="*/ 156950 w 931460"/>
              <a:gd name="connsiteY22" fmla="*/ 112973 h 355337"/>
              <a:gd name="connsiteX23" fmla="*/ 136478 w 931460"/>
              <a:gd name="connsiteY23" fmla="*/ 99325 h 355337"/>
              <a:gd name="connsiteX24" fmla="*/ 105771 w 931460"/>
              <a:gd name="connsiteY24" fmla="*/ 75441 h 355337"/>
              <a:gd name="connsiteX25" fmla="*/ 75063 w 931460"/>
              <a:gd name="connsiteY25" fmla="*/ 54970 h 355337"/>
              <a:gd name="connsiteX26" fmla="*/ 20472 w 931460"/>
              <a:gd name="connsiteY26" fmla="*/ 27674 h 355337"/>
              <a:gd name="connsiteX27" fmla="*/ 6824 w 931460"/>
              <a:gd name="connsiteY27" fmla="*/ 3791 h 355337"/>
              <a:gd name="connsiteX28" fmla="*/ 0 w 931460"/>
              <a:gd name="connsiteY28" fmla="*/ 379 h 355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931460" h="355337">
                <a:moveTo>
                  <a:pt x="931460" y="314277"/>
                </a:moveTo>
                <a:cubicBezTo>
                  <a:pt x="906723" y="306884"/>
                  <a:pt x="881987" y="299492"/>
                  <a:pt x="866633" y="293806"/>
                </a:cubicBezTo>
                <a:cubicBezTo>
                  <a:pt x="851279" y="288119"/>
                  <a:pt x="848437" y="282433"/>
                  <a:pt x="839338" y="280158"/>
                </a:cubicBezTo>
                <a:cubicBezTo>
                  <a:pt x="830239" y="277883"/>
                  <a:pt x="820572" y="274472"/>
                  <a:pt x="812042" y="280158"/>
                </a:cubicBezTo>
                <a:cubicBezTo>
                  <a:pt x="803512" y="285844"/>
                  <a:pt x="793277" y="304610"/>
                  <a:pt x="788159" y="314277"/>
                </a:cubicBezTo>
                <a:cubicBezTo>
                  <a:pt x="783041" y="323944"/>
                  <a:pt x="784747" y="331337"/>
                  <a:pt x="781335" y="338161"/>
                </a:cubicBezTo>
                <a:cubicBezTo>
                  <a:pt x="777923" y="344985"/>
                  <a:pt x="776217" y="354083"/>
                  <a:pt x="767687" y="355220"/>
                </a:cubicBezTo>
                <a:cubicBezTo>
                  <a:pt x="759157" y="356357"/>
                  <a:pt x="742098" y="348965"/>
                  <a:pt x="730156" y="344985"/>
                </a:cubicBezTo>
                <a:cubicBezTo>
                  <a:pt x="718214" y="341005"/>
                  <a:pt x="711958" y="335318"/>
                  <a:pt x="696036" y="331337"/>
                </a:cubicBezTo>
                <a:cubicBezTo>
                  <a:pt x="680114" y="327356"/>
                  <a:pt x="652818" y="321101"/>
                  <a:pt x="634621" y="321101"/>
                </a:cubicBezTo>
                <a:cubicBezTo>
                  <a:pt x="616424" y="321101"/>
                  <a:pt x="611875" y="334749"/>
                  <a:pt x="586854" y="331337"/>
                </a:cubicBezTo>
                <a:cubicBezTo>
                  <a:pt x="561833" y="327925"/>
                  <a:pt x="507811" y="303472"/>
                  <a:pt x="484496" y="300629"/>
                </a:cubicBezTo>
                <a:cubicBezTo>
                  <a:pt x="461181" y="297786"/>
                  <a:pt x="461750" y="313140"/>
                  <a:pt x="446965" y="314277"/>
                </a:cubicBezTo>
                <a:cubicBezTo>
                  <a:pt x="432180" y="315414"/>
                  <a:pt x="407728" y="311433"/>
                  <a:pt x="395786" y="307453"/>
                </a:cubicBezTo>
                <a:cubicBezTo>
                  <a:pt x="383844" y="303473"/>
                  <a:pt x="384413" y="296649"/>
                  <a:pt x="375314" y="290394"/>
                </a:cubicBezTo>
                <a:cubicBezTo>
                  <a:pt x="366215" y="284139"/>
                  <a:pt x="355979" y="276746"/>
                  <a:pt x="341194" y="269922"/>
                </a:cubicBezTo>
                <a:cubicBezTo>
                  <a:pt x="326409" y="263098"/>
                  <a:pt x="298545" y="256274"/>
                  <a:pt x="286603" y="249450"/>
                </a:cubicBezTo>
                <a:cubicBezTo>
                  <a:pt x="274661" y="242626"/>
                  <a:pt x="278074" y="236371"/>
                  <a:pt x="269544" y="228979"/>
                </a:cubicBezTo>
                <a:cubicBezTo>
                  <a:pt x="261014" y="221586"/>
                  <a:pt x="235424" y="205095"/>
                  <a:pt x="235424" y="205095"/>
                </a:cubicBezTo>
                <a:cubicBezTo>
                  <a:pt x="226894" y="197702"/>
                  <a:pt x="222346" y="192016"/>
                  <a:pt x="218365" y="184623"/>
                </a:cubicBezTo>
                <a:cubicBezTo>
                  <a:pt x="214384" y="177230"/>
                  <a:pt x="219502" y="170975"/>
                  <a:pt x="211541" y="160740"/>
                </a:cubicBezTo>
                <a:cubicBezTo>
                  <a:pt x="203580" y="150505"/>
                  <a:pt x="170597" y="123209"/>
                  <a:pt x="170597" y="123209"/>
                </a:cubicBezTo>
                <a:cubicBezTo>
                  <a:pt x="161498" y="115248"/>
                  <a:pt x="162637" y="116954"/>
                  <a:pt x="156950" y="112973"/>
                </a:cubicBezTo>
                <a:cubicBezTo>
                  <a:pt x="151263" y="108992"/>
                  <a:pt x="145008" y="105580"/>
                  <a:pt x="136478" y="99325"/>
                </a:cubicBezTo>
                <a:cubicBezTo>
                  <a:pt x="127948" y="93070"/>
                  <a:pt x="116007" y="82833"/>
                  <a:pt x="105771" y="75441"/>
                </a:cubicBezTo>
                <a:cubicBezTo>
                  <a:pt x="95535" y="68048"/>
                  <a:pt x="89280" y="62931"/>
                  <a:pt x="75063" y="54970"/>
                </a:cubicBezTo>
                <a:cubicBezTo>
                  <a:pt x="60846" y="47009"/>
                  <a:pt x="31845" y="36204"/>
                  <a:pt x="20472" y="27674"/>
                </a:cubicBezTo>
                <a:cubicBezTo>
                  <a:pt x="9099" y="19144"/>
                  <a:pt x="6824" y="3791"/>
                  <a:pt x="6824" y="3791"/>
                </a:cubicBezTo>
                <a:cubicBezTo>
                  <a:pt x="3412" y="-758"/>
                  <a:pt x="1706" y="-190"/>
                  <a:pt x="0" y="379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Полилиния 68"/>
          <p:cNvSpPr/>
          <p:nvPr/>
        </p:nvSpPr>
        <p:spPr>
          <a:xfrm>
            <a:off x="7847226" y="2866030"/>
            <a:ext cx="85298" cy="85298"/>
          </a:xfrm>
          <a:custGeom>
            <a:avLst/>
            <a:gdLst>
              <a:gd name="connsiteX0" fmla="*/ 0 w 85298"/>
              <a:gd name="connsiteY0" fmla="*/ 0 h 85298"/>
              <a:gd name="connsiteX1" fmla="*/ 61415 w 85298"/>
              <a:gd name="connsiteY1" fmla="*/ 10236 h 85298"/>
              <a:gd name="connsiteX2" fmla="*/ 64827 w 85298"/>
              <a:gd name="connsiteY2" fmla="*/ 23883 h 85298"/>
              <a:gd name="connsiteX3" fmla="*/ 61415 w 85298"/>
              <a:gd name="connsiteY3" fmla="*/ 44355 h 85298"/>
              <a:gd name="connsiteX4" fmla="*/ 61415 w 85298"/>
              <a:gd name="connsiteY4" fmla="*/ 58003 h 85298"/>
              <a:gd name="connsiteX5" fmla="*/ 78474 w 85298"/>
              <a:gd name="connsiteY5" fmla="*/ 71651 h 85298"/>
              <a:gd name="connsiteX6" fmla="*/ 81886 w 85298"/>
              <a:gd name="connsiteY6" fmla="*/ 78475 h 85298"/>
              <a:gd name="connsiteX7" fmla="*/ 85298 w 85298"/>
              <a:gd name="connsiteY7" fmla="*/ 85298 h 85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298" h="85298">
                <a:moveTo>
                  <a:pt x="0" y="0"/>
                </a:moveTo>
                <a:lnTo>
                  <a:pt x="61415" y="10236"/>
                </a:lnTo>
                <a:cubicBezTo>
                  <a:pt x="72220" y="14217"/>
                  <a:pt x="64827" y="18197"/>
                  <a:pt x="64827" y="23883"/>
                </a:cubicBezTo>
                <a:cubicBezTo>
                  <a:pt x="64827" y="29569"/>
                  <a:pt x="61984" y="38668"/>
                  <a:pt x="61415" y="44355"/>
                </a:cubicBezTo>
                <a:cubicBezTo>
                  <a:pt x="60846" y="50042"/>
                  <a:pt x="58572" y="53454"/>
                  <a:pt x="61415" y="58003"/>
                </a:cubicBezTo>
                <a:cubicBezTo>
                  <a:pt x="64258" y="62552"/>
                  <a:pt x="78474" y="71651"/>
                  <a:pt x="78474" y="71651"/>
                </a:cubicBezTo>
                <a:cubicBezTo>
                  <a:pt x="81886" y="75063"/>
                  <a:pt x="81886" y="78475"/>
                  <a:pt x="81886" y="78475"/>
                </a:cubicBezTo>
                <a:lnTo>
                  <a:pt x="85298" y="85298"/>
                </a:lnTo>
              </a:path>
            </a:pathLst>
          </a:custGeom>
          <a:noFill/>
          <a:ln w="571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олилиния 69"/>
          <p:cNvSpPr/>
          <p:nvPr/>
        </p:nvSpPr>
        <p:spPr>
          <a:xfrm>
            <a:off x="7849737" y="2871714"/>
            <a:ext cx="85298" cy="85298"/>
          </a:xfrm>
          <a:custGeom>
            <a:avLst/>
            <a:gdLst>
              <a:gd name="connsiteX0" fmla="*/ 0 w 85298"/>
              <a:gd name="connsiteY0" fmla="*/ 0 h 85298"/>
              <a:gd name="connsiteX1" fmla="*/ 61415 w 85298"/>
              <a:gd name="connsiteY1" fmla="*/ 10236 h 85298"/>
              <a:gd name="connsiteX2" fmla="*/ 64827 w 85298"/>
              <a:gd name="connsiteY2" fmla="*/ 23883 h 85298"/>
              <a:gd name="connsiteX3" fmla="*/ 61415 w 85298"/>
              <a:gd name="connsiteY3" fmla="*/ 44355 h 85298"/>
              <a:gd name="connsiteX4" fmla="*/ 61415 w 85298"/>
              <a:gd name="connsiteY4" fmla="*/ 58003 h 85298"/>
              <a:gd name="connsiteX5" fmla="*/ 78474 w 85298"/>
              <a:gd name="connsiteY5" fmla="*/ 71651 h 85298"/>
              <a:gd name="connsiteX6" fmla="*/ 81886 w 85298"/>
              <a:gd name="connsiteY6" fmla="*/ 78475 h 85298"/>
              <a:gd name="connsiteX7" fmla="*/ 85298 w 85298"/>
              <a:gd name="connsiteY7" fmla="*/ 85298 h 85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298" h="85298">
                <a:moveTo>
                  <a:pt x="0" y="0"/>
                </a:moveTo>
                <a:lnTo>
                  <a:pt x="61415" y="10236"/>
                </a:lnTo>
                <a:cubicBezTo>
                  <a:pt x="72220" y="14217"/>
                  <a:pt x="64827" y="18197"/>
                  <a:pt x="64827" y="23883"/>
                </a:cubicBezTo>
                <a:cubicBezTo>
                  <a:pt x="64827" y="29569"/>
                  <a:pt x="61984" y="38668"/>
                  <a:pt x="61415" y="44355"/>
                </a:cubicBezTo>
                <a:cubicBezTo>
                  <a:pt x="60846" y="50042"/>
                  <a:pt x="58572" y="53454"/>
                  <a:pt x="61415" y="58003"/>
                </a:cubicBezTo>
                <a:cubicBezTo>
                  <a:pt x="64258" y="62552"/>
                  <a:pt x="78474" y="71651"/>
                  <a:pt x="78474" y="71651"/>
                </a:cubicBezTo>
                <a:cubicBezTo>
                  <a:pt x="81886" y="75063"/>
                  <a:pt x="81886" y="78475"/>
                  <a:pt x="81886" y="78475"/>
                </a:cubicBezTo>
                <a:lnTo>
                  <a:pt x="85298" y="85298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олилиния 59"/>
          <p:cNvSpPr/>
          <p:nvPr/>
        </p:nvSpPr>
        <p:spPr>
          <a:xfrm>
            <a:off x="7820167" y="2589663"/>
            <a:ext cx="170597" cy="266131"/>
          </a:xfrm>
          <a:custGeom>
            <a:avLst/>
            <a:gdLst>
              <a:gd name="connsiteX0" fmla="*/ 170597 w 170597"/>
              <a:gd name="connsiteY0" fmla="*/ 0 h 266131"/>
              <a:gd name="connsiteX1" fmla="*/ 116006 w 170597"/>
              <a:gd name="connsiteY1" fmla="*/ 81886 h 266131"/>
              <a:gd name="connsiteX2" fmla="*/ 71651 w 170597"/>
              <a:gd name="connsiteY2" fmla="*/ 126241 h 266131"/>
              <a:gd name="connsiteX3" fmla="*/ 51179 w 170597"/>
              <a:gd name="connsiteY3" fmla="*/ 153537 h 266131"/>
              <a:gd name="connsiteX4" fmla="*/ 47767 w 170597"/>
              <a:gd name="connsiteY4" fmla="*/ 201304 h 266131"/>
              <a:gd name="connsiteX5" fmla="*/ 40944 w 170597"/>
              <a:gd name="connsiteY5" fmla="*/ 228600 h 266131"/>
              <a:gd name="connsiteX6" fmla="*/ 13648 w 170597"/>
              <a:gd name="connsiteY6" fmla="*/ 259307 h 266131"/>
              <a:gd name="connsiteX7" fmla="*/ 0 w 170597"/>
              <a:gd name="connsiteY7" fmla="*/ 266131 h 266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597" h="266131">
                <a:moveTo>
                  <a:pt x="170597" y="0"/>
                </a:moveTo>
                <a:cubicBezTo>
                  <a:pt x="151547" y="30423"/>
                  <a:pt x="132497" y="60846"/>
                  <a:pt x="116006" y="81886"/>
                </a:cubicBezTo>
                <a:cubicBezTo>
                  <a:pt x="99515" y="102926"/>
                  <a:pt x="82455" y="114299"/>
                  <a:pt x="71651" y="126241"/>
                </a:cubicBezTo>
                <a:cubicBezTo>
                  <a:pt x="60846" y="138183"/>
                  <a:pt x="55160" y="141027"/>
                  <a:pt x="51179" y="153537"/>
                </a:cubicBezTo>
                <a:cubicBezTo>
                  <a:pt x="47198" y="166047"/>
                  <a:pt x="49473" y="188794"/>
                  <a:pt x="47767" y="201304"/>
                </a:cubicBezTo>
                <a:cubicBezTo>
                  <a:pt x="46061" y="213815"/>
                  <a:pt x="46630" y="218933"/>
                  <a:pt x="40944" y="228600"/>
                </a:cubicBezTo>
                <a:cubicBezTo>
                  <a:pt x="35258" y="238267"/>
                  <a:pt x="20472" y="253052"/>
                  <a:pt x="13648" y="259307"/>
                </a:cubicBezTo>
                <a:cubicBezTo>
                  <a:pt x="6824" y="265562"/>
                  <a:pt x="3412" y="265846"/>
                  <a:pt x="0" y="266131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олилиния 60"/>
          <p:cNvSpPr/>
          <p:nvPr/>
        </p:nvSpPr>
        <p:spPr>
          <a:xfrm>
            <a:off x="7819027" y="2588523"/>
            <a:ext cx="170597" cy="266131"/>
          </a:xfrm>
          <a:custGeom>
            <a:avLst/>
            <a:gdLst>
              <a:gd name="connsiteX0" fmla="*/ 170597 w 170597"/>
              <a:gd name="connsiteY0" fmla="*/ 0 h 266131"/>
              <a:gd name="connsiteX1" fmla="*/ 116006 w 170597"/>
              <a:gd name="connsiteY1" fmla="*/ 81886 h 266131"/>
              <a:gd name="connsiteX2" fmla="*/ 71651 w 170597"/>
              <a:gd name="connsiteY2" fmla="*/ 126241 h 266131"/>
              <a:gd name="connsiteX3" fmla="*/ 51179 w 170597"/>
              <a:gd name="connsiteY3" fmla="*/ 153537 h 266131"/>
              <a:gd name="connsiteX4" fmla="*/ 47767 w 170597"/>
              <a:gd name="connsiteY4" fmla="*/ 201304 h 266131"/>
              <a:gd name="connsiteX5" fmla="*/ 40944 w 170597"/>
              <a:gd name="connsiteY5" fmla="*/ 228600 h 266131"/>
              <a:gd name="connsiteX6" fmla="*/ 13648 w 170597"/>
              <a:gd name="connsiteY6" fmla="*/ 259307 h 266131"/>
              <a:gd name="connsiteX7" fmla="*/ 0 w 170597"/>
              <a:gd name="connsiteY7" fmla="*/ 266131 h 266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597" h="266131">
                <a:moveTo>
                  <a:pt x="170597" y="0"/>
                </a:moveTo>
                <a:cubicBezTo>
                  <a:pt x="151547" y="30423"/>
                  <a:pt x="132497" y="60846"/>
                  <a:pt x="116006" y="81886"/>
                </a:cubicBezTo>
                <a:cubicBezTo>
                  <a:pt x="99515" y="102926"/>
                  <a:pt x="82455" y="114299"/>
                  <a:pt x="71651" y="126241"/>
                </a:cubicBezTo>
                <a:cubicBezTo>
                  <a:pt x="60846" y="138183"/>
                  <a:pt x="55160" y="141027"/>
                  <a:pt x="51179" y="153537"/>
                </a:cubicBezTo>
                <a:cubicBezTo>
                  <a:pt x="47198" y="166047"/>
                  <a:pt x="49473" y="188794"/>
                  <a:pt x="47767" y="201304"/>
                </a:cubicBezTo>
                <a:cubicBezTo>
                  <a:pt x="46061" y="213815"/>
                  <a:pt x="46630" y="218933"/>
                  <a:pt x="40944" y="228600"/>
                </a:cubicBezTo>
                <a:cubicBezTo>
                  <a:pt x="35258" y="238267"/>
                  <a:pt x="20472" y="253052"/>
                  <a:pt x="13648" y="259307"/>
                </a:cubicBezTo>
                <a:cubicBezTo>
                  <a:pt x="6824" y="265562"/>
                  <a:pt x="3412" y="265846"/>
                  <a:pt x="0" y="266131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олилиния 78"/>
          <p:cNvSpPr/>
          <p:nvPr/>
        </p:nvSpPr>
        <p:spPr>
          <a:xfrm>
            <a:off x="7886700" y="3594100"/>
            <a:ext cx="403225" cy="83388"/>
          </a:xfrm>
          <a:custGeom>
            <a:avLst/>
            <a:gdLst>
              <a:gd name="connsiteX0" fmla="*/ 0 w 403225"/>
              <a:gd name="connsiteY0" fmla="*/ 0 h 83388"/>
              <a:gd name="connsiteX1" fmla="*/ 53975 w 403225"/>
              <a:gd name="connsiteY1" fmla="*/ 19050 h 83388"/>
              <a:gd name="connsiteX2" fmla="*/ 79375 w 403225"/>
              <a:gd name="connsiteY2" fmla="*/ 15875 h 83388"/>
              <a:gd name="connsiteX3" fmla="*/ 104775 w 403225"/>
              <a:gd name="connsiteY3" fmla="*/ 3175 h 83388"/>
              <a:gd name="connsiteX4" fmla="*/ 139700 w 403225"/>
              <a:gd name="connsiteY4" fmla="*/ 19050 h 83388"/>
              <a:gd name="connsiteX5" fmla="*/ 152400 w 403225"/>
              <a:gd name="connsiteY5" fmla="*/ 34925 h 83388"/>
              <a:gd name="connsiteX6" fmla="*/ 165100 w 403225"/>
              <a:gd name="connsiteY6" fmla="*/ 47625 h 83388"/>
              <a:gd name="connsiteX7" fmla="*/ 187325 w 403225"/>
              <a:gd name="connsiteY7" fmla="*/ 66675 h 83388"/>
              <a:gd name="connsiteX8" fmla="*/ 215900 w 403225"/>
              <a:gd name="connsiteY8" fmla="*/ 79375 h 83388"/>
              <a:gd name="connsiteX9" fmla="*/ 234950 w 403225"/>
              <a:gd name="connsiteY9" fmla="*/ 79375 h 83388"/>
              <a:gd name="connsiteX10" fmla="*/ 263525 w 403225"/>
              <a:gd name="connsiteY10" fmla="*/ 82550 h 83388"/>
              <a:gd name="connsiteX11" fmla="*/ 292100 w 403225"/>
              <a:gd name="connsiteY11" fmla="*/ 82550 h 83388"/>
              <a:gd name="connsiteX12" fmla="*/ 314325 w 403225"/>
              <a:gd name="connsiteY12" fmla="*/ 73025 h 83388"/>
              <a:gd name="connsiteX13" fmla="*/ 336550 w 403225"/>
              <a:gd name="connsiteY13" fmla="*/ 66675 h 83388"/>
              <a:gd name="connsiteX14" fmla="*/ 358775 w 403225"/>
              <a:gd name="connsiteY14" fmla="*/ 73025 h 83388"/>
              <a:gd name="connsiteX15" fmla="*/ 384175 w 403225"/>
              <a:gd name="connsiteY15" fmla="*/ 73025 h 83388"/>
              <a:gd name="connsiteX16" fmla="*/ 403225 w 403225"/>
              <a:gd name="connsiteY16" fmla="*/ 73025 h 83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03225" h="83388">
                <a:moveTo>
                  <a:pt x="0" y="0"/>
                </a:moveTo>
                <a:cubicBezTo>
                  <a:pt x="20373" y="8202"/>
                  <a:pt x="40746" y="16404"/>
                  <a:pt x="53975" y="19050"/>
                </a:cubicBezTo>
                <a:cubicBezTo>
                  <a:pt x="67204" y="21696"/>
                  <a:pt x="70908" y="18521"/>
                  <a:pt x="79375" y="15875"/>
                </a:cubicBezTo>
                <a:cubicBezTo>
                  <a:pt x="87842" y="13229"/>
                  <a:pt x="94721" y="2646"/>
                  <a:pt x="104775" y="3175"/>
                </a:cubicBezTo>
                <a:cubicBezTo>
                  <a:pt x="114829" y="3704"/>
                  <a:pt x="131763" y="13758"/>
                  <a:pt x="139700" y="19050"/>
                </a:cubicBezTo>
                <a:cubicBezTo>
                  <a:pt x="147637" y="24342"/>
                  <a:pt x="148167" y="30163"/>
                  <a:pt x="152400" y="34925"/>
                </a:cubicBezTo>
                <a:cubicBezTo>
                  <a:pt x="156633" y="39687"/>
                  <a:pt x="159279" y="42333"/>
                  <a:pt x="165100" y="47625"/>
                </a:cubicBezTo>
                <a:cubicBezTo>
                  <a:pt x="170921" y="52917"/>
                  <a:pt x="178858" y="61383"/>
                  <a:pt x="187325" y="66675"/>
                </a:cubicBezTo>
                <a:cubicBezTo>
                  <a:pt x="195792" y="71967"/>
                  <a:pt x="207963" y="77258"/>
                  <a:pt x="215900" y="79375"/>
                </a:cubicBezTo>
                <a:cubicBezTo>
                  <a:pt x="223837" y="81492"/>
                  <a:pt x="227013" y="78846"/>
                  <a:pt x="234950" y="79375"/>
                </a:cubicBezTo>
                <a:cubicBezTo>
                  <a:pt x="242888" y="79904"/>
                  <a:pt x="254000" y="82021"/>
                  <a:pt x="263525" y="82550"/>
                </a:cubicBezTo>
                <a:cubicBezTo>
                  <a:pt x="273050" y="83079"/>
                  <a:pt x="283633" y="84137"/>
                  <a:pt x="292100" y="82550"/>
                </a:cubicBezTo>
                <a:cubicBezTo>
                  <a:pt x="300567" y="80963"/>
                  <a:pt x="306917" y="75671"/>
                  <a:pt x="314325" y="73025"/>
                </a:cubicBezTo>
                <a:cubicBezTo>
                  <a:pt x="321733" y="70379"/>
                  <a:pt x="329142" y="66675"/>
                  <a:pt x="336550" y="66675"/>
                </a:cubicBezTo>
                <a:cubicBezTo>
                  <a:pt x="343958" y="66675"/>
                  <a:pt x="350838" y="71967"/>
                  <a:pt x="358775" y="73025"/>
                </a:cubicBezTo>
                <a:cubicBezTo>
                  <a:pt x="366712" y="74083"/>
                  <a:pt x="384175" y="73025"/>
                  <a:pt x="384175" y="73025"/>
                </a:cubicBezTo>
                <a:lnTo>
                  <a:pt x="403225" y="73025"/>
                </a:ln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олилиния 77"/>
          <p:cNvSpPr/>
          <p:nvPr/>
        </p:nvSpPr>
        <p:spPr>
          <a:xfrm>
            <a:off x="7794625" y="3590925"/>
            <a:ext cx="104775" cy="13493"/>
          </a:xfrm>
          <a:custGeom>
            <a:avLst/>
            <a:gdLst>
              <a:gd name="connsiteX0" fmla="*/ 104775 w 104775"/>
              <a:gd name="connsiteY0" fmla="*/ 6350 h 13493"/>
              <a:gd name="connsiteX1" fmla="*/ 50800 w 104775"/>
              <a:gd name="connsiteY1" fmla="*/ 12700 h 13493"/>
              <a:gd name="connsiteX2" fmla="*/ 38100 w 104775"/>
              <a:gd name="connsiteY2" fmla="*/ 12700 h 13493"/>
              <a:gd name="connsiteX3" fmla="*/ 22225 w 104775"/>
              <a:gd name="connsiteY3" fmla="*/ 6350 h 13493"/>
              <a:gd name="connsiteX4" fmla="*/ 0 w 104775"/>
              <a:gd name="connsiteY4" fmla="*/ 0 h 13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75" h="13493">
                <a:moveTo>
                  <a:pt x="104775" y="6350"/>
                </a:moveTo>
                <a:lnTo>
                  <a:pt x="50800" y="12700"/>
                </a:lnTo>
                <a:cubicBezTo>
                  <a:pt x="39688" y="13758"/>
                  <a:pt x="42862" y="13758"/>
                  <a:pt x="38100" y="12700"/>
                </a:cubicBezTo>
                <a:cubicBezTo>
                  <a:pt x="33338" y="11642"/>
                  <a:pt x="28575" y="8467"/>
                  <a:pt x="22225" y="6350"/>
                </a:cubicBezTo>
                <a:cubicBezTo>
                  <a:pt x="15875" y="4233"/>
                  <a:pt x="7937" y="2116"/>
                  <a:pt x="0" y="0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олилиния 72"/>
          <p:cNvSpPr/>
          <p:nvPr/>
        </p:nvSpPr>
        <p:spPr>
          <a:xfrm>
            <a:off x="7788275" y="3585511"/>
            <a:ext cx="482600" cy="92125"/>
          </a:xfrm>
          <a:custGeom>
            <a:avLst/>
            <a:gdLst>
              <a:gd name="connsiteX0" fmla="*/ 482600 w 482600"/>
              <a:gd name="connsiteY0" fmla="*/ 82550 h 92125"/>
              <a:gd name="connsiteX1" fmla="*/ 425450 w 482600"/>
              <a:gd name="connsiteY1" fmla="*/ 73025 h 92125"/>
              <a:gd name="connsiteX2" fmla="*/ 387350 w 482600"/>
              <a:gd name="connsiteY2" fmla="*/ 85725 h 92125"/>
              <a:gd name="connsiteX3" fmla="*/ 333375 w 482600"/>
              <a:gd name="connsiteY3" fmla="*/ 92075 h 92125"/>
              <a:gd name="connsiteX4" fmla="*/ 295275 w 482600"/>
              <a:gd name="connsiteY4" fmla="*/ 82550 h 92125"/>
              <a:gd name="connsiteX5" fmla="*/ 282575 w 482600"/>
              <a:gd name="connsiteY5" fmla="*/ 79375 h 92125"/>
              <a:gd name="connsiteX6" fmla="*/ 263525 w 482600"/>
              <a:gd name="connsiteY6" fmla="*/ 63500 h 92125"/>
              <a:gd name="connsiteX7" fmla="*/ 247650 w 482600"/>
              <a:gd name="connsiteY7" fmla="*/ 41275 h 92125"/>
              <a:gd name="connsiteX8" fmla="*/ 231775 w 482600"/>
              <a:gd name="connsiteY8" fmla="*/ 25400 h 92125"/>
              <a:gd name="connsiteX9" fmla="*/ 209550 w 482600"/>
              <a:gd name="connsiteY9" fmla="*/ 9525 h 92125"/>
              <a:gd name="connsiteX10" fmla="*/ 193675 w 482600"/>
              <a:gd name="connsiteY10" fmla="*/ 6350 h 92125"/>
              <a:gd name="connsiteX11" fmla="*/ 180975 w 482600"/>
              <a:gd name="connsiteY11" fmla="*/ 12700 h 92125"/>
              <a:gd name="connsiteX12" fmla="*/ 168275 w 482600"/>
              <a:gd name="connsiteY12" fmla="*/ 25400 h 92125"/>
              <a:gd name="connsiteX13" fmla="*/ 158750 w 482600"/>
              <a:gd name="connsiteY13" fmla="*/ 25400 h 92125"/>
              <a:gd name="connsiteX14" fmla="*/ 136525 w 482600"/>
              <a:gd name="connsiteY14" fmla="*/ 19050 h 92125"/>
              <a:gd name="connsiteX15" fmla="*/ 127000 w 482600"/>
              <a:gd name="connsiteY15" fmla="*/ 15875 h 92125"/>
              <a:gd name="connsiteX16" fmla="*/ 107950 w 482600"/>
              <a:gd name="connsiteY16" fmla="*/ 15875 h 92125"/>
              <a:gd name="connsiteX17" fmla="*/ 88900 w 482600"/>
              <a:gd name="connsiteY17" fmla="*/ 9525 h 92125"/>
              <a:gd name="connsiteX18" fmla="*/ 73025 w 482600"/>
              <a:gd name="connsiteY18" fmla="*/ 0 h 92125"/>
              <a:gd name="connsiteX19" fmla="*/ 44450 w 482600"/>
              <a:gd name="connsiteY19" fmla="*/ 9525 h 92125"/>
              <a:gd name="connsiteX20" fmla="*/ 25400 w 482600"/>
              <a:gd name="connsiteY20" fmla="*/ 9525 h 92125"/>
              <a:gd name="connsiteX21" fmla="*/ 12700 w 482600"/>
              <a:gd name="connsiteY21" fmla="*/ 3175 h 92125"/>
              <a:gd name="connsiteX22" fmla="*/ 0 w 482600"/>
              <a:gd name="connsiteY22" fmla="*/ 3175 h 9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82600" h="92125">
                <a:moveTo>
                  <a:pt x="482600" y="82550"/>
                </a:moveTo>
                <a:cubicBezTo>
                  <a:pt x="461962" y="77523"/>
                  <a:pt x="441325" y="72496"/>
                  <a:pt x="425450" y="73025"/>
                </a:cubicBezTo>
                <a:cubicBezTo>
                  <a:pt x="409575" y="73554"/>
                  <a:pt x="402696" y="82550"/>
                  <a:pt x="387350" y="85725"/>
                </a:cubicBezTo>
                <a:cubicBezTo>
                  <a:pt x="372004" y="88900"/>
                  <a:pt x="348721" y="92604"/>
                  <a:pt x="333375" y="92075"/>
                </a:cubicBezTo>
                <a:cubicBezTo>
                  <a:pt x="318029" y="91546"/>
                  <a:pt x="295275" y="82550"/>
                  <a:pt x="295275" y="82550"/>
                </a:cubicBezTo>
                <a:cubicBezTo>
                  <a:pt x="286808" y="80433"/>
                  <a:pt x="287867" y="82550"/>
                  <a:pt x="282575" y="79375"/>
                </a:cubicBezTo>
                <a:cubicBezTo>
                  <a:pt x="277283" y="76200"/>
                  <a:pt x="269346" y="69850"/>
                  <a:pt x="263525" y="63500"/>
                </a:cubicBezTo>
                <a:cubicBezTo>
                  <a:pt x="257704" y="57150"/>
                  <a:pt x="252942" y="47625"/>
                  <a:pt x="247650" y="41275"/>
                </a:cubicBezTo>
                <a:cubicBezTo>
                  <a:pt x="242358" y="34925"/>
                  <a:pt x="238125" y="30692"/>
                  <a:pt x="231775" y="25400"/>
                </a:cubicBezTo>
                <a:cubicBezTo>
                  <a:pt x="225425" y="20108"/>
                  <a:pt x="215900" y="12700"/>
                  <a:pt x="209550" y="9525"/>
                </a:cubicBezTo>
                <a:cubicBezTo>
                  <a:pt x="203200" y="6350"/>
                  <a:pt x="198437" y="5821"/>
                  <a:pt x="193675" y="6350"/>
                </a:cubicBezTo>
                <a:cubicBezTo>
                  <a:pt x="188912" y="6879"/>
                  <a:pt x="180975" y="12700"/>
                  <a:pt x="180975" y="12700"/>
                </a:cubicBezTo>
                <a:cubicBezTo>
                  <a:pt x="176742" y="15875"/>
                  <a:pt x="168275" y="25400"/>
                  <a:pt x="168275" y="25400"/>
                </a:cubicBezTo>
                <a:cubicBezTo>
                  <a:pt x="164571" y="27517"/>
                  <a:pt x="164041" y="26458"/>
                  <a:pt x="158750" y="25400"/>
                </a:cubicBezTo>
                <a:cubicBezTo>
                  <a:pt x="153459" y="24342"/>
                  <a:pt x="136525" y="19050"/>
                  <a:pt x="136525" y="19050"/>
                </a:cubicBezTo>
                <a:cubicBezTo>
                  <a:pt x="131233" y="17463"/>
                  <a:pt x="131762" y="16404"/>
                  <a:pt x="127000" y="15875"/>
                </a:cubicBezTo>
                <a:cubicBezTo>
                  <a:pt x="122237" y="15346"/>
                  <a:pt x="114300" y="16933"/>
                  <a:pt x="107950" y="15875"/>
                </a:cubicBezTo>
                <a:cubicBezTo>
                  <a:pt x="101600" y="14817"/>
                  <a:pt x="94721" y="12171"/>
                  <a:pt x="88900" y="9525"/>
                </a:cubicBezTo>
                <a:cubicBezTo>
                  <a:pt x="83079" y="6879"/>
                  <a:pt x="80433" y="0"/>
                  <a:pt x="73025" y="0"/>
                </a:cubicBezTo>
                <a:cubicBezTo>
                  <a:pt x="65617" y="0"/>
                  <a:pt x="52388" y="7937"/>
                  <a:pt x="44450" y="9525"/>
                </a:cubicBezTo>
                <a:cubicBezTo>
                  <a:pt x="36512" y="11113"/>
                  <a:pt x="25400" y="9525"/>
                  <a:pt x="25400" y="9525"/>
                </a:cubicBezTo>
                <a:cubicBezTo>
                  <a:pt x="20109" y="8467"/>
                  <a:pt x="16933" y="4233"/>
                  <a:pt x="12700" y="3175"/>
                </a:cubicBezTo>
                <a:cubicBezTo>
                  <a:pt x="8467" y="2117"/>
                  <a:pt x="4233" y="2646"/>
                  <a:pt x="0" y="317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Полилиния 79"/>
          <p:cNvSpPr/>
          <p:nvPr/>
        </p:nvSpPr>
        <p:spPr>
          <a:xfrm>
            <a:off x="7893050" y="3921125"/>
            <a:ext cx="441325" cy="206375"/>
          </a:xfrm>
          <a:custGeom>
            <a:avLst/>
            <a:gdLst>
              <a:gd name="connsiteX0" fmla="*/ 441325 w 441325"/>
              <a:gd name="connsiteY0" fmla="*/ 206375 h 206375"/>
              <a:gd name="connsiteX1" fmla="*/ 371475 w 441325"/>
              <a:gd name="connsiteY1" fmla="*/ 177800 h 206375"/>
              <a:gd name="connsiteX2" fmla="*/ 355600 w 441325"/>
              <a:gd name="connsiteY2" fmla="*/ 161925 h 206375"/>
              <a:gd name="connsiteX3" fmla="*/ 320675 w 441325"/>
              <a:gd name="connsiteY3" fmla="*/ 161925 h 206375"/>
              <a:gd name="connsiteX4" fmla="*/ 314325 w 441325"/>
              <a:gd name="connsiteY4" fmla="*/ 146050 h 206375"/>
              <a:gd name="connsiteX5" fmla="*/ 298450 w 441325"/>
              <a:gd name="connsiteY5" fmla="*/ 130175 h 206375"/>
              <a:gd name="connsiteX6" fmla="*/ 260350 w 441325"/>
              <a:gd name="connsiteY6" fmla="*/ 98425 h 206375"/>
              <a:gd name="connsiteX7" fmla="*/ 250825 w 441325"/>
              <a:gd name="connsiteY7" fmla="*/ 95250 h 206375"/>
              <a:gd name="connsiteX8" fmla="*/ 212725 w 441325"/>
              <a:gd name="connsiteY8" fmla="*/ 104775 h 206375"/>
              <a:gd name="connsiteX9" fmla="*/ 184150 w 441325"/>
              <a:gd name="connsiteY9" fmla="*/ 95250 h 206375"/>
              <a:gd name="connsiteX10" fmla="*/ 158750 w 441325"/>
              <a:gd name="connsiteY10" fmla="*/ 82550 h 206375"/>
              <a:gd name="connsiteX11" fmla="*/ 117475 w 441325"/>
              <a:gd name="connsiteY11" fmla="*/ 53975 h 206375"/>
              <a:gd name="connsiteX12" fmla="*/ 82550 w 441325"/>
              <a:gd name="connsiteY12" fmla="*/ 34925 h 206375"/>
              <a:gd name="connsiteX13" fmla="*/ 50800 w 441325"/>
              <a:gd name="connsiteY13" fmla="*/ 22225 h 206375"/>
              <a:gd name="connsiteX14" fmla="*/ 25400 w 441325"/>
              <a:gd name="connsiteY14" fmla="*/ 15875 h 206375"/>
              <a:gd name="connsiteX15" fmla="*/ 6350 w 441325"/>
              <a:gd name="connsiteY15" fmla="*/ 6350 h 206375"/>
              <a:gd name="connsiteX16" fmla="*/ 0 w 441325"/>
              <a:gd name="connsiteY16" fmla="*/ 0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1325" h="206375">
                <a:moveTo>
                  <a:pt x="441325" y="206375"/>
                </a:moveTo>
                <a:cubicBezTo>
                  <a:pt x="413543" y="195791"/>
                  <a:pt x="385762" y="185208"/>
                  <a:pt x="371475" y="177800"/>
                </a:cubicBezTo>
                <a:cubicBezTo>
                  <a:pt x="357188" y="170392"/>
                  <a:pt x="364067" y="164571"/>
                  <a:pt x="355600" y="161925"/>
                </a:cubicBezTo>
                <a:cubicBezTo>
                  <a:pt x="347133" y="159279"/>
                  <a:pt x="320675" y="161925"/>
                  <a:pt x="320675" y="161925"/>
                </a:cubicBezTo>
                <a:cubicBezTo>
                  <a:pt x="313796" y="159279"/>
                  <a:pt x="318029" y="151342"/>
                  <a:pt x="314325" y="146050"/>
                </a:cubicBezTo>
                <a:cubicBezTo>
                  <a:pt x="310621" y="140758"/>
                  <a:pt x="307446" y="138112"/>
                  <a:pt x="298450" y="130175"/>
                </a:cubicBezTo>
                <a:cubicBezTo>
                  <a:pt x="289454" y="122237"/>
                  <a:pt x="260350" y="98425"/>
                  <a:pt x="260350" y="98425"/>
                </a:cubicBezTo>
                <a:cubicBezTo>
                  <a:pt x="252413" y="92604"/>
                  <a:pt x="258762" y="94192"/>
                  <a:pt x="250825" y="95250"/>
                </a:cubicBezTo>
                <a:cubicBezTo>
                  <a:pt x="242888" y="96308"/>
                  <a:pt x="223837" y="104775"/>
                  <a:pt x="212725" y="104775"/>
                </a:cubicBezTo>
                <a:cubicBezTo>
                  <a:pt x="201613" y="104775"/>
                  <a:pt x="193146" y="98954"/>
                  <a:pt x="184150" y="95250"/>
                </a:cubicBezTo>
                <a:cubicBezTo>
                  <a:pt x="175154" y="91546"/>
                  <a:pt x="169862" y="89429"/>
                  <a:pt x="158750" y="82550"/>
                </a:cubicBezTo>
                <a:cubicBezTo>
                  <a:pt x="147638" y="75671"/>
                  <a:pt x="130175" y="61912"/>
                  <a:pt x="117475" y="53975"/>
                </a:cubicBezTo>
                <a:cubicBezTo>
                  <a:pt x="104775" y="46038"/>
                  <a:pt x="93662" y="40217"/>
                  <a:pt x="82550" y="34925"/>
                </a:cubicBezTo>
                <a:cubicBezTo>
                  <a:pt x="71437" y="29633"/>
                  <a:pt x="60325" y="25400"/>
                  <a:pt x="50800" y="22225"/>
                </a:cubicBezTo>
                <a:cubicBezTo>
                  <a:pt x="41275" y="19050"/>
                  <a:pt x="32808" y="18521"/>
                  <a:pt x="25400" y="15875"/>
                </a:cubicBezTo>
                <a:cubicBezTo>
                  <a:pt x="17992" y="13229"/>
                  <a:pt x="6350" y="6350"/>
                  <a:pt x="6350" y="6350"/>
                </a:cubicBezTo>
                <a:cubicBezTo>
                  <a:pt x="2117" y="3704"/>
                  <a:pt x="1058" y="1852"/>
                  <a:pt x="0" y="0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олилиния 80"/>
          <p:cNvSpPr/>
          <p:nvPr/>
        </p:nvSpPr>
        <p:spPr>
          <a:xfrm>
            <a:off x="7893050" y="3917950"/>
            <a:ext cx="441325" cy="206375"/>
          </a:xfrm>
          <a:custGeom>
            <a:avLst/>
            <a:gdLst>
              <a:gd name="connsiteX0" fmla="*/ 441325 w 441325"/>
              <a:gd name="connsiteY0" fmla="*/ 206375 h 206375"/>
              <a:gd name="connsiteX1" fmla="*/ 371475 w 441325"/>
              <a:gd name="connsiteY1" fmla="*/ 177800 h 206375"/>
              <a:gd name="connsiteX2" fmla="*/ 355600 w 441325"/>
              <a:gd name="connsiteY2" fmla="*/ 161925 h 206375"/>
              <a:gd name="connsiteX3" fmla="*/ 320675 w 441325"/>
              <a:gd name="connsiteY3" fmla="*/ 161925 h 206375"/>
              <a:gd name="connsiteX4" fmla="*/ 314325 w 441325"/>
              <a:gd name="connsiteY4" fmla="*/ 146050 h 206375"/>
              <a:gd name="connsiteX5" fmla="*/ 298450 w 441325"/>
              <a:gd name="connsiteY5" fmla="*/ 130175 h 206375"/>
              <a:gd name="connsiteX6" fmla="*/ 260350 w 441325"/>
              <a:gd name="connsiteY6" fmla="*/ 98425 h 206375"/>
              <a:gd name="connsiteX7" fmla="*/ 250825 w 441325"/>
              <a:gd name="connsiteY7" fmla="*/ 95250 h 206375"/>
              <a:gd name="connsiteX8" fmla="*/ 212725 w 441325"/>
              <a:gd name="connsiteY8" fmla="*/ 104775 h 206375"/>
              <a:gd name="connsiteX9" fmla="*/ 184150 w 441325"/>
              <a:gd name="connsiteY9" fmla="*/ 95250 h 206375"/>
              <a:gd name="connsiteX10" fmla="*/ 158750 w 441325"/>
              <a:gd name="connsiteY10" fmla="*/ 82550 h 206375"/>
              <a:gd name="connsiteX11" fmla="*/ 117475 w 441325"/>
              <a:gd name="connsiteY11" fmla="*/ 53975 h 206375"/>
              <a:gd name="connsiteX12" fmla="*/ 82550 w 441325"/>
              <a:gd name="connsiteY12" fmla="*/ 34925 h 206375"/>
              <a:gd name="connsiteX13" fmla="*/ 50800 w 441325"/>
              <a:gd name="connsiteY13" fmla="*/ 22225 h 206375"/>
              <a:gd name="connsiteX14" fmla="*/ 25400 w 441325"/>
              <a:gd name="connsiteY14" fmla="*/ 15875 h 206375"/>
              <a:gd name="connsiteX15" fmla="*/ 6350 w 441325"/>
              <a:gd name="connsiteY15" fmla="*/ 6350 h 206375"/>
              <a:gd name="connsiteX16" fmla="*/ 0 w 441325"/>
              <a:gd name="connsiteY16" fmla="*/ 0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1325" h="206375">
                <a:moveTo>
                  <a:pt x="441325" y="206375"/>
                </a:moveTo>
                <a:cubicBezTo>
                  <a:pt x="413543" y="195791"/>
                  <a:pt x="385762" y="185208"/>
                  <a:pt x="371475" y="177800"/>
                </a:cubicBezTo>
                <a:cubicBezTo>
                  <a:pt x="357188" y="170392"/>
                  <a:pt x="364067" y="164571"/>
                  <a:pt x="355600" y="161925"/>
                </a:cubicBezTo>
                <a:cubicBezTo>
                  <a:pt x="347133" y="159279"/>
                  <a:pt x="320675" y="161925"/>
                  <a:pt x="320675" y="161925"/>
                </a:cubicBezTo>
                <a:cubicBezTo>
                  <a:pt x="313796" y="159279"/>
                  <a:pt x="318029" y="151342"/>
                  <a:pt x="314325" y="146050"/>
                </a:cubicBezTo>
                <a:cubicBezTo>
                  <a:pt x="310621" y="140758"/>
                  <a:pt x="307446" y="138112"/>
                  <a:pt x="298450" y="130175"/>
                </a:cubicBezTo>
                <a:cubicBezTo>
                  <a:pt x="289454" y="122237"/>
                  <a:pt x="260350" y="98425"/>
                  <a:pt x="260350" y="98425"/>
                </a:cubicBezTo>
                <a:cubicBezTo>
                  <a:pt x="252413" y="92604"/>
                  <a:pt x="258762" y="94192"/>
                  <a:pt x="250825" y="95250"/>
                </a:cubicBezTo>
                <a:cubicBezTo>
                  <a:pt x="242888" y="96308"/>
                  <a:pt x="223837" y="104775"/>
                  <a:pt x="212725" y="104775"/>
                </a:cubicBezTo>
                <a:cubicBezTo>
                  <a:pt x="201613" y="104775"/>
                  <a:pt x="193146" y="98954"/>
                  <a:pt x="184150" y="95250"/>
                </a:cubicBezTo>
                <a:cubicBezTo>
                  <a:pt x="175154" y="91546"/>
                  <a:pt x="169862" y="89429"/>
                  <a:pt x="158750" y="82550"/>
                </a:cubicBezTo>
                <a:cubicBezTo>
                  <a:pt x="147638" y="75671"/>
                  <a:pt x="130175" y="61912"/>
                  <a:pt x="117475" y="53975"/>
                </a:cubicBezTo>
                <a:cubicBezTo>
                  <a:pt x="104775" y="46038"/>
                  <a:pt x="93662" y="40217"/>
                  <a:pt x="82550" y="34925"/>
                </a:cubicBezTo>
                <a:cubicBezTo>
                  <a:pt x="71437" y="29633"/>
                  <a:pt x="60325" y="25400"/>
                  <a:pt x="50800" y="22225"/>
                </a:cubicBezTo>
                <a:cubicBezTo>
                  <a:pt x="41275" y="19050"/>
                  <a:pt x="32808" y="18521"/>
                  <a:pt x="25400" y="15875"/>
                </a:cubicBezTo>
                <a:cubicBezTo>
                  <a:pt x="17992" y="13229"/>
                  <a:pt x="6350" y="6350"/>
                  <a:pt x="6350" y="6350"/>
                </a:cubicBezTo>
                <a:cubicBezTo>
                  <a:pt x="2117" y="3704"/>
                  <a:pt x="1058" y="1852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Полилиния 85"/>
          <p:cNvSpPr/>
          <p:nvPr/>
        </p:nvSpPr>
        <p:spPr>
          <a:xfrm>
            <a:off x="1831975" y="4283075"/>
            <a:ext cx="158750" cy="200025"/>
          </a:xfrm>
          <a:custGeom>
            <a:avLst/>
            <a:gdLst>
              <a:gd name="connsiteX0" fmla="*/ 158750 w 158750"/>
              <a:gd name="connsiteY0" fmla="*/ 200025 h 200025"/>
              <a:gd name="connsiteX1" fmla="*/ 111125 w 158750"/>
              <a:gd name="connsiteY1" fmla="*/ 158750 h 200025"/>
              <a:gd name="connsiteX2" fmla="*/ 73025 w 158750"/>
              <a:gd name="connsiteY2" fmla="*/ 107950 h 200025"/>
              <a:gd name="connsiteX3" fmla="*/ 60325 w 158750"/>
              <a:gd name="connsiteY3" fmla="*/ 92075 h 200025"/>
              <a:gd name="connsiteX4" fmla="*/ 50800 w 158750"/>
              <a:gd name="connsiteY4" fmla="*/ 76200 h 200025"/>
              <a:gd name="connsiteX5" fmla="*/ 50800 w 158750"/>
              <a:gd name="connsiteY5" fmla="*/ 53975 h 200025"/>
              <a:gd name="connsiteX6" fmla="*/ 47625 w 158750"/>
              <a:gd name="connsiteY6" fmla="*/ 38100 h 200025"/>
              <a:gd name="connsiteX7" fmla="*/ 44450 w 158750"/>
              <a:gd name="connsiteY7" fmla="*/ 31750 h 200025"/>
              <a:gd name="connsiteX8" fmla="*/ 28575 w 158750"/>
              <a:gd name="connsiteY8" fmla="*/ 15875 h 200025"/>
              <a:gd name="connsiteX9" fmla="*/ 12700 w 158750"/>
              <a:gd name="connsiteY9" fmla="*/ 6350 h 200025"/>
              <a:gd name="connsiteX10" fmla="*/ 0 w 158750"/>
              <a:gd name="connsiteY10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8750" h="200025">
                <a:moveTo>
                  <a:pt x="158750" y="200025"/>
                </a:moveTo>
                <a:cubicBezTo>
                  <a:pt x="142081" y="187060"/>
                  <a:pt x="125412" y="174096"/>
                  <a:pt x="111125" y="158750"/>
                </a:cubicBezTo>
                <a:cubicBezTo>
                  <a:pt x="96837" y="143404"/>
                  <a:pt x="81492" y="119062"/>
                  <a:pt x="73025" y="107950"/>
                </a:cubicBezTo>
                <a:cubicBezTo>
                  <a:pt x="64558" y="96838"/>
                  <a:pt x="64029" y="97367"/>
                  <a:pt x="60325" y="92075"/>
                </a:cubicBezTo>
                <a:cubicBezTo>
                  <a:pt x="56621" y="86783"/>
                  <a:pt x="52387" y="82550"/>
                  <a:pt x="50800" y="76200"/>
                </a:cubicBezTo>
                <a:cubicBezTo>
                  <a:pt x="49212" y="69850"/>
                  <a:pt x="50800" y="53975"/>
                  <a:pt x="50800" y="53975"/>
                </a:cubicBezTo>
                <a:cubicBezTo>
                  <a:pt x="50271" y="47625"/>
                  <a:pt x="47625" y="38100"/>
                  <a:pt x="47625" y="38100"/>
                </a:cubicBezTo>
                <a:cubicBezTo>
                  <a:pt x="46567" y="34396"/>
                  <a:pt x="47625" y="35454"/>
                  <a:pt x="44450" y="31750"/>
                </a:cubicBezTo>
                <a:cubicBezTo>
                  <a:pt x="41275" y="28046"/>
                  <a:pt x="33867" y="20108"/>
                  <a:pt x="28575" y="15875"/>
                </a:cubicBezTo>
                <a:cubicBezTo>
                  <a:pt x="23283" y="11642"/>
                  <a:pt x="12700" y="6350"/>
                  <a:pt x="12700" y="6350"/>
                </a:cubicBezTo>
                <a:cubicBezTo>
                  <a:pt x="7938" y="3704"/>
                  <a:pt x="3969" y="1852"/>
                  <a:pt x="0" y="0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Полилиния 86"/>
          <p:cNvSpPr/>
          <p:nvPr/>
        </p:nvSpPr>
        <p:spPr>
          <a:xfrm>
            <a:off x="1828800" y="4276725"/>
            <a:ext cx="158750" cy="200025"/>
          </a:xfrm>
          <a:custGeom>
            <a:avLst/>
            <a:gdLst>
              <a:gd name="connsiteX0" fmla="*/ 158750 w 158750"/>
              <a:gd name="connsiteY0" fmla="*/ 200025 h 200025"/>
              <a:gd name="connsiteX1" fmla="*/ 111125 w 158750"/>
              <a:gd name="connsiteY1" fmla="*/ 158750 h 200025"/>
              <a:gd name="connsiteX2" fmla="*/ 73025 w 158750"/>
              <a:gd name="connsiteY2" fmla="*/ 107950 h 200025"/>
              <a:gd name="connsiteX3" fmla="*/ 60325 w 158750"/>
              <a:gd name="connsiteY3" fmla="*/ 92075 h 200025"/>
              <a:gd name="connsiteX4" fmla="*/ 50800 w 158750"/>
              <a:gd name="connsiteY4" fmla="*/ 76200 h 200025"/>
              <a:gd name="connsiteX5" fmla="*/ 50800 w 158750"/>
              <a:gd name="connsiteY5" fmla="*/ 53975 h 200025"/>
              <a:gd name="connsiteX6" fmla="*/ 47625 w 158750"/>
              <a:gd name="connsiteY6" fmla="*/ 38100 h 200025"/>
              <a:gd name="connsiteX7" fmla="*/ 44450 w 158750"/>
              <a:gd name="connsiteY7" fmla="*/ 31750 h 200025"/>
              <a:gd name="connsiteX8" fmla="*/ 28575 w 158750"/>
              <a:gd name="connsiteY8" fmla="*/ 15875 h 200025"/>
              <a:gd name="connsiteX9" fmla="*/ 12700 w 158750"/>
              <a:gd name="connsiteY9" fmla="*/ 6350 h 200025"/>
              <a:gd name="connsiteX10" fmla="*/ 0 w 158750"/>
              <a:gd name="connsiteY10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8750" h="200025">
                <a:moveTo>
                  <a:pt x="158750" y="200025"/>
                </a:moveTo>
                <a:cubicBezTo>
                  <a:pt x="142081" y="187060"/>
                  <a:pt x="125412" y="174096"/>
                  <a:pt x="111125" y="158750"/>
                </a:cubicBezTo>
                <a:cubicBezTo>
                  <a:pt x="96837" y="143404"/>
                  <a:pt x="81492" y="119062"/>
                  <a:pt x="73025" y="107950"/>
                </a:cubicBezTo>
                <a:cubicBezTo>
                  <a:pt x="64558" y="96838"/>
                  <a:pt x="64029" y="97367"/>
                  <a:pt x="60325" y="92075"/>
                </a:cubicBezTo>
                <a:cubicBezTo>
                  <a:pt x="56621" y="86783"/>
                  <a:pt x="52387" y="82550"/>
                  <a:pt x="50800" y="76200"/>
                </a:cubicBezTo>
                <a:cubicBezTo>
                  <a:pt x="49212" y="69850"/>
                  <a:pt x="50800" y="53975"/>
                  <a:pt x="50800" y="53975"/>
                </a:cubicBezTo>
                <a:cubicBezTo>
                  <a:pt x="50271" y="47625"/>
                  <a:pt x="47625" y="38100"/>
                  <a:pt x="47625" y="38100"/>
                </a:cubicBezTo>
                <a:cubicBezTo>
                  <a:pt x="46567" y="34396"/>
                  <a:pt x="47625" y="35454"/>
                  <a:pt x="44450" y="31750"/>
                </a:cubicBezTo>
                <a:cubicBezTo>
                  <a:pt x="41275" y="28046"/>
                  <a:pt x="33867" y="20108"/>
                  <a:pt x="28575" y="15875"/>
                </a:cubicBezTo>
                <a:cubicBezTo>
                  <a:pt x="23283" y="11642"/>
                  <a:pt x="12700" y="6350"/>
                  <a:pt x="12700" y="6350"/>
                </a:cubicBezTo>
                <a:cubicBezTo>
                  <a:pt x="7938" y="3704"/>
                  <a:pt x="3969" y="1852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олилиния 88"/>
          <p:cNvSpPr/>
          <p:nvPr/>
        </p:nvSpPr>
        <p:spPr>
          <a:xfrm>
            <a:off x="1149350" y="2158437"/>
            <a:ext cx="190500" cy="21289"/>
          </a:xfrm>
          <a:custGeom>
            <a:avLst/>
            <a:gdLst>
              <a:gd name="connsiteX0" fmla="*/ 190500 w 190500"/>
              <a:gd name="connsiteY0" fmla="*/ 6913 h 21289"/>
              <a:gd name="connsiteX1" fmla="*/ 136525 w 190500"/>
              <a:gd name="connsiteY1" fmla="*/ 563 h 21289"/>
              <a:gd name="connsiteX2" fmla="*/ 120650 w 190500"/>
              <a:gd name="connsiteY2" fmla="*/ 19613 h 21289"/>
              <a:gd name="connsiteX3" fmla="*/ 92075 w 190500"/>
              <a:gd name="connsiteY3" fmla="*/ 19613 h 21289"/>
              <a:gd name="connsiteX4" fmla="*/ 69850 w 190500"/>
              <a:gd name="connsiteY4" fmla="*/ 13263 h 21289"/>
              <a:gd name="connsiteX5" fmla="*/ 34925 w 190500"/>
              <a:gd name="connsiteY5" fmla="*/ 10088 h 21289"/>
              <a:gd name="connsiteX6" fmla="*/ 15875 w 190500"/>
              <a:gd name="connsiteY6" fmla="*/ 10088 h 21289"/>
              <a:gd name="connsiteX7" fmla="*/ 0 w 190500"/>
              <a:gd name="connsiteY7" fmla="*/ 10088 h 2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0" h="21289">
                <a:moveTo>
                  <a:pt x="190500" y="6913"/>
                </a:moveTo>
                <a:cubicBezTo>
                  <a:pt x="169333" y="2679"/>
                  <a:pt x="148167" y="-1554"/>
                  <a:pt x="136525" y="563"/>
                </a:cubicBezTo>
                <a:cubicBezTo>
                  <a:pt x="124883" y="2680"/>
                  <a:pt x="128058" y="16438"/>
                  <a:pt x="120650" y="19613"/>
                </a:cubicBezTo>
                <a:cubicBezTo>
                  <a:pt x="113242" y="22788"/>
                  <a:pt x="100542" y="20671"/>
                  <a:pt x="92075" y="19613"/>
                </a:cubicBezTo>
                <a:cubicBezTo>
                  <a:pt x="83608" y="18555"/>
                  <a:pt x="79375" y="14851"/>
                  <a:pt x="69850" y="13263"/>
                </a:cubicBezTo>
                <a:cubicBezTo>
                  <a:pt x="60325" y="11676"/>
                  <a:pt x="43921" y="10617"/>
                  <a:pt x="34925" y="10088"/>
                </a:cubicBezTo>
                <a:cubicBezTo>
                  <a:pt x="25929" y="9559"/>
                  <a:pt x="15875" y="10088"/>
                  <a:pt x="15875" y="10088"/>
                </a:cubicBezTo>
                <a:lnTo>
                  <a:pt x="0" y="10088"/>
                </a:ln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Полилиния 89"/>
          <p:cNvSpPr/>
          <p:nvPr/>
        </p:nvSpPr>
        <p:spPr>
          <a:xfrm>
            <a:off x="1143000" y="2155262"/>
            <a:ext cx="190500" cy="21289"/>
          </a:xfrm>
          <a:custGeom>
            <a:avLst/>
            <a:gdLst>
              <a:gd name="connsiteX0" fmla="*/ 190500 w 190500"/>
              <a:gd name="connsiteY0" fmla="*/ 6913 h 21289"/>
              <a:gd name="connsiteX1" fmla="*/ 136525 w 190500"/>
              <a:gd name="connsiteY1" fmla="*/ 563 h 21289"/>
              <a:gd name="connsiteX2" fmla="*/ 120650 w 190500"/>
              <a:gd name="connsiteY2" fmla="*/ 19613 h 21289"/>
              <a:gd name="connsiteX3" fmla="*/ 92075 w 190500"/>
              <a:gd name="connsiteY3" fmla="*/ 19613 h 21289"/>
              <a:gd name="connsiteX4" fmla="*/ 69850 w 190500"/>
              <a:gd name="connsiteY4" fmla="*/ 13263 h 21289"/>
              <a:gd name="connsiteX5" fmla="*/ 34925 w 190500"/>
              <a:gd name="connsiteY5" fmla="*/ 10088 h 21289"/>
              <a:gd name="connsiteX6" fmla="*/ 15875 w 190500"/>
              <a:gd name="connsiteY6" fmla="*/ 10088 h 21289"/>
              <a:gd name="connsiteX7" fmla="*/ 0 w 190500"/>
              <a:gd name="connsiteY7" fmla="*/ 10088 h 2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0" h="21289">
                <a:moveTo>
                  <a:pt x="190500" y="6913"/>
                </a:moveTo>
                <a:cubicBezTo>
                  <a:pt x="169333" y="2679"/>
                  <a:pt x="148167" y="-1554"/>
                  <a:pt x="136525" y="563"/>
                </a:cubicBezTo>
                <a:cubicBezTo>
                  <a:pt x="124883" y="2680"/>
                  <a:pt x="128058" y="16438"/>
                  <a:pt x="120650" y="19613"/>
                </a:cubicBezTo>
                <a:cubicBezTo>
                  <a:pt x="113242" y="22788"/>
                  <a:pt x="100542" y="20671"/>
                  <a:pt x="92075" y="19613"/>
                </a:cubicBezTo>
                <a:cubicBezTo>
                  <a:pt x="83608" y="18555"/>
                  <a:pt x="79375" y="14851"/>
                  <a:pt x="69850" y="13263"/>
                </a:cubicBezTo>
                <a:cubicBezTo>
                  <a:pt x="60325" y="11676"/>
                  <a:pt x="43921" y="10617"/>
                  <a:pt x="34925" y="10088"/>
                </a:cubicBezTo>
                <a:cubicBezTo>
                  <a:pt x="25929" y="9559"/>
                  <a:pt x="15875" y="10088"/>
                  <a:pt x="15875" y="10088"/>
                </a:cubicBezTo>
                <a:lnTo>
                  <a:pt x="0" y="10088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Полилиния 90"/>
          <p:cNvSpPr/>
          <p:nvPr/>
        </p:nvSpPr>
        <p:spPr>
          <a:xfrm rot="20925388">
            <a:off x="1073150" y="2120900"/>
            <a:ext cx="82550" cy="57150"/>
          </a:xfrm>
          <a:custGeom>
            <a:avLst/>
            <a:gdLst>
              <a:gd name="connsiteX0" fmla="*/ 82550 w 82550"/>
              <a:gd name="connsiteY0" fmla="*/ 57150 h 57150"/>
              <a:gd name="connsiteX1" fmla="*/ 28575 w 82550"/>
              <a:gd name="connsiteY1" fmla="*/ 25400 h 57150"/>
              <a:gd name="connsiteX2" fmla="*/ 6350 w 82550"/>
              <a:gd name="connsiteY2" fmla="*/ 9525 h 57150"/>
              <a:gd name="connsiteX3" fmla="*/ 0 w 82550"/>
              <a:gd name="connsiteY3" fmla="*/ 0 h 5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57150">
                <a:moveTo>
                  <a:pt x="82550" y="57150"/>
                </a:moveTo>
                <a:cubicBezTo>
                  <a:pt x="61912" y="45243"/>
                  <a:pt x="41275" y="33337"/>
                  <a:pt x="28575" y="25400"/>
                </a:cubicBezTo>
                <a:cubicBezTo>
                  <a:pt x="15875" y="17463"/>
                  <a:pt x="6350" y="9525"/>
                  <a:pt x="6350" y="9525"/>
                </a:cubicBezTo>
                <a:cubicBezTo>
                  <a:pt x="1588" y="5292"/>
                  <a:pt x="794" y="2646"/>
                  <a:pt x="0" y="0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Полилиния 91"/>
          <p:cNvSpPr/>
          <p:nvPr/>
        </p:nvSpPr>
        <p:spPr>
          <a:xfrm rot="20800529">
            <a:off x="1066800" y="2117725"/>
            <a:ext cx="82550" cy="57150"/>
          </a:xfrm>
          <a:custGeom>
            <a:avLst/>
            <a:gdLst>
              <a:gd name="connsiteX0" fmla="*/ 82550 w 82550"/>
              <a:gd name="connsiteY0" fmla="*/ 57150 h 57150"/>
              <a:gd name="connsiteX1" fmla="*/ 28575 w 82550"/>
              <a:gd name="connsiteY1" fmla="*/ 25400 h 57150"/>
              <a:gd name="connsiteX2" fmla="*/ 6350 w 82550"/>
              <a:gd name="connsiteY2" fmla="*/ 9525 h 57150"/>
              <a:gd name="connsiteX3" fmla="*/ 0 w 82550"/>
              <a:gd name="connsiteY3" fmla="*/ 0 h 5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57150">
                <a:moveTo>
                  <a:pt x="82550" y="57150"/>
                </a:moveTo>
                <a:cubicBezTo>
                  <a:pt x="61912" y="45243"/>
                  <a:pt x="41275" y="33337"/>
                  <a:pt x="28575" y="25400"/>
                </a:cubicBezTo>
                <a:cubicBezTo>
                  <a:pt x="15875" y="17463"/>
                  <a:pt x="6350" y="9525"/>
                  <a:pt x="6350" y="9525"/>
                </a:cubicBezTo>
                <a:cubicBezTo>
                  <a:pt x="1588" y="5292"/>
                  <a:pt x="794" y="2646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Полилиния 93"/>
          <p:cNvSpPr/>
          <p:nvPr/>
        </p:nvSpPr>
        <p:spPr>
          <a:xfrm>
            <a:off x="542925" y="3422631"/>
            <a:ext cx="622300" cy="143599"/>
          </a:xfrm>
          <a:custGeom>
            <a:avLst/>
            <a:gdLst>
              <a:gd name="connsiteX0" fmla="*/ 0 w 622300"/>
              <a:gd name="connsiteY0" fmla="*/ 136544 h 143599"/>
              <a:gd name="connsiteX1" fmla="*/ 66675 w 622300"/>
              <a:gd name="connsiteY1" fmla="*/ 127019 h 143599"/>
              <a:gd name="connsiteX2" fmla="*/ 101600 w 622300"/>
              <a:gd name="connsiteY2" fmla="*/ 130194 h 143599"/>
              <a:gd name="connsiteX3" fmla="*/ 139700 w 622300"/>
              <a:gd name="connsiteY3" fmla="*/ 139719 h 143599"/>
              <a:gd name="connsiteX4" fmla="*/ 165100 w 622300"/>
              <a:gd name="connsiteY4" fmla="*/ 142894 h 143599"/>
              <a:gd name="connsiteX5" fmla="*/ 187325 w 622300"/>
              <a:gd name="connsiteY5" fmla="*/ 142894 h 143599"/>
              <a:gd name="connsiteX6" fmla="*/ 209550 w 622300"/>
              <a:gd name="connsiteY6" fmla="*/ 142894 h 143599"/>
              <a:gd name="connsiteX7" fmla="*/ 231775 w 622300"/>
              <a:gd name="connsiteY7" fmla="*/ 133369 h 143599"/>
              <a:gd name="connsiteX8" fmla="*/ 273050 w 622300"/>
              <a:gd name="connsiteY8" fmla="*/ 104794 h 143599"/>
              <a:gd name="connsiteX9" fmla="*/ 304800 w 622300"/>
              <a:gd name="connsiteY9" fmla="*/ 92094 h 143599"/>
              <a:gd name="connsiteX10" fmla="*/ 355600 w 622300"/>
              <a:gd name="connsiteY10" fmla="*/ 79394 h 143599"/>
              <a:gd name="connsiteX11" fmla="*/ 415925 w 622300"/>
              <a:gd name="connsiteY11" fmla="*/ 60344 h 143599"/>
              <a:gd name="connsiteX12" fmla="*/ 444500 w 622300"/>
              <a:gd name="connsiteY12" fmla="*/ 53994 h 143599"/>
              <a:gd name="connsiteX13" fmla="*/ 460375 w 622300"/>
              <a:gd name="connsiteY13" fmla="*/ 44469 h 143599"/>
              <a:gd name="connsiteX14" fmla="*/ 473075 w 622300"/>
              <a:gd name="connsiteY14" fmla="*/ 15894 h 143599"/>
              <a:gd name="connsiteX15" fmla="*/ 488950 w 622300"/>
              <a:gd name="connsiteY15" fmla="*/ 19 h 143599"/>
              <a:gd name="connsiteX16" fmla="*/ 520700 w 622300"/>
              <a:gd name="connsiteY16" fmla="*/ 12719 h 143599"/>
              <a:gd name="connsiteX17" fmla="*/ 536575 w 622300"/>
              <a:gd name="connsiteY17" fmla="*/ 15894 h 143599"/>
              <a:gd name="connsiteX18" fmla="*/ 574675 w 622300"/>
              <a:gd name="connsiteY18" fmla="*/ 31769 h 143599"/>
              <a:gd name="connsiteX19" fmla="*/ 596900 w 622300"/>
              <a:gd name="connsiteY19" fmla="*/ 41294 h 143599"/>
              <a:gd name="connsiteX20" fmla="*/ 609600 w 622300"/>
              <a:gd name="connsiteY20" fmla="*/ 44469 h 143599"/>
              <a:gd name="connsiteX21" fmla="*/ 622300 w 622300"/>
              <a:gd name="connsiteY21" fmla="*/ 50819 h 14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22300" h="143599">
                <a:moveTo>
                  <a:pt x="0" y="136544"/>
                </a:moveTo>
                <a:cubicBezTo>
                  <a:pt x="24871" y="132310"/>
                  <a:pt x="49742" y="128077"/>
                  <a:pt x="66675" y="127019"/>
                </a:cubicBezTo>
                <a:cubicBezTo>
                  <a:pt x="83608" y="125961"/>
                  <a:pt x="89429" y="128077"/>
                  <a:pt x="101600" y="130194"/>
                </a:cubicBezTo>
                <a:cubicBezTo>
                  <a:pt x="113771" y="132311"/>
                  <a:pt x="129117" y="137602"/>
                  <a:pt x="139700" y="139719"/>
                </a:cubicBezTo>
                <a:cubicBezTo>
                  <a:pt x="150283" y="141836"/>
                  <a:pt x="157163" y="142365"/>
                  <a:pt x="165100" y="142894"/>
                </a:cubicBezTo>
                <a:cubicBezTo>
                  <a:pt x="173038" y="143423"/>
                  <a:pt x="187325" y="142894"/>
                  <a:pt x="187325" y="142894"/>
                </a:cubicBezTo>
                <a:cubicBezTo>
                  <a:pt x="194733" y="142894"/>
                  <a:pt x="202142" y="144481"/>
                  <a:pt x="209550" y="142894"/>
                </a:cubicBezTo>
                <a:cubicBezTo>
                  <a:pt x="216958" y="141307"/>
                  <a:pt x="221192" y="139719"/>
                  <a:pt x="231775" y="133369"/>
                </a:cubicBezTo>
                <a:cubicBezTo>
                  <a:pt x="242358" y="127019"/>
                  <a:pt x="260879" y="111673"/>
                  <a:pt x="273050" y="104794"/>
                </a:cubicBezTo>
                <a:cubicBezTo>
                  <a:pt x="285221" y="97915"/>
                  <a:pt x="291042" y="96327"/>
                  <a:pt x="304800" y="92094"/>
                </a:cubicBezTo>
                <a:cubicBezTo>
                  <a:pt x="318558" y="87861"/>
                  <a:pt x="337079" y="84686"/>
                  <a:pt x="355600" y="79394"/>
                </a:cubicBezTo>
                <a:cubicBezTo>
                  <a:pt x="374121" y="74102"/>
                  <a:pt x="401108" y="64577"/>
                  <a:pt x="415925" y="60344"/>
                </a:cubicBezTo>
                <a:cubicBezTo>
                  <a:pt x="430742" y="56111"/>
                  <a:pt x="437092" y="56640"/>
                  <a:pt x="444500" y="53994"/>
                </a:cubicBezTo>
                <a:cubicBezTo>
                  <a:pt x="451908" y="51348"/>
                  <a:pt x="455613" y="50819"/>
                  <a:pt x="460375" y="44469"/>
                </a:cubicBezTo>
                <a:cubicBezTo>
                  <a:pt x="465137" y="38119"/>
                  <a:pt x="468313" y="23302"/>
                  <a:pt x="473075" y="15894"/>
                </a:cubicBezTo>
                <a:cubicBezTo>
                  <a:pt x="477838" y="8486"/>
                  <a:pt x="481013" y="548"/>
                  <a:pt x="488950" y="19"/>
                </a:cubicBezTo>
                <a:cubicBezTo>
                  <a:pt x="496888" y="-510"/>
                  <a:pt x="512763" y="10073"/>
                  <a:pt x="520700" y="12719"/>
                </a:cubicBezTo>
                <a:cubicBezTo>
                  <a:pt x="528637" y="15365"/>
                  <a:pt x="527579" y="12719"/>
                  <a:pt x="536575" y="15894"/>
                </a:cubicBezTo>
                <a:cubicBezTo>
                  <a:pt x="545571" y="19069"/>
                  <a:pt x="574675" y="31769"/>
                  <a:pt x="574675" y="31769"/>
                </a:cubicBezTo>
                <a:lnTo>
                  <a:pt x="596900" y="41294"/>
                </a:lnTo>
                <a:cubicBezTo>
                  <a:pt x="602721" y="43411"/>
                  <a:pt x="609600" y="44469"/>
                  <a:pt x="609600" y="44469"/>
                </a:cubicBezTo>
                <a:cubicBezTo>
                  <a:pt x="613833" y="46056"/>
                  <a:pt x="618066" y="48437"/>
                  <a:pt x="622300" y="50819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олилиния 1"/>
          <p:cNvSpPr/>
          <p:nvPr/>
        </p:nvSpPr>
        <p:spPr>
          <a:xfrm>
            <a:off x="1160890" y="2177936"/>
            <a:ext cx="218019" cy="1342504"/>
          </a:xfrm>
          <a:custGeom>
            <a:avLst/>
            <a:gdLst>
              <a:gd name="connsiteX0" fmla="*/ 212343 w 212343"/>
              <a:gd name="connsiteY0" fmla="*/ 0 h 1342505"/>
              <a:gd name="connsiteX1" fmla="*/ 158310 w 212343"/>
              <a:gd name="connsiteY1" fmla="*/ 58189 h 1342505"/>
              <a:gd name="connsiteX2" fmla="*/ 141685 w 212343"/>
              <a:gd name="connsiteY2" fmla="*/ 91440 h 1342505"/>
              <a:gd name="connsiteX3" fmla="*/ 129216 w 212343"/>
              <a:gd name="connsiteY3" fmla="*/ 141316 h 1342505"/>
              <a:gd name="connsiteX4" fmla="*/ 112590 w 212343"/>
              <a:gd name="connsiteY4" fmla="*/ 178723 h 1342505"/>
              <a:gd name="connsiteX5" fmla="*/ 95965 w 212343"/>
              <a:gd name="connsiteY5" fmla="*/ 224443 h 1342505"/>
              <a:gd name="connsiteX6" fmla="*/ 83496 w 212343"/>
              <a:gd name="connsiteY6" fmla="*/ 257694 h 1342505"/>
              <a:gd name="connsiteX7" fmla="*/ 100121 w 212343"/>
              <a:gd name="connsiteY7" fmla="*/ 295101 h 1342505"/>
              <a:gd name="connsiteX8" fmla="*/ 100121 w 212343"/>
              <a:gd name="connsiteY8" fmla="*/ 332509 h 1342505"/>
              <a:gd name="connsiteX9" fmla="*/ 104277 w 212343"/>
              <a:gd name="connsiteY9" fmla="*/ 390698 h 1342505"/>
              <a:gd name="connsiteX10" fmla="*/ 116747 w 212343"/>
              <a:gd name="connsiteY10" fmla="*/ 448887 h 1342505"/>
              <a:gd name="connsiteX11" fmla="*/ 133372 w 212343"/>
              <a:gd name="connsiteY11" fmla="*/ 527858 h 1342505"/>
              <a:gd name="connsiteX12" fmla="*/ 158310 w 212343"/>
              <a:gd name="connsiteY12" fmla="*/ 573578 h 1342505"/>
              <a:gd name="connsiteX13" fmla="*/ 170779 w 212343"/>
              <a:gd name="connsiteY13" fmla="*/ 594360 h 1342505"/>
              <a:gd name="connsiteX14" fmla="*/ 179092 w 212343"/>
              <a:gd name="connsiteY14" fmla="*/ 656705 h 1342505"/>
              <a:gd name="connsiteX15" fmla="*/ 170779 w 212343"/>
              <a:gd name="connsiteY15" fmla="*/ 685800 h 1342505"/>
              <a:gd name="connsiteX16" fmla="*/ 162467 w 212343"/>
              <a:gd name="connsiteY16" fmla="*/ 714894 h 1342505"/>
              <a:gd name="connsiteX17" fmla="*/ 141685 w 212343"/>
              <a:gd name="connsiteY17" fmla="*/ 748145 h 1342505"/>
              <a:gd name="connsiteX18" fmla="*/ 133372 w 212343"/>
              <a:gd name="connsiteY18" fmla="*/ 802178 h 1342505"/>
              <a:gd name="connsiteX19" fmla="*/ 108434 w 212343"/>
              <a:gd name="connsiteY19" fmla="*/ 860367 h 1342505"/>
              <a:gd name="connsiteX20" fmla="*/ 100121 w 212343"/>
              <a:gd name="connsiteY20" fmla="*/ 868680 h 1342505"/>
              <a:gd name="connsiteX21" fmla="*/ 50245 w 212343"/>
              <a:gd name="connsiteY21" fmla="*/ 910243 h 1342505"/>
              <a:gd name="connsiteX22" fmla="*/ 37776 w 212343"/>
              <a:gd name="connsiteY22" fmla="*/ 955963 h 1342505"/>
              <a:gd name="connsiteX23" fmla="*/ 29463 w 212343"/>
              <a:gd name="connsiteY23" fmla="*/ 993371 h 1342505"/>
              <a:gd name="connsiteX24" fmla="*/ 25307 w 212343"/>
              <a:gd name="connsiteY24" fmla="*/ 1022465 h 1342505"/>
              <a:gd name="connsiteX25" fmla="*/ 29463 w 212343"/>
              <a:gd name="connsiteY25" fmla="*/ 1051560 h 1342505"/>
              <a:gd name="connsiteX26" fmla="*/ 16994 w 212343"/>
              <a:gd name="connsiteY26" fmla="*/ 1097280 h 1342505"/>
              <a:gd name="connsiteX27" fmla="*/ 4525 w 212343"/>
              <a:gd name="connsiteY27" fmla="*/ 1155469 h 1342505"/>
              <a:gd name="connsiteX28" fmla="*/ 368 w 212343"/>
              <a:gd name="connsiteY28" fmla="*/ 1197032 h 1342505"/>
              <a:gd name="connsiteX29" fmla="*/ 12837 w 212343"/>
              <a:gd name="connsiteY29" fmla="*/ 1242752 h 1342505"/>
              <a:gd name="connsiteX30" fmla="*/ 21150 w 212343"/>
              <a:gd name="connsiteY30" fmla="*/ 1259378 h 1342505"/>
              <a:gd name="connsiteX31" fmla="*/ 29463 w 212343"/>
              <a:gd name="connsiteY31" fmla="*/ 1292629 h 1342505"/>
              <a:gd name="connsiteX32" fmla="*/ 33619 w 212343"/>
              <a:gd name="connsiteY32" fmla="*/ 1330036 h 1342505"/>
              <a:gd name="connsiteX33" fmla="*/ 37776 w 212343"/>
              <a:gd name="connsiteY33" fmla="*/ 1342505 h 1342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212343" h="1342505">
                <a:moveTo>
                  <a:pt x="212343" y="0"/>
                </a:moveTo>
                <a:cubicBezTo>
                  <a:pt x="191214" y="21474"/>
                  <a:pt x="170086" y="42949"/>
                  <a:pt x="158310" y="58189"/>
                </a:cubicBezTo>
                <a:cubicBezTo>
                  <a:pt x="146534" y="73429"/>
                  <a:pt x="146534" y="77586"/>
                  <a:pt x="141685" y="91440"/>
                </a:cubicBezTo>
                <a:cubicBezTo>
                  <a:pt x="136836" y="105294"/>
                  <a:pt x="134065" y="126769"/>
                  <a:pt x="129216" y="141316"/>
                </a:cubicBezTo>
                <a:cubicBezTo>
                  <a:pt x="124367" y="155863"/>
                  <a:pt x="118132" y="164869"/>
                  <a:pt x="112590" y="178723"/>
                </a:cubicBezTo>
                <a:cubicBezTo>
                  <a:pt x="107048" y="192577"/>
                  <a:pt x="100814" y="211281"/>
                  <a:pt x="95965" y="224443"/>
                </a:cubicBezTo>
                <a:cubicBezTo>
                  <a:pt x="91116" y="237605"/>
                  <a:pt x="82803" y="245918"/>
                  <a:pt x="83496" y="257694"/>
                </a:cubicBezTo>
                <a:cubicBezTo>
                  <a:pt x="84189" y="269470"/>
                  <a:pt x="97350" y="282632"/>
                  <a:pt x="100121" y="295101"/>
                </a:cubicBezTo>
                <a:cubicBezTo>
                  <a:pt x="102892" y="307570"/>
                  <a:pt x="99428" y="316576"/>
                  <a:pt x="100121" y="332509"/>
                </a:cubicBezTo>
                <a:cubicBezTo>
                  <a:pt x="100814" y="348442"/>
                  <a:pt x="101506" y="371302"/>
                  <a:pt x="104277" y="390698"/>
                </a:cubicBezTo>
                <a:cubicBezTo>
                  <a:pt x="107048" y="410094"/>
                  <a:pt x="111898" y="426027"/>
                  <a:pt x="116747" y="448887"/>
                </a:cubicBezTo>
                <a:cubicBezTo>
                  <a:pt x="121596" y="471747"/>
                  <a:pt x="126445" y="507076"/>
                  <a:pt x="133372" y="527858"/>
                </a:cubicBezTo>
                <a:cubicBezTo>
                  <a:pt x="140299" y="548640"/>
                  <a:pt x="152076" y="562494"/>
                  <a:pt x="158310" y="573578"/>
                </a:cubicBezTo>
                <a:cubicBezTo>
                  <a:pt x="164544" y="584662"/>
                  <a:pt x="167315" y="580506"/>
                  <a:pt x="170779" y="594360"/>
                </a:cubicBezTo>
                <a:cubicBezTo>
                  <a:pt x="174243" y="608215"/>
                  <a:pt x="179092" y="641465"/>
                  <a:pt x="179092" y="656705"/>
                </a:cubicBezTo>
                <a:cubicBezTo>
                  <a:pt x="179092" y="671945"/>
                  <a:pt x="170779" y="685800"/>
                  <a:pt x="170779" y="685800"/>
                </a:cubicBezTo>
                <a:cubicBezTo>
                  <a:pt x="168008" y="695498"/>
                  <a:pt x="167316" y="704503"/>
                  <a:pt x="162467" y="714894"/>
                </a:cubicBezTo>
                <a:cubicBezTo>
                  <a:pt x="157618" y="725285"/>
                  <a:pt x="146534" y="733598"/>
                  <a:pt x="141685" y="748145"/>
                </a:cubicBezTo>
                <a:cubicBezTo>
                  <a:pt x="136836" y="762692"/>
                  <a:pt x="138914" y="783474"/>
                  <a:pt x="133372" y="802178"/>
                </a:cubicBezTo>
                <a:cubicBezTo>
                  <a:pt x="127830" y="820882"/>
                  <a:pt x="113976" y="849283"/>
                  <a:pt x="108434" y="860367"/>
                </a:cubicBezTo>
                <a:cubicBezTo>
                  <a:pt x="102892" y="871451"/>
                  <a:pt x="109819" y="860367"/>
                  <a:pt x="100121" y="868680"/>
                </a:cubicBezTo>
                <a:cubicBezTo>
                  <a:pt x="90423" y="876993"/>
                  <a:pt x="60636" y="895696"/>
                  <a:pt x="50245" y="910243"/>
                </a:cubicBezTo>
                <a:cubicBezTo>
                  <a:pt x="39854" y="924790"/>
                  <a:pt x="41240" y="942108"/>
                  <a:pt x="37776" y="955963"/>
                </a:cubicBezTo>
                <a:cubicBezTo>
                  <a:pt x="34312" y="969818"/>
                  <a:pt x="31541" y="982287"/>
                  <a:pt x="29463" y="993371"/>
                </a:cubicBezTo>
                <a:cubicBezTo>
                  <a:pt x="27385" y="1004455"/>
                  <a:pt x="25307" y="1012767"/>
                  <a:pt x="25307" y="1022465"/>
                </a:cubicBezTo>
                <a:cubicBezTo>
                  <a:pt x="25307" y="1032163"/>
                  <a:pt x="30848" y="1039091"/>
                  <a:pt x="29463" y="1051560"/>
                </a:cubicBezTo>
                <a:cubicBezTo>
                  <a:pt x="28077" y="1064029"/>
                  <a:pt x="21150" y="1079962"/>
                  <a:pt x="16994" y="1097280"/>
                </a:cubicBezTo>
                <a:cubicBezTo>
                  <a:pt x="12838" y="1114598"/>
                  <a:pt x="7296" y="1138844"/>
                  <a:pt x="4525" y="1155469"/>
                </a:cubicBezTo>
                <a:cubicBezTo>
                  <a:pt x="1754" y="1172094"/>
                  <a:pt x="-1017" y="1182485"/>
                  <a:pt x="368" y="1197032"/>
                </a:cubicBezTo>
                <a:cubicBezTo>
                  <a:pt x="1753" y="1211579"/>
                  <a:pt x="9373" y="1232361"/>
                  <a:pt x="12837" y="1242752"/>
                </a:cubicBezTo>
                <a:cubicBezTo>
                  <a:pt x="16301" y="1253143"/>
                  <a:pt x="18379" y="1251065"/>
                  <a:pt x="21150" y="1259378"/>
                </a:cubicBezTo>
                <a:cubicBezTo>
                  <a:pt x="23921" y="1267691"/>
                  <a:pt x="27385" y="1280853"/>
                  <a:pt x="29463" y="1292629"/>
                </a:cubicBezTo>
                <a:cubicBezTo>
                  <a:pt x="31541" y="1304405"/>
                  <a:pt x="33619" y="1330036"/>
                  <a:pt x="33619" y="1330036"/>
                </a:cubicBezTo>
                <a:cubicBezTo>
                  <a:pt x="35004" y="1338349"/>
                  <a:pt x="36390" y="1340427"/>
                  <a:pt x="37776" y="1342505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олилиния 13"/>
          <p:cNvSpPr/>
          <p:nvPr/>
        </p:nvSpPr>
        <p:spPr>
          <a:xfrm>
            <a:off x="1158100" y="2177528"/>
            <a:ext cx="212343" cy="1342505"/>
          </a:xfrm>
          <a:custGeom>
            <a:avLst/>
            <a:gdLst>
              <a:gd name="connsiteX0" fmla="*/ 212343 w 212343"/>
              <a:gd name="connsiteY0" fmla="*/ 0 h 1342505"/>
              <a:gd name="connsiteX1" fmla="*/ 158310 w 212343"/>
              <a:gd name="connsiteY1" fmla="*/ 58189 h 1342505"/>
              <a:gd name="connsiteX2" fmla="*/ 141685 w 212343"/>
              <a:gd name="connsiteY2" fmla="*/ 91440 h 1342505"/>
              <a:gd name="connsiteX3" fmla="*/ 129216 w 212343"/>
              <a:gd name="connsiteY3" fmla="*/ 141316 h 1342505"/>
              <a:gd name="connsiteX4" fmla="*/ 112590 w 212343"/>
              <a:gd name="connsiteY4" fmla="*/ 178723 h 1342505"/>
              <a:gd name="connsiteX5" fmla="*/ 95965 w 212343"/>
              <a:gd name="connsiteY5" fmla="*/ 224443 h 1342505"/>
              <a:gd name="connsiteX6" fmla="*/ 83496 w 212343"/>
              <a:gd name="connsiteY6" fmla="*/ 257694 h 1342505"/>
              <a:gd name="connsiteX7" fmla="*/ 100121 w 212343"/>
              <a:gd name="connsiteY7" fmla="*/ 295101 h 1342505"/>
              <a:gd name="connsiteX8" fmla="*/ 100121 w 212343"/>
              <a:gd name="connsiteY8" fmla="*/ 332509 h 1342505"/>
              <a:gd name="connsiteX9" fmla="*/ 104277 w 212343"/>
              <a:gd name="connsiteY9" fmla="*/ 390698 h 1342505"/>
              <a:gd name="connsiteX10" fmla="*/ 116747 w 212343"/>
              <a:gd name="connsiteY10" fmla="*/ 448887 h 1342505"/>
              <a:gd name="connsiteX11" fmla="*/ 133372 w 212343"/>
              <a:gd name="connsiteY11" fmla="*/ 527858 h 1342505"/>
              <a:gd name="connsiteX12" fmla="*/ 158310 w 212343"/>
              <a:gd name="connsiteY12" fmla="*/ 573578 h 1342505"/>
              <a:gd name="connsiteX13" fmla="*/ 170779 w 212343"/>
              <a:gd name="connsiteY13" fmla="*/ 594360 h 1342505"/>
              <a:gd name="connsiteX14" fmla="*/ 179092 w 212343"/>
              <a:gd name="connsiteY14" fmla="*/ 656705 h 1342505"/>
              <a:gd name="connsiteX15" fmla="*/ 170779 w 212343"/>
              <a:gd name="connsiteY15" fmla="*/ 685800 h 1342505"/>
              <a:gd name="connsiteX16" fmla="*/ 162467 w 212343"/>
              <a:gd name="connsiteY16" fmla="*/ 714894 h 1342505"/>
              <a:gd name="connsiteX17" fmla="*/ 141685 w 212343"/>
              <a:gd name="connsiteY17" fmla="*/ 748145 h 1342505"/>
              <a:gd name="connsiteX18" fmla="*/ 133372 w 212343"/>
              <a:gd name="connsiteY18" fmla="*/ 802178 h 1342505"/>
              <a:gd name="connsiteX19" fmla="*/ 108434 w 212343"/>
              <a:gd name="connsiteY19" fmla="*/ 860367 h 1342505"/>
              <a:gd name="connsiteX20" fmla="*/ 100121 w 212343"/>
              <a:gd name="connsiteY20" fmla="*/ 868680 h 1342505"/>
              <a:gd name="connsiteX21" fmla="*/ 50245 w 212343"/>
              <a:gd name="connsiteY21" fmla="*/ 910243 h 1342505"/>
              <a:gd name="connsiteX22" fmla="*/ 37776 w 212343"/>
              <a:gd name="connsiteY22" fmla="*/ 955963 h 1342505"/>
              <a:gd name="connsiteX23" fmla="*/ 29463 w 212343"/>
              <a:gd name="connsiteY23" fmla="*/ 993371 h 1342505"/>
              <a:gd name="connsiteX24" fmla="*/ 25307 w 212343"/>
              <a:gd name="connsiteY24" fmla="*/ 1022465 h 1342505"/>
              <a:gd name="connsiteX25" fmla="*/ 29463 w 212343"/>
              <a:gd name="connsiteY25" fmla="*/ 1051560 h 1342505"/>
              <a:gd name="connsiteX26" fmla="*/ 16994 w 212343"/>
              <a:gd name="connsiteY26" fmla="*/ 1097280 h 1342505"/>
              <a:gd name="connsiteX27" fmla="*/ 4525 w 212343"/>
              <a:gd name="connsiteY27" fmla="*/ 1155469 h 1342505"/>
              <a:gd name="connsiteX28" fmla="*/ 368 w 212343"/>
              <a:gd name="connsiteY28" fmla="*/ 1197032 h 1342505"/>
              <a:gd name="connsiteX29" fmla="*/ 12837 w 212343"/>
              <a:gd name="connsiteY29" fmla="*/ 1242752 h 1342505"/>
              <a:gd name="connsiteX30" fmla="*/ 21150 w 212343"/>
              <a:gd name="connsiteY30" fmla="*/ 1259378 h 1342505"/>
              <a:gd name="connsiteX31" fmla="*/ 29463 w 212343"/>
              <a:gd name="connsiteY31" fmla="*/ 1292629 h 1342505"/>
              <a:gd name="connsiteX32" fmla="*/ 33619 w 212343"/>
              <a:gd name="connsiteY32" fmla="*/ 1330036 h 1342505"/>
              <a:gd name="connsiteX33" fmla="*/ 37776 w 212343"/>
              <a:gd name="connsiteY33" fmla="*/ 1342505 h 1342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212343" h="1342505">
                <a:moveTo>
                  <a:pt x="212343" y="0"/>
                </a:moveTo>
                <a:cubicBezTo>
                  <a:pt x="191214" y="21474"/>
                  <a:pt x="170086" y="42949"/>
                  <a:pt x="158310" y="58189"/>
                </a:cubicBezTo>
                <a:cubicBezTo>
                  <a:pt x="146534" y="73429"/>
                  <a:pt x="146534" y="77586"/>
                  <a:pt x="141685" y="91440"/>
                </a:cubicBezTo>
                <a:cubicBezTo>
                  <a:pt x="136836" y="105294"/>
                  <a:pt x="134065" y="126769"/>
                  <a:pt x="129216" y="141316"/>
                </a:cubicBezTo>
                <a:cubicBezTo>
                  <a:pt x="124367" y="155863"/>
                  <a:pt x="118132" y="164869"/>
                  <a:pt x="112590" y="178723"/>
                </a:cubicBezTo>
                <a:cubicBezTo>
                  <a:pt x="107048" y="192577"/>
                  <a:pt x="100814" y="211281"/>
                  <a:pt x="95965" y="224443"/>
                </a:cubicBezTo>
                <a:cubicBezTo>
                  <a:pt x="91116" y="237605"/>
                  <a:pt x="82803" y="245918"/>
                  <a:pt x="83496" y="257694"/>
                </a:cubicBezTo>
                <a:cubicBezTo>
                  <a:pt x="84189" y="269470"/>
                  <a:pt x="97350" y="282632"/>
                  <a:pt x="100121" y="295101"/>
                </a:cubicBezTo>
                <a:cubicBezTo>
                  <a:pt x="102892" y="307570"/>
                  <a:pt x="99428" y="316576"/>
                  <a:pt x="100121" y="332509"/>
                </a:cubicBezTo>
                <a:cubicBezTo>
                  <a:pt x="100814" y="348442"/>
                  <a:pt x="101506" y="371302"/>
                  <a:pt x="104277" y="390698"/>
                </a:cubicBezTo>
                <a:cubicBezTo>
                  <a:pt x="107048" y="410094"/>
                  <a:pt x="111898" y="426027"/>
                  <a:pt x="116747" y="448887"/>
                </a:cubicBezTo>
                <a:cubicBezTo>
                  <a:pt x="121596" y="471747"/>
                  <a:pt x="126445" y="507076"/>
                  <a:pt x="133372" y="527858"/>
                </a:cubicBezTo>
                <a:cubicBezTo>
                  <a:pt x="140299" y="548640"/>
                  <a:pt x="152076" y="562494"/>
                  <a:pt x="158310" y="573578"/>
                </a:cubicBezTo>
                <a:cubicBezTo>
                  <a:pt x="164544" y="584662"/>
                  <a:pt x="167315" y="580506"/>
                  <a:pt x="170779" y="594360"/>
                </a:cubicBezTo>
                <a:cubicBezTo>
                  <a:pt x="174243" y="608215"/>
                  <a:pt x="179092" y="641465"/>
                  <a:pt x="179092" y="656705"/>
                </a:cubicBezTo>
                <a:cubicBezTo>
                  <a:pt x="179092" y="671945"/>
                  <a:pt x="170779" y="685800"/>
                  <a:pt x="170779" y="685800"/>
                </a:cubicBezTo>
                <a:cubicBezTo>
                  <a:pt x="168008" y="695498"/>
                  <a:pt x="167316" y="704503"/>
                  <a:pt x="162467" y="714894"/>
                </a:cubicBezTo>
                <a:cubicBezTo>
                  <a:pt x="157618" y="725285"/>
                  <a:pt x="146534" y="733598"/>
                  <a:pt x="141685" y="748145"/>
                </a:cubicBezTo>
                <a:cubicBezTo>
                  <a:pt x="136836" y="762692"/>
                  <a:pt x="138914" y="783474"/>
                  <a:pt x="133372" y="802178"/>
                </a:cubicBezTo>
                <a:cubicBezTo>
                  <a:pt x="127830" y="820882"/>
                  <a:pt x="113976" y="849283"/>
                  <a:pt x="108434" y="860367"/>
                </a:cubicBezTo>
                <a:cubicBezTo>
                  <a:pt x="102892" y="871451"/>
                  <a:pt x="109819" y="860367"/>
                  <a:pt x="100121" y="868680"/>
                </a:cubicBezTo>
                <a:cubicBezTo>
                  <a:pt x="90423" y="876993"/>
                  <a:pt x="60636" y="895696"/>
                  <a:pt x="50245" y="910243"/>
                </a:cubicBezTo>
                <a:cubicBezTo>
                  <a:pt x="39854" y="924790"/>
                  <a:pt x="41240" y="942108"/>
                  <a:pt x="37776" y="955963"/>
                </a:cubicBezTo>
                <a:cubicBezTo>
                  <a:pt x="34312" y="969818"/>
                  <a:pt x="31541" y="982287"/>
                  <a:pt x="29463" y="993371"/>
                </a:cubicBezTo>
                <a:cubicBezTo>
                  <a:pt x="27385" y="1004455"/>
                  <a:pt x="25307" y="1012767"/>
                  <a:pt x="25307" y="1022465"/>
                </a:cubicBezTo>
                <a:cubicBezTo>
                  <a:pt x="25307" y="1032163"/>
                  <a:pt x="30848" y="1039091"/>
                  <a:pt x="29463" y="1051560"/>
                </a:cubicBezTo>
                <a:cubicBezTo>
                  <a:pt x="28077" y="1064029"/>
                  <a:pt x="21150" y="1079962"/>
                  <a:pt x="16994" y="1097280"/>
                </a:cubicBezTo>
                <a:cubicBezTo>
                  <a:pt x="12838" y="1114598"/>
                  <a:pt x="7296" y="1138844"/>
                  <a:pt x="4525" y="1155469"/>
                </a:cubicBezTo>
                <a:cubicBezTo>
                  <a:pt x="1754" y="1172094"/>
                  <a:pt x="-1017" y="1182485"/>
                  <a:pt x="368" y="1197032"/>
                </a:cubicBezTo>
                <a:cubicBezTo>
                  <a:pt x="1753" y="1211579"/>
                  <a:pt x="9373" y="1232361"/>
                  <a:pt x="12837" y="1242752"/>
                </a:cubicBezTo>
                <a:cubicBezTo>
                  <a:pt x="16301" y="1253143"/>
                  <a:pt x="18379" y="1251065"/>
                  <a:pt x="21150" y="1259378"/>
                </a:cubicBezTo>
                <a:cubicBezTo>
                  <a:pt x="23921" y="1267691"/>
                  <a:pt x="27385" y="1280853"/>
                  <a:pt x="29463" y="1292629"/>
                </a:cubicBezTo>
                <a:cubicBezTo>
                  <a:pt x="31541" y="1304405"/>
                  <a:pt x="33619" y="1330036"/>
                  <a:pt x="33619" y="1330036"/>
                </a:cubicBezTo>
                <a:cubicBezTo>
                  <a:pt x="35004" y="1338349"/>
                  <a:pt x="36390" y="1340427"/>
                  <a:pt x="37776" y="134250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Полилиния 95"/>
          <p:cNvSpPr/>
          <p:nvPr/>
        </p:nvSpPr>
        <p:spPr>
          <a:xfrm>
            <a:off x="381000" y="3508375"/>
            <a:ext cx="205723" cy="45719"/>
          </a:xfrm>
          <a:custGeom>
            <a:avLst/>
            <a:gdLst>
              <a:gd name="connsiteX0" fmla="*/ 155575 w 155575"/>
              <a:gd name="connsiteY0" fmla="*/ 28575 h 28575"/>
              <a:gd name="connsiteX1" fmla="*/ 92075 w 155575"/>
              <a:gd name="connsiteY1" fmla="*/ 22225 h 28575"/>
              <a:gd name="connsiteX2" fmla="*/ 73025 w 155575"/>
              <a:gd name="connsiteY2" fmla="*/ 19050 h 28575"/>
              <a:gd name="connsiteX3" fmla="*/ 41275 w 155575"/>
              <a:gd name="connsiteY3" fmla="*/ 15875 h 28575"/>
              <a:gd name="connsiteX4" fmla="*/ 25400 w 155575"/>
              <a:gd name="connsiteY4" fmla="*/ 9525 h 28575"/>
              <a:gd name="connsiteX5" fmla="*/ 12700 w 155575"/>
              <a:gd name="connsiteY5" fmla="*/ 6350 h 28575"/>
              <a:gd name="connsiteX6" fmla="*/ 0 w 155575"/>
              <a:gd name="connsiteY6" fmla="*/ 0 h 2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5575" h="28575">
                <a:moveTo>
                  <a:pt x="155575" y="28575"/>
                </a:moveTo>
                <a:lnTo>
                  <a:pt x="92075" y="22225"/>
                </a:lnTo>
                <a:cubicBezTo>
                  <a:pt x="78317" y="20638"/>
                  <a:pt x="81492" y="20108"/>
                  <a:pt x="73025" y="19050"/>
                </a:cubicBezTo>
                <a:cubicBezTo>
                  <a:pt x="64558" y="17992"/>
                  <a:pt x="49213" y="17463"/>
                  <a:pt x="41275" y="15875"/>
                </a:cubicBezTo>
                <a:cubicBezTo>
                  <a:pt x="33337" y="14287"/>
                  <a:pt x="25400" y="9525"/>
                  <a:pt x="25400" y="9525"/>
                </a:cubicBezTo>
                <a:cubicBezTo>
                  <a:pt x="20638" y="7938"/>
                  <a:pt x="12700" y="6350"/>
                  <a:pt x="12700" y="6350"/>
                </a:cubicBezTo>
                <a:cubicBezTo>
                  <a:pt x="8467" y="4763"/>
                  <a:pt x="4233" y="2381"/>
                  <a:pt x="0" y="0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олилиния 96"/>
          <p:cNvSpPr/>
          <p:nvPr/>
        </p:nvSpPr>
        <p:spPr>
          <a:xfrm>
            <a:off x="381000" y="3511550"/>
            <a:ext cx="155575" cy="28575"/>
          </a:xfrm>
          <a:custGeom>
            <a:avLst/>
            <a:gdLst>
              <a:gd name="connsiteX0" fmla="*/ 155575 w 155575"/>
              <a:gd name="connsiteY0" fmla="*/ 28575 h 28575"/>
              <a:gd name="connsiteX1" fmla="*/ 92075 w 155575"/>
              <a:gd name="connsiteY1" fmla="*/ 22225 h 28575"/>
              <a:gd name="connsiteX2" fmla="*/ 73025 w 155575"/>
              <a:gd name="connsiteY2" fmla="*/ 19050 h 28575"/>
              <a:gd name="connsiteX3" fmla="*/ 41275 w 155575"/>
              <a:gd name="connsiteY3" fmla="*/ 15875 h 28575"/>
              <a:gd name="connsiteX4" fmla="*/ 25400 w 155575"/>
              <a:gd name="connsiteY4" fmla="*/ 9525 h 28575"/>
              <a:gd name="connsiteX5" fmla="*/ 12700 w 155575"/>
              <a:gd name="connsiteY5" fmla="*/ 6350 h 28575"/>
              <a:gd name="connsiteX6" fmla="*/ 0 w 155575"/>
              <a:gd name="connsiteY6" fmla="*/ 0 h 2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5575" h="28575">
                <a:moveTo>
                  <a:pt x="155575" y="28575"/>
                </a:moveTo>
                <a:lnTo>
                  <a:pt x="92075" y="22225"/>
                </a:lnTo>
                <a:cubicBezTo>
                  <a:pt x="78317" y="20638"/>
                  <a:pt x="81492" y="20108"/>
                  <a:pt x="73025" y="19050"/>
                </a:cubicBezTo>
                <a:cubicBezTo>
                  <a:pt x="64558" y="17992"/>
                  <a:pt x="49213" y="17463"/>
                  <a:pt x="41275" y="15875"/>
                </a:cubicBezTo>
                <a:cubicBezTo>
                  <a:pt x="33337" y="14287"/>
                  <a:pt x="25400" y="9525"/>
                  <a:pt x="25400" y="9525"/>
                </a:cubicBezTo>
                <a:cubicBezTo>
                  <a:pt x="20638" y="7938"/>
                  <a:pt x="12700" y="6350"/>
                  <a:pt x="12700" y="6350"/>
                </a:cubicBezTo>
                <a:cubicBezTo>
                  <a:pt x="8467" y="4763"/>
                  <a:pt x="4233" y="2381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Полилиния 100"/>
          <p:cNvSpPr/>
          <p:nvPr/>
        </p:nvSpPr>
        <p:spPr>
          <a:xfrm>
            <a:off x="568325" y="3418827"/>
            <a:ext cx="587375" cy="153913"/>
          </a:xfrm>
          <a:custGeom>
            <a:avLst/>
            <a:gdLst>
              <a:gd name="connsiteX0" fmla="*/ 0 w 587375"/>
              <a:gd name="connsiteY0" fmla="*/ 121298 h 153913"/>
              <a:gd name="connsiteX1" fmla="*/ 63500 w 587375"/>
              <a:gd name="connsiteY1" fmla="*/ 133998 h 153913"/>
              <a:gd name="connsiteX2" fmla="*/ 136525 w 587375"/>
              <a:gd name="connsiteY2" fmla="*/ 146698 h 153913"/>
              <a:gd name="connsiteX3" fmla="*/ 174625 w 587375"/>
              <a:gd name="connsiteY3" fmla="*/ 153048 h 153913"/>
              <a:gd name="connsiteX4" fmla="*/ 209550 w 587375"/>
              <a:gd name="connsiteY4" fmla="*/ 127648 h 153913"/>
              <a:gd name="connsiteX5" fmla="*/ 260350 w 587375"/>
              <a:gd name="connsiteY5" fmla="*/ 99073 h 153913"/>
              <a:gd name="connsiteX6" fmla="*/ 323850 w 587375"/>
              <a:gd name="connsiteY6" fmla="*/ 86373 h 153913"/>
              <a:gd name="connsiteX7" fmla="*/ 390525 w 587375"/>
              <a:gd name="connsiteY7" fmla="*/ 67323 h 153913"/>
              <a:gd name="connsiteX8" fmla="*/ 419100 w 587375"/>
              <a:gd name="connsiteY8" fmla="*/ 57798 h 153913"/>
              <a:gd name="connsiteX9" fmla="*/ 434975 w 587375"/>
              <a:gd name="connsiteY9" fmla="*/ 35573 h 153913"/>
              <a:gd name="connsiteX10" fmla="*/ 457200 w 587375"/>
              <a:gd name="connsiteY10" fmla="*/ 648 h 153913"/>
              <a:gd name="connsiteX11" fmla="*/ 495300 w 587375"/>
              <a:gd name="connsiteY11" fmla="*/ 13348 h 153913"/>
              <a:gd name="connsiteX12" fmla="*/ 520700 w 587375"/>
              <a:gd name="connsiteY12" fmla="*/ 19698 h 153913"/>
              <a:gd name="connsiteX13" fmla="*/ 558800 w 587375"/>
              <a:gd name="connsiteY13" fmla="*/ 38748 h 153913"/>
              <a:gd name="connsiteX14" fmla="*/ 581025 w 587375"/>
              <a:gd name="connsiteY14" fmla="*/ 51448 h 153913"/>
              <a:gd name="connsiteX15" fmla="*/ 587375 w 587375"/>
              <a:gd name="connsiteY15" fmla="*/ 57798 h 1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87375" h="153913">
                <a:moveTo>
                  <a:pt x="0" y="121298"/>
                </a:moveTo>
                <a:lnTo>
                  <a:pt x="63500" y="133998"/>
                </a:lnTo>
                <a:cubicBezTo>
                  <a:pt x="86254" y="138231"/>
                  <a:pt x="136525" y="146698"/>
                  <a:pt x="136525" y="146698"/>
                </a:cubicBezTo>
                <a:cubicBezTo>
                  <a:pt x="155046" y="149873"/>
                  <a:pt x="162454" y="156223"/>
                  <a:pt x="174625" y="153048"/>
                </a:cubicBezTo>
                <a:cubicBezTo>
                  <a:pt x="186796" y="149873"/>
                  <a:pt x="195263" y="136644"/>
                  <a:pt x="209550" y="127648"/>
                </a:cubicBezTo>
                <a:cubicBezTo>
                  <a:pt x="223837" y="118652"/>
                  <a:pt x="241300" y="105952"/>
                  <a:pt x="260350" y="99073"/>
                </a:cubicBezTo>
                <a:cubicBezTo>
                  <a:pt x="279400" y="92194"/>
                  <a:pt x="302154" y="91665"/>
                  <a:pt x="323850" y="86373"/>
                </a:cubicBezTo>
                <a:cubicBezTo>
                  <a:pt x="345546" y="81081"/>
                  <a:pt x="374650" y="72085"/>
                  <a:pt x="390525" y="67323"/>
                </a:cubicBezTo>
                <a:cubicBezTo>
                  <a:pt x="406400" y="62561"/>
                  <a:pt x="411692" y="63090"/>
                  <a:pt x="419100" y="57798"/>
                </a:cubicBezTo>
                <a:cubicBezTo>
                  <a:pt x="426508" y="52506"/>
                  <a:pt x="428625" y="45098"/>
                  <a:pt x="434975" y="35573"/>
                </a:cubicBezTo>
                <a:cubicBezTo>
                  <a:pt x="441325" y="26048"/>
                  <a:pt x="447146" y="4352"/>
                  <a:pt x="457200" y="648"/>
                </a:cubicBezTo>
                <a:cubicBezTo>
                  <a:pt x="467254" y="-3056"/>
                  <a:pt x="484717" y="10173"/>
                  <a:pt x="495300" y="13348"/>
                </a:cubicBezTo>
                <a:cubicBezTo>
                  <a:pt x="505883" y="16523"/>
                  <a:pt x="510117" y="15465"/>
                  <a:pt x="520700" y="19698"/>
                </a:cubicBezTo>
                <a:cubicBezTo>
                  <a:pt x="531283" y="23931"/>
                  <a:pt x="548746" y="33456"/>
                  <a:pt x="558800" y="38748"/>
                </a:cubicBezTo>
                <a:cubicBezTo>
                  <a:pt x="568854" y="44040"/>
                  <a:pt x="581025" y="51448"/>
                  <a:pt x="581025" y="51448"/>
                </a:cubicBezTo>
                <a:cubicBezTo>
                  <a:pt x="585787" y="54623"/>
                  <a:pt x="586581" y="56210"/>
                  <a:pt x="587375" y="57798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2" name="Полилиния 101"/>
          <p:cNvSpPr/>
          <p:nvPr/>
        </p:nvSpPr>
        <p:spPr>
          <a:xfrm>
            <a:off x="1533525" y="2981325"/>
            <a:ext cx="990600" cy="463550"/>
          </a:xfrm>
          <a:custGeom>
            <a:avLst/>
            <a:gdLst>
              <a:gd name="connsiteX0" fmla="*/ 990600 w 990600"/>
              <a:gd name="connsiteY0" fmla="*/ 0 h 463550"/>
              <a:gd name="connsiteX1" fmla="*/ 930275 w 990600"/>
              <a:gd name="connsiteY1" fmla="*/ 28575 h 463550"/>
              <a:gd name="connsiteX2" fmla="*/ 911225 w 990600"/>
              <a:gd name="connsiteY2" fmla="*/ 41275 h 463550"/>
              <a:gd name="connsiteX3" fmla="*/ 882650 w 990600"/>
              <a:gd name="connsiteY3" fmla="*/ 63500 h 463550"/>
              <a:gd name="connsiteX4" fmla="*/ 863600 w 990600"/>
              <a:gd name="connsiteY4" fmla="*/ 69850 h 463550"/>
              <a:gd name="connsiteX5" fmla="*/ 819150 w 990600"/>
              <a:gd name="connsiteY5" fmla="*/ 66675 h 463550"/>
              <a:gd name="connsiteX6" fmla="*/ 787400 w 990600"/>
              <a:gd name="connsiteY6" fmla="*/ 73025 h 463550"/>
              <a:gd name="connsiteX7" fmla="*/ 762000 w 990600"/>
              <a:gd name="connsiteY7" fmla="*/ 82550 h 463550"/>
              <a:gd name="connsiteX8" fmla="*/ 736600 w 990600"/>
              <a:gd name="connsiteY8" fmla="*/ 114300 h 463550"/>
              <a:gd name="connsiteX9" fmla="*/ 673100 w 990600"/>
              <a:gd name="connsiteY9" fmla="*/ 171450 h 463550"/>
              <a:gd name="connsiteX10" fmla="*/ 650875 w 990600"/>
              <a:gd name="connsiteY10" fmla="*/ 187325 h 463550"/>
              <a:gd name="connsiteX11" fmla="*/ 619125 w 990600"/>
              <a:gd name="connsiteY11" fmla="*/ 228600 h 463550"/>
              <a:gd name="connsiteX12" fmla="*/ 577850 w 990600"/>
              <a:gd name="connsiteY12" fmla="*/ 260350 h 463550"/>
              <a:gd name="connsiteX13" fmla="*/ 533400 w 990600"/>
              <a:gd name="connsiteY13" fmla="*/ 282575 h 463550"/>
              <a:gd name="connsiteX14" fmla="*/ 476250 w 990600"/>
              <a:gd name="connsiteY14" fmla="*/ 288925 h 463550"/>
              <a:gd name="connsiteX15" fmla="*/ 450850 w 990600"/>
              <a:gd name="connsiteY15" fmla="*/ 295275 h 463550"/>
              <a:gd name="connsiteX16" fmla="*/ 425450 w 990600"/>
              <a:gd name="connsiteY16" fmla="*/ 323850 h 463550"/>
              <a:gd name="connsiteX17" fmla="*/ 387350 w 990600"/>
              <a:gd name="connsiteY17" fmla="*/ 327025 h 463550"/>
              <a:gd name="connsiteX18" fmla="*/ 346075 w 990600"/>
              <a:gd name="connsiteY18" fmla="*/ 342900 h 463550"/>
              <a:gd name="connsiteX19" fmla="*/ 323850 w 990600"/>
              <a:gd name="connsiteY19" fmla="*/ 355600 h 463550"/>
              <a:gd name="connsiteX20" fmla="*/ 301625 w 990600"/>
              <a:gd name="connsiteY20" fmla="*/ 368300 h 463550"/>
              <a:gd name="connsiteX21" fmla="*/ 266700 w 990600"/>
              <a:gd name="connsiteY21" fmla="*/ 371475 h 463550"/>
              <a:gd name="connsiteX22" fmla="*/ 228600 w 990600"/>
              <a:gd name="connsiteY22" fmla="*/ 387350 h 463550"/>
              <a:gd name="connsiteX23" fmla="*/ 187325 w 990600"/>
              <a:gd name="connsiteY23" fmla="*/ 400050 h 463550"/>
              <a:gd name="connsiteX24" fmla="*/ 142875 w 990600"/>
              <a:gd name="connsiteY24" fmla="*/ 412750 h 463550"/>
              <a:gd name="connsiteX25" fmla="*/ 111125 w 990600"/>
              <a:gd name="connsiteY25" fmla="*/ 425450 h 463550"/>
              <a:gd name="connsiteX26" fmla="*/ 82550 w 990600"/>
              <a:gd name="connsiteY26" fmla="*/ 428625 h 463550"/>
              <a:gd name="connsiteX27" fmla="*/ 60325 w 990600"/>
              <a:gd name="connsiteY27" fmla="*/ 434975 h 463550"/>
              <a:gd name="connsiteX28" fmla="*/ 34925 w 990600"/>
              <a:gd name="connsiteY28" fmla="*/ 438150 h 463550"/>
              <a:gd name="connsiteX29" fmla="*/ 9525 w 990600"/>
              <a:gd name="connsiteY29" fmla="*/ 454025 h 463550"/>
              <a:gd name="connsiteX30" fmla="*/ 0 w 990600"/>
              <a:gd name="connsiteY30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990600" h="463550">
                <a:moveTo>
                  <a:pt x="990600" y="0"/>
                </a:moveTo>
                <a:cubicBezTo>
                  <a:pt x="967052" y="10848"/>
                  <a:pt x="943504" y="21696"/>
                  <a:pt x="930275" y="28575"/>
                </a:cubicBezTo>
                <a:cubicBezTo>
                  <a:pt x="917046" y="35454"/>
                  <a:pt x="919162" y="35454"/>
                  <a:pt x="911225" y="41275"/>
                </a:cubicBezTo>
                <a:cubicBezTo>
                  <a:pt x="903288" y="47096"/>
                  <a:pt x="890587" y="58738"/>
                  <a:pt x="882650" y="63500"/>
                </a:cubicBezTo>
                <a:cubicBezTo>
                  <a:pt x="874712" y="68263"/>
                  <a:pt x="874183" y="69321"/>
                  <a:pt x="863600" y="69850"/>
                </a:cubicBezTo>
                <a:cubicBezTo>
                  <a:pt x="853017" y="70379"/>
                  <a:pt x="831850" y="66146"/>
                  <a:pt x="819150" y="66675"/>
                </a:cubicBezTo>
                <a:cubicBezTo>
                  <a:pt x="806450" y="67204"/>
                  <a:pt x="796925" y="70379"/>
                  <a:pt x="787400" y="73025"/>
                </a:cubicBezTo>
                <a:cubicBezTo>
                  <a:pt x="777875" y="75671"/>
                  <a:pt x="770467" y="75671"/>
                  <a:pt x="762000" y="82550"/>
                </a:cubicBezTo>
                <a:cubicBezTo>
                  <a:pt x="753533" y="89429"/>
                  <a:pt x="751417" y="99483"/>
                  <a:pt x="736600" y="114300"/>
                </a:cubicBezTo>
                <a:cubicBezTo>
                  <a:pt x="721783" y="129117"/>
                  <a:pt x="687387" y="159279"/>
                  <a:pt x="673100" y="171450"/>
                </a:cubicBezTo>
                <a:cubicBezTo>
                  <a:pt x="658813" y="183621"/>
                  <a:pt x="659871" y="177800"/>
                  <a:pt x="650875" y="187325"/>
                </a:cubicBezTo>
                <a:cubicBezTo>
                  <a:pt x="641879" y="196850"/>
                  <a:pt x="631296" y="216429"/>
                  <a:pt x="619125" y="228600"/>
                </a:cubicBezTo>
                <a:cubicBezTo>
                  <a:pt x="606954" y="240771"/>
                  <a:pt x="592137" y="251354"/>
                  <a:pt x="577850" y="260350"/>
                </a:cubicBezTo>
                <a:cubicBezTo>
                  <a:pt x="563563" y="269346"/>
                  <a:pt x="550333" y="277813"/>
                  <a:pt x="533400" y="282575"/>
                </a:cubicBezTo>
                <a:cubicBezTo>
                  <a:pt x="516467" y="287337"/>
                  <a:pt x="490008" y="286808"/>
                  <a:pt x="476250" y="288925"/>
                </a:cubicBezTo>
                <a:cubicBezTo>
                  <a:pt x="462492" y="291042"/>
                  <a:pt x="459317" y="289454"/>
                  <a:pt x="450850" y="295275"/>
                </a:cubicBezTo>
                <a:cubicBezTo>
                  <a:pt x="442383" y="301096"/>
                  <a:pt x="436033" y="318558"/>
                  <a:pt x="425450" y="323850"/>
                </a:cubicBezTo>
                <a:cubicBezTo>
                  <a:pt x="414867" y="329142"/>
                  <a:pt x="400579" y="323850"/>
                  <a:pt x="387350" y="327025"/>
                </a:cubicBezTo>
                <a:cubicBezTo>
                  <a:pt x="374121" y="330200"/>
                  <a:pt x="356658" y="338138"/>
                  <a:pt x="346075" y="342900"/>
                </a:cubicBezTo>
                <a:cubicBezTo>
                  <a:pt x="335492" y="347663"/>
                  <a:pt x="323850" y="355600"/>
                  <a:pt x="323850" y="355600"/>
                </a:cubicBezTo>
                <a:cubicBezTo>
                  <a:pt x="316442" y="359833"/>
                  <a:pt x="311150" y="365654"/>
                  <a:pt x="301625" y="368300"/>
                </a:cubicBezTo>
                <a:cubicBezTo>
                  <a:pt x="292100" y="370946"/>
                  <a:pt x="278871" y="368300"/>
                  <a:pt x="266700" y="371475"/>
                </a:cubicBezTo>
                <a:cubicBezTo>
                  <a:pt x="254529" y="374650"/>
                  <a:pt x="241829" y="382588"/>
                  <a:pt x="228600" y="387350"/>
                </a:cubicBezTo>
                <a:cubicBezTo>
                  <a:pt x="215371" y="392112"/>
                  <a:pt x="201612" y="395817"/>
                  <a:pt x="187325" y="400050"/>
                </a:cubicBezTo>
                <a:cubicBezTo>
                  <a:pt x="173038" y="404283"/>
                  <a:pt x="155575" y="408517"/>
                  <a:pt x="142875" y="412750"/>
                </a:cubicBezTo>
                <a:cubicBezTo>
                  <a:pt x="130175" y="416983"/>
                  <a:pt x="121179" y="422804"/>
                  <a:pt x="111125" y="425450"/>
                </a:cubicBezTo>
                <a:cubicBezTo>
                  <a:pt x="101071" y="428096"/>
                  <a:pt x="91017" y="427038"/>
                  <a:pt x="82550" y="428625"/>
                </a:cubicBezTo>
                <a:cubicBezTo>
                  <a:pt x="74083" y="430212"/>
                  <a:pt x="68263" y="433387"/>
                  <a:pt x="60325" y="434975"/>
                </a:cubicBezTo>
                <a:cubicBezTo>
                  <a:pt x="52387" y="436563"/>
                  <a:pt x="43392" y="434975"/>
                  <a:pt x="34925" y="438150"/>
                </a:cubicBezTo>
                <a:cubicBezTo>
                  <a:pt x="26458" y="441325"/>
                  <a:pt x="9525" y="454025"/>
                  <a:pt x="9525" y="454025"/>
                </a:cubicBezTo>
                <a:cubicBezTo>
                  <a:pt x="3704" y="458258"/>
                  <a:pt x="1852" y="460904"/>
                  <a:pt x="0" y="463550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Полилиния 102"/>
          <p:cNvSpPr/>
          <p:nvPr/>
        </p:nvSpPr>
        <p:spPr>
          <a:xfrm>
            <a:off x="1533525" y="2978150"/>
            <a:ext cx="990600" cy="463550"/>
          </a:xfrm>
          <a:custGeom>
            <a:avLst/>
            <a:gdLst>
              <a:gd name="connsiteX0" fmla="*/ 990600 w 990600"/>
              <a:gd name="connsiteY0" fmla="*/ 0 h 463550"/>
              <a:gd name="connsiteX1" fmla="*/ 930275 w 990600"/>
              <a:gd name="connsiteY1" fmla="*/ 28575 h 463550"/>
              <a:gd name="connsiteX2" fmla="*/ 911225 w 990600"/>
              <a:gd name="connsiteY2" fmla="*/ 41275 h 463550"/>
              <a:gd name="connsiteX3" fmla="*/ 882650 w 990600"/>
              <a:gd name="connsiteY3" fmla="*/ 63500 h 463550"/>
              <a:gd name="connsiteX4" fmla="*/ 863600 w 990600"/>
              <a:gd name="connsiteY4" fmla="*/ 69850 h 463550"/>
              <a:gd name="connsiteX5" fmla="*/ 819150 w 990600"/>
              <a:gd name="connsiteY5" fmla="*/ 66675 h 463550"/>
              <a:gd name="connsiteX6" fmla="*/ 787400 w 990600"/>
              <a:gd name="connsiteY6" fmla="*/ 73025 h 463550"/>
              <a:gd name="connsiteX7" fmla="*/ 762000 w 990600"/>
              <a:gd name="connsiteY7" fmla="*/ 82550 h 463550"/>
              <a:gd name="connsiteX8" fmla="*/ 736600 w 990600"/>
              <a:gd name="connsiteY8" fmla="*/ 114300 h 463550"/>
              <a:gd name="connsiteX9" fmla="*/ 673100 w 990600"/>
              <a:gd name="connsiteY9" fmla="*/ 171450 h 463550"/>
              <a:gd name="connsiteX10" fmla="*/ 650875 w 990600"/>
              <a:gd name="connsiteY10" fmla="*/ 187325 h 463550"/>
              <a:gd name="connsiteX11" fmla="*/ 619125 w 990600"/>
              <a:gd name="connsiteY11" fmla="*/ 228600 h 463550"/>
              <a:gd name="connsiteX12" fmla="*/ 577850 w 990600"/>
              <a:gd name="connsiteY12" fmla="*/ 260350 h 463550"/>
              <a:gd name="connsiteX13" fmla="*/ 533400 w 990600"/>
              <a:gd name="connsiteY13" fmla="*/ 282575 h 463550"/>
              <a:gd name="connsiteX14" fmla="*/ 476250 w 990600"/>
              <a:gd name="connsiteY14" fmla="*/ 288925 h 463550"/>
              <a:gd name="connsiteX15" fmla="*/ 450850 w 990600"/>
              <a:gd name="connsiteY15" fmla="*/ 295275 h 463550"/>
              <a:gd name="connsiteX16" fmla="*/ 425450 w 990600"/>
              <a:gd name="connsiteY16" fmla="*/ 323850 h 463550"/>
              <a:gd name="connsiteX17" fmla="*/ 387350 w 990600"/>
              <a:gd name="connsiteY17" fmla="*/ 327025 h 463550"/>
              <a:gd name="connsiteX18" fmla="*/ 346075 w 990600"/>
              <a:gd name="connsiteY18" fmla="*/ 342900 h 463550"/>
              <a:gd name="connsiteX19" fmla="*/ 323850 w 990600"/>
              <a:gd name="connsiteY19" fmla="*/ 355600 h 463550"/>
              <a:gd name="connsiteX20" fmla="*/ 301625 w 990600"/>
              <a:gd name="connsiteY20" fmla="*/ 368300 h 463550"/>
              <a:gd name="connsiteX21" fmla="*/ 266700 w 990600"/>
              <a:gd name="connsiteY21" fmla="*/ 371475 h 463550"/>
              <a:gd name="connsiteX22" fmla="*/ 228600 w 990600"/>
              <a:gd name="connsiteY22" fmla="*/ 387350 h 463550"/>
              <a:gd name="connsiteX23" fmla="*/ 187325 w 990600"/>
              <a:gd name="connsiteY23" fmla="*/ 400050 h 463550"/>
              <a:gd name="connsiteX24" fmla="*/ 142875 w 990600"/>
              <a:gd name="connsiteY24" fmla="*/ 412750 h 463550"/>
              <a:gd name="connsiteX25" fmla="*/ 111125 w 990600"/>
              <a:gd name="connsiteY25" fmla="*/ 425450 h 463550"/>
              <a:gd name="connsiteX26" fmla="*/ 82550 w 990600"/>
              <a:gd name="connsiteY26" fmla="*/ 428625 h 463550"/>
              <a:gd name="connsiteX27" fmla="*/ 60325 w 990600"/>
              <a:gd name="connsiteY27" fmla="*/ 434975 h 463550"/>
              <a:gd name="connsiteX28" fmla="*/ 34925 w 990600"/>
              <a:gd name="connsiteY28" fmla="*/ 438150 h 463550"/>
              <a:gd name="connsiteX29" fmla="*/ 9525 w 990600"/>
              <a:gd name="connsiteY29" fmla="*/ 454025 h 463550"/>
              <a:gd name="connsiteX30" fmla="*/ 0 w 990600"/>
              <a:gd name="connsiteY30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990600" h="463550">
                <a:moveTo>
                  <a:pt x="990600" y="0"/>
                </a:moveTo>
                <a:cubicBezTo>
                  <a:pt x="967052" y="10848"/>
                  <a:pt x="943504" y="21696"/>
                  <a:pt x="930275" y="28575"/>
                </a:cubicBezTo>
                <a:cubicBezTo>
                  <a:pt x="917046" y="35454"/>
                  <a:pt x="919162" y="35454"/>
                  <a:pt x="911225" y="41275"/>
                </a:cubicBezTo>
                <a:cubicBezTo>
                  <a:pt x="903288" y="47096"/>
                  <a:pt x="890587" y="58738"/>
                  <a:pt x="882650" y="63500"/>
                </a:cubicBezTo>
                <a:cubicBezTo>
                  <a:pt x="874712" y="68263"/>
                  <a:pt x="874183" y="69321"/>
                  <a:pt x="863600" y="69850"/>
                </a:cubicBezTo>
                <a:cubicBezTo>
                  <a:pt x="853017" y="70379"/>
                  <a:pt x="831850" y="66146"/>
                  <a:pt x="819150" y="66675"/>
                </a:cubicBezTo>
                <a:cubicBezTo>
                  <a:pt x="806450" y="67204"/>
                  <a:pt x="796925" y="70379"/>
                  <a:pt x="787400" y="73025"/>
                </a:cubicBezTo>
                <a:cubicBezTo>
                  <a:pt x="777875" y="75671"/>
                  <a:pt x="770467" y="75671"/>
                  <a:pt x="762000" y="82550"/>
                </a:cubicBezTo>
                <a:cubicBezTo>
                  <a:pt x="753533" y="89429"/>
                  <a:pt x="751417" y="99483"/>
                  <a:pt x="736600" y="114300"/>
                </a:cubicBezTo>
                <a:cubicBezTo>
                  <a:pt x="721783" y="129117"/>
                  <a:pt x="687387" y="159279"/>
                  <a:pt x="673100" y="171450"/>
                </a:cubicBezTo>
                <a:cubicBezTo>
                  <a:pt x="658813" y="183621"/>
                  <a:pt x="659871" y="177800"/>
                  <a:pt x="650875" y="187325"/>
                </a:cubicBezTo>
                <a:cubicBezTo>
                  <a:pt x="641879" y="196850"/>
                  <a:pt x="631296" y="216429"/>
                  <a:pt x="619125" y="228600"/>
                </a:cubicBezTo>
                <a:cubicBezTo>
                  <a:pt x="606954" y="240771"/>
                  <a:pt x="592137" y="251354"/>
                  <a:pt x="577850" y="260350"/>
                </a:cubicBezTo>
                <a:cubicBezTo>
                  <a:pt x="563563" y="269346"/>
                  <a:pt x="550333" y="277813"/>
                  <a:pt x="533400" y="282575"/>
                </a:cubicBezTo>
                <a:cubicBezTo>
                  <a:pt x="516467" y="287337"/>
                  <a:pt x="490008" y="286808"/>
                  <a:pt x="476250" y="288925"/>
                </a:cubicBezTo>
                <a:cubicBezTo>
                  <a:pt x="462492" y="291042"/>
                  <a:pt x="459317" y="289454"/>
                  <a:pt x="450850" y="295275"/>
                </a:cubicBezTo>
                <a:cubicBezTo>
                  <a:pt x="442383" y="301096"/>
                  <a:pt x="436033" y="318558"/>
                  <a:pt x="425450" y="323850"/>
                </a:cubicBezTo>
                <a:cubicBezTo>
                  <a:pt x="414867" y="329142"/>
                  <a:pt x="400579" y="323850"/>
                  <a:pt x="387350" y="327025"/>
                </a:cubicBezTo>
                <a:cubicBezTo>
                  <a:pt x="374121" y="330200"/>
                  <a:pt x="356658" y="338138"/>
                  <a:pt x="346075" y="342900"/>
                </a:cubicBezTo>
                <a:cubicBezTo>
                  <a:pt x="335492" y="347663"/>
                  <a:pt x="323850" y="355600"/>
                  <a:pt x="323850" y="355600"/>
                </a:cubicBezTo>
                <a:cubicBezTo>
                  <a:pt x="316442" y="359833"/>
                  <a:pt x="311150" y="365654"/>
                  <a:pt x="301625" y="368300"/>
                </a:cubicBezTo>
                <a:cubicBezTo>
                  <a:pt x="292100" y="370946"/>
                  <a:pt x="278871" y="368300"/>
                  <a:pt x="266700" y="371475"/>
                </a:cubicBezTo>
                <a:cubicBezTo>
                  <a:pt x="254529" y="374650"/>
                  <a:pt x="241829" y="382588"/>
                  <a:pt x="228600" y="387350"/>
                </a:cubicBezTo>
                <a:cubicBezTo>
                  <a:pt x="215371" y="392112"/>
                  <a:pt x="201612" y="395817"/>
                  <a:pt x="187325" y="400050"/>
                </a:cubicBezTo>
                <a:cubicBezTo>
                  <a:pt x="173038" y="404283"/>
                  <a:pt x="155575" y="408517"/>
                  <a:pt x="142875" y="412750"/>
                </a:cubicBezTo>
                <a:cubicBezTo>
                  <a:pt x="130175" y="416983"/>
                  <a:pt x="121179" y="422804"/>
                  <a:pt x="111125" y="425450"/>
                </a:cubicBezTo>
                <a:cubicBezTo>
                  <a:pt x="101071" y="428096"/>
                  <a:pt x="91017" y="427038"/>
                  <a:pt x="82550" y="428625"/>
                </a:cubicBezTo>
                <a:cubicBezTo>
                  <a:pt x="74083" y="430212"/>
                  <a:pt x="68263" y="433387"/>
                  <a:pt x="60325" y="434975"/>
                </a:cubicBezTo>
                <a:cubicBezTo>
                  <a:pt x="52387" y="436563"/>
                  <a:pt x="43392" y="434975"/>
                  <a:pt x="34925" y="438150"/>
                </a:cubicBezTo>
                <a:cubicBezTo>
                  <a:pt x="26458" y="441325"/>
                  <a:pt x="9525" y="454025"/>
                  <a:pt x="9525" y="454025"/>
                </a:cubicBezTo>
                <a:cubicBezTo>
                  <a:pt x="3704" y="458258"/>
                  <a:pt x="1852" y="460904"/>
                  <a:pt x="0" y="46355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Полилиния 105"/>
          <p:cNvSpPr/>
          <p:nvPr/>
        </p:nvSpPr>
        <p:spPr>
          <a:xfrm>
            <a:off x="2501900" y="2724150"/>
            <a:ext cx="57201" cy="142875"/>
          </a:xfrm>
          <a:custGeom>
            <a:avLst/>
            <a:gdLst>
              <a:gd name="connsiteX0" fmla="*/ 0 w 57201"/>
              <a:gd name="connsiteY0" fmla="*/ 142875 h 142875"/>
              <a:gd name="connsiteX1" fmla="*/ 50800 w 57201"/>
              <a:gd name="connsiteY1" fmla="*/ 92075 h 142875"/>
              <a:gd name="connsiteX2" fmla="*/ 50800 w 57201"/>
              <a:gd name="connsiteY2" fmla="*/ 69850 h 142875"/>
              <a:gd name="connsiteX3" fmla="*/ 57150 w 57201"/>
              <a:gd name="connsiteY3" fmla="*/ 53975 h 142875"/>
              <a:gd name="connsiteX4" fmla="*/ 53975 w 57201"/>
              <a:gd name="connsiteY4" fmla="*/ 28575 h 142875"/>
              <a:gd name="connsiteX5" fmla="*/ 44450 w 57201"/>
              <a:gd name="connsiteY5" fmla="*/ 19050 h 142875"/>
              <a:gd name="connsiteX6" fmla="*/ 38100 w 57201"/>
              <a:gd name="connsiteY6" fmla="*/ 0 h 14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01" h="142875">
                <a:moveTo>
                  <a:pt x="0" y="142875"/>
                </a:moveTo>
                <a:cubicBezTo>
                  <a:pt x="21166" y="123560"/>
                  <a:pt x="42333" y="104246"/>
                  <a:pt x="50800" y="92075"/>
                </a:cubicBezTo>
                <a:cubicBezTo>
                  <a:pt x="59267" y="79904"/>
                  <a:pt x="49742" y="76200"/>
                  <a:pt x="50800" y="69850"/>
                </a:cubicBezTo>
                <a:cubicBezTo>
                  <a:pt x="51858" y="63500"/>
                  <a:pt x="56621" y="60854"/>
                  <a:pt x="57150" y="53975"/>
                </a:cubicBezTo>
                <a:cubicBezTo>
                  <a:pt x="57679" y="47096"/>
                  <a:pt x="53975" y="28575"/>
                  <a:pt x="53975" y="28575"/>
                </a:cubicBezTo>
                <a:cubicBezTo>
                  <a:pt x="51858" y="22754"/>
                  <a:pt x="47096" y="23812"/>
                  <a:pt x="44450" y="19050"/>
                </a:cubicBezTo>
                <a:cubicBezTo>
                  <a:pt x="41804" y="14288"/>
                  <a:pt x="39952" y="7144"/>
                  <a:pt x="38100" y="0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Полилиния 107"/>
          <p:cNvSpPr/>
          <p:nvPr/>
        </p:nvSpPr>
        <p:spPr>
          <a:xfrm>
            <a:off x="2504892" y="2851150"/>
            <a:ext cx="14105" cy="130175"/>
          </a:xfrm>
          <a:custGeom>
            <a:avLst/>
            <a:gdLst>
              <a:gd name="connsiteX0" fmla="*/ 6533 w 14105"/>
              <a:gd name="connsiteY0" fmla="*/ 0 h 130175"/>
              <a:gd name="connsiteX1" fmla="*/ 183 w 14105"/>
              <a:gd name="connsiteY1" fmla="*/ 76200 h 130175"/>
              <a:gd name="connsiteX2" fmla="*/ 12883 w 14105"/>
              <a:gd name="connsiteY2" fmla="*/ 92075 h 130175"/>
              <a:gd name="connsiteX3" fmla="*/ 12883 w 14105"/>
              <a:gd name="connsiteY3" fmla="*/ 130175 h 1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05" h="130175">
                <a:moveTo>
                  <a:pt x="6533" y="0"/>
                </a:moveTo>
                <a:cubicBezTo>
                  <a:pt x="2829" y="30427"/>
                  <a:pt x="-875" y="60854"/>
                  <a:pt x="183" y="76200"/>
                </a:cubicBezTo>
                <a:cubicBezTo>
                  <a:pt x="1241" y="91546"/>
                  <a:pt x="10766" y="83079"/>
                  <a:pt x="12883" y="92075"/>
                </a:cubicBezTo>
                <a:cubicBezTo>
                  <a:pt x="15000" y="101071"/>
                  <a:pt x="13941" y="115623"/>
                  <a:pt x="12883" y="130175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Полилиния 108"/>
          <p:cNvSpPr/>
          <p:nvPr/>
        </p:nvSpPr>
        <p:spPr>
          <a:xfrm>
            <a:off x="2504892" y="2867025"/>
            <a:ext cx="14105" cy="130175"/>
          </a:xfrm>
          <a:custGeom>
            <a:avLst/>
            <a:gdLst>
              <a:gd name="connsiteX0" fmla="*/ 6533 w 14105"/>
              <a:gd name="connsiteY0" fmla="*/ 0 h 130175"/>
              <a:gd name="connsiteX1" fmla="*/ 183 w 14105"/>
              <a:gd name="connsiteY1" fmla="*/ 76200 h 130175"/>
              <a:gd name="connsiteX2" fmla="*/ 12883 w 14105"/>
              <a:gd name="connsiteY2" fmla="*/ 92075 h 130175"/>
              <a:gd name="connsiteX3" fmla="*/ 12883 w 14105"/>
              <a:gd name="connsiteY3" fmla="*/ 130175 h 1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05" h="130175">
                <a:moveTo>
                  <a:pt x="6533" y="0"/>
                </a:moveTo>
                <a:cubicBezTo>
                  <a:pt x="2829" y="30427"/>
                  <a:pt x="-875" y="60854"/>
                  <a:pt x="183" y="76200"/>
                </a:cubicBezTo>
                <a:cubicBezTo>
                  <a:pt x="1241" y="91546"/>
                  <a:pt x="10766" y="83079"/>
                  <a:pt x="12883" y="92075"/>
                </a:cubicBezTo>
                <a:cubicBezTo>
                  <a:pt x="15000" y="101071"/>
                  <a:pt x="13941" y="115623"/>
                  <a:pt x="12883" y="13017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Полилиния 110"/>
          <p:cNvSpPr/>
          <p:nvPr/>
        </p:nvSpPr>
        <p:spPr>
          <a:xfrm>
            <a:off x="2517775" y="2724150"/>
            <a:ext cx="42667" cy="123825"/>
          </a:xfrm>
          <a:custGeom>
            <a:avLst/>
            <a:gdLst>
              <a:gd name="connsiteX0" fmla="*/ 0 w 42667"/>
              <a:gd name="connsiteY0" fmla="*/ 123825 h 123825"/>
              <a:gd name="connsiteX1" fmla="*/ 38100 w 42667"/>
              <a:gd name="connsiteY1" fmla="*/ 73025 h 123825"/>
              <a:gd name="connsiteX2" fmla="*/ 41275 w 42667"/>
              <a:gd name="connsiteY2" fmla="*/ 44450 h 123825"/>
              <a:gd name="connsiteX3" fmla="*/ 31750 w 42667"/>
              <a:gd name="connsiteY3" fmla="*/ 28575 h 123825"/>
              <a:gd name="connsiteX4" fmla="*/ 28575 w 42667"/>
              <a:gd name="connsiteY4" fmla="*/ 0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667" h="123825">
                <a:moveTo>
                  <a:pt x="0" y="123825"/>
                </a:moveTo>
                <a:cubicBezTo>
                  <a:pt x="15610" y="105039"/>
                  <a:pt x="31221" y="86254"/>
                  <a:pt x="38100" y="73025"/>
                </a:cubicBezTo>
                <a:cubicBezTo>
                  <a:pt x="44979" y="59796"/>
                  <a:pt x="42333" y="51858"/>
                  <a:pt x="41275" y="44450"/>
                </a:cubicBezTo>
                <a:cubicBezTo>
                  <a:pt x="40217" y="37042"/>
                  <a:pt x="33867" y="35983"/>
                  <a:pt x="31750" y="28575"/>
                </a:cubicBezTo>
                <a:cubicBezTo>
                  <a:pt x="29633" y="21167"/>
                  <a:pt x="29104" y="10583"/>
                  <a:pt x="28575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Полилиния 119"/>
          <p:cNvSpPr/>
          <p:nvPr/>
        </p:nvSpPr>
        <p:spPr>
          <a:xfrm>
            <a:off x="7335078" y="2492734"/>
            <a:ext cx="485030" cy="357809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Полилиния 120"/>
          <p:cNvSpPr/>
          <p:nvPr/>
        </p:nvSpPr>
        <p:spPr>
          <a:xfrm>
            <a:off x="7332427" y="2490081"/>
            <a:ext cx="485030" cy="357809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Полилиния 130"/>
          <p:cNvSpPr/>
          <p:nvPr/>
        </p:nvSpPr>
        <p:spPr>
          <a:xfrm>
            <a:off x="6663937" y="2052466"/>
            <a:ext cx="72362" cy="88809"/>
          </a:xfrm>
          <a:custGeom>
            <a:avLst/>
            <a:gdLst>
              <a:gd name="connsiteX0" fmla="*/ 0 w 72362"/>
              <a:gd name="connsiteY0" fmla="*/ 0 h 88809"/>
              <a:gd name="connsiteX1" fmla="*/ 29603 w 72362"/>
              <a:gd name="connsiteY1" fmla="*/ 42760 h 88809"/>
              <a:gd name="connsiteX2" fmla="*/ 52627 w 72362"/>
              <a:gd name="connsiteY2" fmla="*/ 69074 h 88809"/>
              <a:gd name="connsiteX3" fmla="*/ 72362 w 72362"/>
              <a:gd name="connsiteY3" fmla="*/ 88809 h 88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62" h="88809">
                <a:moveTo>
                  <a:pt x="0" y="0"/>
                </a:moveTo>
                <a:cubicBezTo>
                  <a:pt x="10416" y="15624"/>
                  <a:pt x="20832" y="31248"/>
                  <a:pt x="29603" y="42760"/>
                </a:cubicBezTo>
                <a:cubicBezTo>
                  <a:pt x="38374" y="54272"/>
                  <a:pt x="45500" y="61399"/>
                  <a:pt x="52627" y="69074"/>
                </a:cubicBezTo>
                <a:cubicBezTo>
                  <a:pt x="59754" y="76749"/>
                  <a:pt x="66058" y="82779"/>
                  <a:pt x="72362" y="88809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Полилиния 131"/>
          <p:cNvSpPr/>
          <p:nvPr/>
        </p:nvSpPr>
        <p:spPr>
          <a:xfrm>
            <a:off x="6670517" y="2062368"/>
            <a:ext cx="72362" cy="88809"/>
          </a:xfrm>
          <a:custGeom>
            <a:avLst/>
            <a:gdLst>
              <a:gd name="connsiteX0" fmla="*/ 0 w 72362"/>
              <a:gd name="connsiteY0" fmla="*/ 0 h 88809"/>
              <a:gd name="connsiteX1" fmla="*/ 29603 w 72362"/>
              <a:gd name="connsiteY1" fmla="*/ 42760 h 88809"/>
              <a:gd name="connsiteX2" fmla="*/ 52627 w 72362"/>
              <a:gd name="connsiteY2" fmla="*/ 69074 h 88809"/>
              <a:gd name="connsiteX3" fmla="*/ 72362 w 72362"/>
              <a:gd name="connsiteY3" fmla="*/ 88809 h 88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62" h="88809">
                <a:moveTo>
                  <a:pt x="0" y="0"/>
                </a:moveTo>
                <a:cubicBezTo>
                  <a:pt x="10416" y="15624"/>
                  <a:pt x="20832" y="31248"/>
                  <a:pt x="29603" y="42760"/>
                </a:cubicBezTo>
                <a:cubicBezTo>
                  <a:pt x="38374" y="54272"/>
                  <a:pt x="45500" y="61399"/>
                  <a:pt x="52627" y="69074"/>
                </a:cubicBezTo>
                <a:cubicBezTo>
                  <a:pt x="59754" y="76749"/>
                  <a:pt x="66058" y="82779"/>
                  <a:pt x="72362" y="88809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Полилиния 132"/>
          <p:cNvSpPr/>
          <p:nvPr/>
        </p:nvSpPr>
        <p:spPr>
          <a:xfrm>
            <a:off x="6733010" y="2134696"/>
            <a:ext cx="374970" cy="197353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Полилиния 133"/>
          <p:cNvSpPr/>
          <p:nvPr/>
        </p:nvSpPr>
        <p:spPr>
          <a:xfrm>
            <a:off x="6733010" y="2134696"/>
            <a:ext cx="374970" cy="197353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Полилиния 134"/>
          <p:cNvSpPr/>
          <p:nvPr/>
        </p:nvSpPr>
        <p:spPr>
          <a:xfrm>
            <a:off x="7098112" y="2325470"/>
            <a:ext cx="243401" cy="167750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Полилиния 135"/>
          <p:cNvSpPr/>
          <p:nvPr/>
        </p:nvSpPr>
        <p:spPr>
          <a:xfrm>
            <a:off x="7098112" y="2324741"/>
            <a:ext cx="243401" cy="167750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олилиния 136"/>
          <p:cNvSpPr/>
          <p:nvPr/>
        </p:nvSpPr>
        <p:spPr>
          <a:xfrm>
            <a:off x="6543675" y="2044700"/>
            <a:ext cx="82550" cy="92075"/>
          </a:xfrm>
          <a:custGeom>
            <a:avLst/>
            <a:gdLst>
              <a:gd name="connsiteX0" fmla="*/ 82550 w 82550"/>
              <a:gd name="connsiteY0" fmla="*/ 0 h 92075"/>
              <a:gd name="connsiteX1" fmla="*/ 22225 w 82550"/>
              <a:gd name="connsiteY1" fmla="*/ 73025 h 92075"/>
              <a:gd name="connsiteX2" fmla="*/ 6350 w 82550"/>
              <a:gd name="connsiteY2" fmla="*/ 82550 h 92075"/>
              <a:gd name="connsiteX3" fmla="*/ 0 w 82550"/>
              <a:gd name="connsiteY3" fmla="*/ 92075 h 9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92075">
                <a:moveTo>
                  <a:pt x="82550" y="0"/>
                </a:moveTo>
                <a:cubicBezTo>
                  <a:pt x="58737" y="29633"/>
                  <a:pt x="34925" y="59267"/>
                  <a:pt x="22225" y="73025"/>
                </a:cubicBezTo>
                <a:cubicBezTo>
                  <a:pt x="9525" y="86783"/>
                  <a:pt x="6350" y="82550"/>
                  <a:pt x="6350" y="82550"/>
                </a:cubicBezTo>
                <a:cubicBezTo>
                  <a:pt x="2646" y="85725"/>
                  <a:pt x="1323" y="88900"/>
                  <a:pt x="0" y="92075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8" name="Полилиния 137"/>
          <p:cNvSpPr/>
          <p:nvPr/>
        </p:nvSpPr>
        <p:spPr>
          <a:xfrm>
            <a:off x="6540500" y="2041522"/>
            <a:ext cx="82550" cy="92075"/>
          </a:xfrm>
          <a:custGeom>
            <a:avLst/>
            <a:gdLst>
              <a:gd name="connsiteX0" fmla="*/ 82550 w 82550"/>
              <a:gd name="connsiteY0" fmla="*/ 0 h 92075"/>
              <a:gd name="connsiteX1" fmla="*/ 22225 w 82550"/>
              <a:gd name="connsiteY1" fmla="*/ 73025 h 92075"/>
              <a:gd name="connsiteX2" fmla="*/ 6350 w 82550"/>
              <a:gd name="connsiteY2" fmla="*/ 82550 h 92075"/>
              <a:gd name="connsiteX3" fmla="*/ 0 w 82550"/>
              <a:gd name="connsiteY3" fmla="*/ 92075 h 9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92075">
                <a:moveTo>
                  <a:pt x="82550" y="0"/>
                </a:moveTo>
                <a:cubicBezTo>
                  <a:pt x="58737" y="29633"/>
                  <a:pt x="34925" y="59267"/>
                  <a:pt x="22225" y="73025"/>
                </a:cubicBezTo>
                <a:cubicBezTo>
                  <a:pt x="9525" y="86783"/>
                  <a:pt x="6350" y="82550"/>
                  <a:pt x="6350" y="82550"/>
                </a:cubicBezTo>
                <a:cubicBezTo>
                  <a:pt x="2646" y="85725"/>
                  <a:pt x="1323" y="88900"/>
                  <a:pt x="0" y="9207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Полилиния 138"/>
          <p:cNvSpPr/>
          <p:nvPr/>
        </p:nvSpPr>
        <p:spPr>
          <a:xfrm>
            <a:off x="6061075" y="2127250"/>
            <a:ext cx="488950" cy="206375"/>
          </a:xfrm>
          <a:custGeom>
            <a:avLst/>
            <a:gdLst>
              <a:gd name="connsiteX0" fmla="*/ 488950 w 488950"/>
              <a:gd name="connsiteY0" fmla="*/ 0 h 206375"/>
              <a:gd name="connsiteX1" fmla="*/ 425450 w 488950"/>
              <a:gd name="connsiteY1" fmla="*/ 60325 h 206375"/>
              <a:gd name="connsiteX2" fmla="*/ 396875 w 488950"/>
              <a:gd name="connsiteY2" fmla="*/ 82550 h 206375"/>
              <a:gd name="connsiteX3" fmla="*/ 355600 w 488950"/>
              <a:gd name="connsiteY3" fmla="*/ 101600 h 206375"/>
              <a:gd name="connsiteX4" fmla="*/ 307975 w 488950"/>
              <a:gd name="connsiteY4" fmla="*/ 127000 h 206375"/>
              <a:gd name="connsiteX5" fmla="*/ 260350 w 488950"/>
              <a:gd name="connsiteY5" fmla="*/ 152400 h 206375"/>
              <a:gd name="connsiteX6" fmla="*/ 212725 w 488950"/>
              <a:gd name="connsiteY6" fmla="*/ 165100 h 206375"/>
              <a:gd name="connsiteX7" fmla="*/ 161925 w 488950"/>
              <a:gd name="connsiteY7" fmla="*/ 174625 h 206375"/>
              <a:gd name="connsiteX8" fmla="*/ 127000 w 488950"/>
              <a:gd name="connsiteY8" fmla="*/ 174625 h 206375"/>
              <a:gd name="connsiteX9" fmla="*/ 95250 w 488950"/>
              <a:gd name="connsiteY9" fmla="*/ 168275 h 206375"/>
              <a:gd name="connsiteX10" fmla="*/ 73025 w 488950"/>
              <a:gd name="connsiteY10" fmla="*/ 174625 h 206375"/>
              <a:gd name="connsiteX11" fmla="*/ 57150 w 488950"/>
              <a:gd name="connsiteY11" fmla="*/ 187325 h 206375"/>
              <a:gd name="connsiteX12" fmla="*/ 22225 w 488950"/>
              <a:gd name="connsiteY12" fmla="*/ 200025 h 206375"/>
              <a:gd name="connsiteX13" fmla="*/ 0 w 488950"/>
              <a:gd name="connsiteY13" fmla="*/ 206375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88950" h="206375">
                <a:moveTo>
                  <a:pt x="488950" y="0"/>
                </a:moveTo>
                <a:cubicBezTo>
                  <a:pt x="464873" y="23283"/>
                  <a:pt x="440796" y="46567"/>
                  <a:pt x="425450" y="60325"/>
                </a:cubicBezTo>
                <a:cubicBezTo>
                  <a:pt x="410104" y="74083"/>
                  <a:pt x="408517" y="75671"/>
                  <a:pt x="396875" y="82550"/>
                </a:cubicBezTo>
                <a:cubicBezTo>
                  <a:pt x="385233" y="89429"/>
                  <a:pt x="370417" y="94192"/>
                  <a:pt x="355600" y="101600"/>
                </a:cubicBezTo>
                <a:cubicBezTo>
                  <a:pt x="340783" y="109008"/>
                  <a:pt x="307975" y="127000"/>
                  <a:pt x="307975" y="127000"/>
                </a:cubicBezTo>
                <a:cubicBezTo>
                  <a:pt x="292100" y="135467"/>
                  <a:pt x="276225" y="146050"/>
                  <a:pt x="260350" y="152400"/>
                </a:cubicBezTo>
                <a:cubicBezTo>
                  <a:pt x="244475" y="158750"/>
                  <a:pt x="229129" y="161396"/>
                  <a:pt x="212725" y="165100"/>
                </a:cubicBezTo>
                <a:cubicBezTo>
                  <a:pt x="196321" y="168804"/>
                  <a:pt x="176212" y="173038"/>
                  <a:pt x="161925" y="174625"/>
                </a:cubicBezTo>
                <a:cubicBezTo>
                  <a:pt x="147638" y="176212"/>
                  <a:pt x="138112" y="175683"/>
                  <a:pt x="127000" y="174625"/>
                </a:cubicBezTo>
                <a:cubicBezTo>
                  <a:pt x="115888" y="173567"/>
                  <a:pt x="104246" y="168275"/>
                  <a:pt x="95250" y="168275"/>
                </a:cubicBezTo>
                <a:cubicBezTo>
                  <a:pt x="86254" y="168275"/>
                  <a:pt x="79375" y="171450"/>
                  <a:pt x="73025" y="174625"/>
                </a:cubicBezTo>
                <a:cubicBezTo>
                  <a:pt x="66675" y="177800"/>
                  <a:pt x="65617" y="183092"/>
                  <a:pt x="57150" y="187325"/>
                </a:cubicBezTo>
                <a:cubicBezTo>
                  <a:pt x="48683" y="191558"/>
                  <a:pt x="31750" y="196850"/>
                  <a:pt x="22225" y="200025"/>
                </a:cubicBezTo>
                <a:cubicBezTo>
                  <a:pt x="12700" y="203200"/>
                  <a:pt x="6350" y="204787"/>
                  <a:pt x="0" y="206375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Полилиния 139"/>
          <p:cNvSpPr/>
          <p:nvPr/>
        </p:nvSpPr>
        <p:spPr>
          <a:xfrm>
            <a:off x="6057900" y="2127250"/>
            <a:ext cx="488950" cy="206375"/>
          </a:xfrm>
          <a:custGeom>
            <a:avLst/>
            <a:gdLst>
              <a:gd name="connsiteX0" fmla="*/ 488950 w 488950"/>
              <a:gd name="connsiteY0" fmla="*/ 0 h 206375"/>
              <a:gd name="connsiteX1" fmla="*/ 425450 w 488950"/>
              <a:gd name="connsiteY1" fmla="*/ 60325 h 206375"/>
              <a:gd name="connsiteX2" fmla="*/ 396875 w 488950"/>
              <a:gd name="connsiteY2" fmla="*/ 82550 h 206375"/>
              <a:gd name="connsiteX3" fmla="*/ 355600 w 488950"/>
              <a:gd name="connsiteY3" fmla="*/ 101600 h 206375"/>
              <a:gd name="connsiteX4" fmla="*/ 307975 w 488950"/>
              <a:gd name="connsiteY4" fmla="*/ 127000 h 206375"/>
              <a:gd name="connsiteX5" fmla="*/ 260350 w 488950"/>
              <a:gd name="connsiteY5" fmla="*/ 152400 h 206375"/>
              <a:gd name="connsiteX6" fmla="*/ 212725 w 488950"/>
              <a:gd name="connsiteY6" fmla="*/ 165100 h 206375"/>
              <a:gd name="connsiteX7" fmla="*/ 161925 w 488950"/>
              <a:gd name="connsiteY7" fmla="*/ 174625 h 206375"/>
              <a:gd name="connsiteX8" fmla="*/ 127000 w 488950"/>
              <a:gd name="connsiteY8" fmla="*/ 174625 h 206375"/>
              <a:gd name="connsiteX9" fmla="*/ 95250 w 488950"/>
              <a:gd name="connsiteY9" fmla="*/ 168275 h 206375"/>
              <a:gd name="connsiteX10" fmla="*/ 73025 w 488950"/>
              <a:gd name="connsiteY10" fmla="*/ 174625 h 206375"/>
              <a:gd name="connsiteX11" fmla="*/ 57150 w 488950"/>
              <a:gd name="connsiteY11" fmla="*/ 187325 h 206375"/>
              <a:gd name="connsiteX12" fmla="*/ 22225 w 488950"/>
              <a:gd name="connsiteY12" fmla="*/ 200025 h 206375"/>
              <a:gd name="connsiteX13" fmla="*/ 0 w 488950"/>
              <a:gd name="connsiteY13" fmla="*/ 206375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88950" h="206375">
                <a:moveTo>
                  <a:pt x="488950" y="0"/>
                </a:moveTo>
                <a:cubicBezTo>
                  <a:pt x="464873" y="23283"/>
                  <a:pt x="440796" y="46567"/>
                  <a:pt x="425450" y="60325"/>
                </a:cubicBezTo>
                <a:cubicBezTo>
                  <a:pt x="410104" y="74083"/>
                  <a:pt x="408517" y="75671"/>
                  <a:pt x="396875" y="82550"/>
                </a:cubicBezTo>
                <a:cubicBezTo>
                  <a:pt x="385233" y="89429"/>
                  <a:pt x="370417" y="94192"/>
                  <a:pt x="355600" y="101600"/>
                </a:cubicBezTo>
                <a:cubicBezTo>
                  <a:pt x="340783" y="109008"/>
                  <a:pt x="307975" y="127000"/>
                  <a:pt x="307975" y="127000"/>
                </a:cubicBezTo>
                <a:cubicBezTo>
                  <a:pt x="292100" y="135467"/>
                  <a:pt x="276225" y="146050"/>
                  <a:pt x="260350" y="152400"/>
                </a:cubicBezTo>
                <a:cubicBezTo>
                  <a:pt x="244475" y="158750"/>
                  <a:pt x="229129" y="161396"/>
                  <a:pt x="212725" y="165100"/>
                </a:cubicBezTo>
                <a:cubicBezTo>
                  <a:pt x="196321" y="168804"/>
                  <a:pt x="176212" y="173038"/>
                  <a:pt x="161925" y="174625"/>
                </a:cubicBezTo>
                <a:cubicBezTo>
                  <a:pt x="147638" y="176212"/>
                  <a:pt x="138112" y="175683"/>
                  <a:pt x="127000" y="174625"/>
                </a:cubicBezTo>
                <a:cubicBezTo>
                  <a:pt x="115888" y="173567"/>
                  <a:pt x="104246" y="168275"/>
                  <a:pt x="95250" y="168275"/>
                </a:cubicBezTo>
                <a:cubicBezTo>
                  <a:pt x="86254" y="168275"/>
                  <a:pt x="79375" y="171450"/>
                  <a:pt x="73025" y="174625"/>
                </a:cubicBezTo>
                <a:cubicBezTo>
                  <a:pt x="66675" y="177800"/>
                  <a:pt x="65617" y="183092"/>
                  <a:pt x="57150" y="187325"/>
                </a:cubicBezTo>
                <a:cubicBezTo>
                  <a:pt x="48683" y="191558"/>
                  <a:pt x="31750" y="196850"/>
                  <a:pt x="22225" y="200025"/>
                </a:cubicBezTo>
                <a:cubicBezTo>
                  <a:pt x="12700" y="203200"/>
                  <a:pt x="6350" y="204787"/>
                  <a:pt x="0" y="20637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Полилиния 140"/>
          <p:cNvSpPr/>
          <p:nvPr/>
        </p:nvSpPr>
        <p:spPr>
          <a:xfrm>
            <a:off x="5562600" y="2333625"/>
            <a:ext cx="504825" cy="209550"/>
          </a:xfrm>
          <a:custGeom>
            <a:avLst/>
            <a:gdLst>
              <a:gd name="connsiteX0" fmla="*/ 504825 w 504825"/>
              <a:gd name="connsiteY0" fmla="*/ 0 h 209550"/>
              <a:gd name="connsiteX1" fmla="*/ 438150 w 504825"/>
              <a:gd name="connsiteY1" fmla="*/ 34925 h 209550"/>
              <a:gd name="connsiteX2" fmla="*/ 403225 w 504825"/>
              <a:gd name="connsiteY2" fmla="*/ 41275 h 209550"/>
              <a:gd name="connsiteX3" fmla="*/ 361950 w 504825"/>
              <a:gd name="connsiteY3" fmla="*/ 38100 h 209550"/>
              <a:gd name="connsiteX4" fmla="*/ 339725 w 504825"/>
              <a:gd name="connsiteY4" fmla="*/ 31750 h 209550"/>
              <a:gd name="connsiteX5" fmla="*/ 288925 w 504825"/>
              <a:gd name="connsiteY5" fmla="*/ 9525 h 209550"/>
              <a:gd name="connsiteX6" fmla="*/ 257175 w 504825"/>
              <a:gd name="connsiteY6" fmla="*/ 0 h 209550"/>
              <a:gd name="connsiteX7" fmla="*/ 238125 w 504825"/>
              <a:gd name="connsiteY7" fmla="*/ 9525 h 209550"/>
              <a:gd name="connsiteX8" fmla="*/ 184150 w 504825"/>
              <a:gd name="connsiteY8" fmla="*/ 19050 h 209550"/>
              <a:gd name="connsiteX9" fmla="*/ 155575 w 504825"/>
              <a:gd name="connsiteY9" fmla="*/ 41275 h 209550"/>
              <a:gd name="connsiteX10" fmla="*/ 111125 w 504825"/>
              <a:gd name="connsiteY10" fmla="*/ 76200 h 209550"/>
              <a:gd name="connsiteX11" fmla="*/ 92075 w 504825"/>
              <a:gd name="connsiteY11" fmla="*/ 107950 h 209550"/>
              <a:gd name="connsiteX12" fmla="*/ 69850 w 504825"/>
              <a:gd name="connsiteY12" fmla="*/ 139700 h 209550"/>
              <a:gd name="connsiteX13" fmla="*/ 47625 w 504825"/>
              <a:gd name="connsiteY13" fmla="*/ 171450 h 209550"/>
              <a:gd name="connsiteX14" fmla="*/ 19050 w 504825"/>
              <a:gd name="connsiteY14" fmla="*/ 190500 h 209550"/>
              <a:gd name="connsiteX15" fmla="*/ 0 w 504825"/>
              <a:gd name="connsiteY15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4825" h="209550">
                <a:moveTo>
                  <a:pt x="504825" y="0"/>
                </a:moveTo>
                <a:cubicBezTo>
                  <a:pt x="479954" y="14023"/>
                  <a:pt x="455083" y="28046"/>
                  <a:pt x="438150" y="34925"/>
                </a:cubicBezTo>
                <a:cubicBezTo>
                  <a:pt x="421217" y="41804"/>
                  <a:pt x="415925" y="40746"/>
                  <a:pt x="403225" y="41275"/>
                </a:cubicBezTo>
                <a:cubicBezTo>
                  <a:pt x="390525" y="41804"/>
                  <a:pt x="372533" y="39688"/>
                  <a:pt x="361950" y="38100"/>
                </a:cubicBezTo>
                <a:cubicBezTo>
                  <a:pt x="351367" y="36513"/>
                  <a:pt x="351896" y="36512"/>
                  <a:pt x="339725" y="31750"/>
                </a:cubicBezTo>
                <a:cubicBezTo>
                  <a:pt x="327554" y="26988"/>
                  <a:pt x="302683" y="14817"/>
                  <a:pt x="288925" y="9525"/>
                </a:cubicBezTo>
                <a:cubicBezTo>
                  <a:pt x="275167" y="4233"/>
                  <a:pt x="265642" y="0"/>
                  <a:pt x="257175" y="0"/>
                </a:cubicBezTo>
                <a:cubicBezTo>
                  <a:pt x="248708" y="0"/>
                  <a:pt x="250296" y="6350"/>
                  <a:pt x="238125" y="9525"/>
                </a:cubicBezTo>
                <a:cubicBezTo>
                  <a:pt x="225954" y="12700"/>
                  <a:pt x="197908" y="13758"/>
                  <a:pt x="184150" y="19050"/>
                </a:cubicBezTo>
                <a:cubicBezTo>
                  <a:pt x="170392" y="24342"/>
                  <a:pt x="155575" y="41275"/>
                  <a:pt x="155575" y="41275"/>
                </a:cubicBezTo>
                <a:cubicBezTo>
                  <a:pt x="143404" y="50800"/>
                  <a:pt x="121708" y="65088"/>
                  <a:pt x="111125" y="76200"/>
                </a:cubicBezTo>
                <a:cubicBezTo>
                  <a:pt x="100542" y="87312"/>
                  <a:pt x="98954" y="97367"/>
                  <a:pt x="92075" y="107950"/>
                </a:cubicBezTo>
                <a:cubicBezTo>
                  <a:pt x="85196" y="118533"/>
                  <a:pt x="69850" y="139700"/>
                  <a:pt x="69850" y="139700"/>
                </a:cubicBezTo>
                <a:cubicBezTo>
                  <a:pt x="62442" y="150283"/>
                  <a:pt x="56092" y="162983"/>
                  <a:pt x="47625" y="171450"/>
                </a:cubicBezTo>
                <a:cubicBezTo>
                  <a:pt x="39158" y="179917"/>
                  <a:pt x="26987" y="184150"/>
                  <a:pt x="19050" y="190500"/>
                </a:cubicBezTo>
                <a:cubicBezTo>
                  <a:pt x="11113" y="196850"/>
                  <a:pt x="5556" y="203200"/>
                  <a:pt x="0" y="209550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Полилиния 141"/>
          <p:cNvSpPr/>
          <p:nvPr/>
        </p:nvSpPr>
        <p:spPr>
          <a:xfrm>
            <a:off x="5565775" y="2330450"/>
            <a:ext cx="504825" cy="209550"/>
          </a:xfrm>
          <a:custGeom>
            <a:avLst/>
            <a:gdLst>
              <a:gd name="connsiteX0" fmla="*/ 504825 w 504825"/>
              <a:gd name="connsiteY0" fmla="*/ 0 h 209550"/>
              <a:gd name="connsiteX1" fmla="*/ 438150 w 504825"/>
              <a:gd name="connsiteY1" fmla="*/ 34925 h 209550"/>
              <a:gd name="connsiteX2" fmla="*/ 403225 w 504825"/>
              <a:gd name="connsiteY2" fmla="*/ 41275 h 209550"/>
              <a:gd name="connsiteX3" fmla="*/ 361950 w 504825"/>
              <a:gd name="connsiteY3" fmla="*/ 38100 h 209550"/>
              <a:gd name="connsiteX4" fmla="*/ 339725 w 504825"/>
              <a:gd name="connsiteY4" fmla="*/ 31750 h 209550"/>
              <a:gd name="connsiteX5" fmla="*/ 288925 w 504825"/>
              <a:gd name="connsiteY5" fmla="*/ 9525 h 209550"/>
              <a:gd name="connsiteX6" fmla="*/ 257175 w 504825"/>
              <a:gd name="connsiteY6" fmla="*/ 0 h 209550"/>
              <a:gd name="connsiteX7" fmla="*/ 238125 w 504825"/>
              <a:gd name="connsiteY7" fmla="*/ 9525 h 209550"/>
              <a:gd name="connsiteX8" fmla="*/ 184150 w 504825"/>
              <a:gd name="connsiteY8" fmla="*/ 19050 h 209550"/>
              <a:gd name="connsiteX9" fmla="*/ 155575 w 504825"/>
              <a:gd name="connsiteY9" fmla="*/ 41275 h 209550"/>
              <a:gd name="connsiteX10" fmla="*/ 111125 w 504825"/>
              <a:gd name="connsiteY10" fmla="*/ 76200 h 209550"/>
              <a:gd name="connsiteX11" fmla="*/ 92075 w 504825"/>
              <a:gd name="connsiteY11" fmla="*/ 107950 h 209550"/>
              <a:gd name="connsiteX12" fmla="*/ 69850 w 504825"/>
              <a:gd name="connsiteY12" fmla="*/ 139700 h 209550"/>
              <a:gd name="connsiteX13" fmla="*/ 47625 w 504825"/>
              <a:gd name="connsiteY13" fmla="*/ 171450 h 209550"/>
              <a:gd name="connsiteX14" fmla="*/ 19050 w 504825"/>
              <a:gd name="connsiteY14" fmla="*/ 190500 h 209550"/>
              <a:gd name="connsiteX15" fmla="*/ 0 w 504825"/>
              <a:gd name="connsiteY15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4825" h="209550">
                <a:moveTo>
                  <a:pt x="504825" y="0"/>
                </a:moveTo>
                <a:cubicBezTo>
                  <a:pt x="479954" y="14023"/>
                  <a:pt x="455083" y="28046"/>
                  <a:pt x="438150" y="34925"/>
                </a:cubicBezTo>
                <a:cubicBezTo>
                  <a:pt x="421217" y="41804"/>
                  <a:pt x="415925" y="40746"/>
                  <a:pt x="403225" y="41275"/>
                </a:cubicBezTo>
                <a:cubicBezTo>
                  <a:pt x="390525" y="41804"/>
                  <a:pt x="372533" y="39688"/>
                  <a:pt x="361950" y="38100"/>
                </a:cubicBezTo>
                <a:cubicBezTo>
                  <a:pt x="351367" y="36513"/>
                  <a:pt x="351896" y="36512"/>
                  <a:pt x="339725" y="31750"/>
                </a:cubicBezTo>
                <a:cubicBezTo>
                  <a:pt x="327554" y="26988"/>
                  <a:pt x="302683" y="14817"/>
                  <a:pt x="288925" y="9525"/>
                </a:cubicBezTo>
                <a:cubicBezTo>
                  <a:pt x="275167" y="4233"/>
                  <a:pt x="265642" y="0"/>
                  <a:pt x="257175" y="0"/>
                </a:cubicBezTo>
                <a:cubicBezTo>
                  <a:pt x="248708" y="0"/>
                  <a:pt x="250296" y="6350"/>
                  <a:pt x="238125" y="9525"/>
                </a:cubicBezTo>
                <a:cubicBezTo>
                  <a:pt x="225954" y="12700"/>
                  <a:pt x="197908" y="13758"/>
                  <a:pt x="184150" y="19050"/>
                </a:cubicBezTo>
                <a:cubicBezTo>
                  <a:pt x="170392" y="24342"/>
                  <a:pt x="155575" y="41275"/>
                  <a:pt x="155575" y="41275"/>
                </a:cubicBezTo>
                <a:cubicBezTo>
                  <a:pt x="143404" y="50800"/>
                  <a:pt x="121708" y="65088"/>
                  <a:pt x="111125" y="76200"/>
                </a:cubicBezTo>
                <a:cubicBezTo>
                  <a:pt x="100542" y="87312"/>
                  <a:pt x="98954" y="97367"/>
                  <a:pt x="92075" y="107950"/>
                </a:cubicBezTo>
                <a:cubicBezTo>
                  <a:pt x="85196" y="118533"/>
                  <a:pt x="69850" y="139700"/>
                  <a:pt x="69850" y="139700"/>
                </a:cubicBezTo>
                <a:cubicBezTo>
                  <a:pt x="62442" y="150283"/>
                  <a:pt x="56092" y="162983"/>
                  <a:pt x="47625" y="171450"/>
                </a:cubicBezTo>
                <a:cubicBezTo>
                  <a:pt x="39158" y="179917"/>
                  <a:pt x="26987" y="184150"/>
                  <a:pt x="19050" y="190500"/>
                </a:cubicBezTo>
                <a:cubicBezTo>
                  <a:pt x="11113" y="196850"/>
                  <a:pt x="5556" y="203200"/>
                  <a:pt x="0" y="20955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3" name="Полилиния 142"/>
          <p:cNvSpPr/>
          <p:nvPr/>
        </p:nvSpPr>
        <p:spPr>
          <a:xfrm>
            <a:off x="5565775" y="2552700"/>
            <a:ext cx="335021" cy="355600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Полилиния 143"/>
          <p:cNvSpPr/>
          <p:nvPr/>
        </p:nvSpPr>
        <p:spPr>
          <a:xfrm>
            <a:off x="5565775" y="2555505"/>
            <a:ext cx="335021" cy="355600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Полилиния 144"/>
          <p:cNvSpPr/>
          <p:nvPr/>
        </p:nvSpPr>
        <p:spPr>
          <a:xfrm>
            <a:off x="5574930" y="2529734"/>
            <a:ext cx="355130" cy="390525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6" name="Полилиния 145"/>
          <p:cNvSpPr/>
          <p:nvPr/>
        </p:nvSpPr>
        <p:spPr>
          <a:xfrm>
            <a:off x="5549900" y="2571750"/>
            <a:ext cx="335021" cy="355600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Полилиния 151"/>
          <p:cNvSpPr/>
          <p:nvPr/>
        </p:nvSpPr>
        <p:spPr>
          <a:xfrm>
            <a:off x="5895975" y="287655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Полилиния 152"/>
          <p:cNvSpPr/>
          <p:nvPr/>
        </p:nvSpPr>
        <p:spPr>
          <a:xfrm>
            <a:off x="5895975" y="287655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4" name="Полилиния 153"/>
          <p:cNvSpPr/>
          <p:nvPr/>
        </p:nvSpPr>
        <p:spPr>
          <a:xfrm>
            <a:off x="5918200" y="287020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Полилиния 154"/>
          <p:cNvSpPr/>
          <p:nvPr/>
        </p:nvSpPr>
        <p:spPr>
          <a:xfrm>
            <a:off x="5876925" y="288925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Блок-схема: узел 146"/>
          <p:cNvSpPr/>
          <p:nvPr/>
        </p:nvSpPr>
        <p:spPr>
          <a:xfrm>
            <a:off x="5860030" y="2836124"/>
            <a:ext cx="74333" cy="7065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Блок-схема: узел 166"/>
          <p:cNvSpPr/>
          <p:nvPr/>
        </p:nvSpPr>
        <p:spPr>
          <a:xfrm>
            <a:off x="1787980" y="4247354"/>
            <a:ext cx="74333" cy="7065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8" name="Блок-схема: узел 177"/>
          <p:cNvSpPr/>
          <p:nvPr/>
        </p:nvSpPr>
        <p:spPr>
          <a:xfrm>
            <a:off x="5192721" y="5789513"/>
            <a:ext cx="74333" cy="7065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9" name="Полилиния 178"/>
          <p:cNvSpPr/>
          <p:nvPr/>
        </p:nvSpPr>
        <p:spPr>
          <a:xfrm>
            <a:off x="4919903" y="1299248"/>
            <a:ext cx="98521" cy="12316"/>
          </a:xfrm>
          <a:custGeom>
            <a:avLst/>
            <a:gdLst>
              <a:gd name="connsiteX0" fmla="*/ 98521 w 98521"/>
              <a:gd name="connsiteY0" fmla="*/ 12316 h 12316"/>
              <a:gd name="connsiteX1" fmla="*/ 43103 w 98521"/>
              <a:gd name="connsiteY1" fmla="*/ 6158 h 12316"/>
              <a:gd name="connsiteX2" fmla="*/ 15394 w 98521"/>
              <a:gd name="connsiteY2" fmla="*/ 0 h 12316"/>
              <a:gd name="connsiteX3" fmla="*/ 0 w 98521"/>
              <a:gd name="connsiteY3" fmla="*/ 6158 h 12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521" h="12316">
                <a:moveTo>
                  <a:pt x="98521" y="12316"/>
                </a:moveTo>
                <a:cubicBezTo>
                  <a:pt x="77739" y="10263"/>
                  <a:pt x="56957" y="8211"/>
                  <a:pt x="43103" y="6158"/>
                </a:cubicBezTo>
                <a:cubicBezTo>
                  <a:pt x="29249" y="4105"/>
                  <a:pt x="22578" y="0"/>
                  <a:pt x="15394" y="0"/>
                </a:cubicBezTo>
                <a:cubicBezTo>
                  <a:pt x="8210" y="0"/>
                  <a:pt x="4105" y="3079"/>
                  <a:pt x="0" y="6158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0" name="Полилиния 179"/>
          <p:cNvSpPr/>
          <p:nvPr/>
        </p:nvSpPr>
        <p:spPr>
          <a:xfrm>
            <a:off x="4888965" y="1295042"/>
            <a:ext cx="98521" cy="12316"/>
          </a:xfrm>
          <a:custGeom>
            <a:avLst/>
            <a:gdLst>
              <a:gd name="connsiteX0" fmla="*/ 98521 w 98521"/>
              <a:gd name="connsiteY0" fmla="*/ 12316 h 12316"/>
              <a:gd name="connsiteX1" fmla="*/ 43103 w 98521"/>
              <a:gd name="connsiteY1" fmla="*/ 6158 h 12316"/>
              <a:gd name="connsiteX2" fmla="*/ 15394 w 98521"/>
              <a:gd name="connsiteY2" fmla="*/ 0 h 12316"/>
              <a:gd name="connsiteX3" fmla="*/ 0 w 98521"/>
              <a:gd name="connsiteY3" fmla="*/ 6158 h 12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521" h="12316">
                <a:moveTo>
                  <a:pt x="98521" y="12316"/>
                </a:moveTo>
                <a:cubicBezTo>
                  <a:pt x="77739" y="10263"/>
                  <a:pt x="56957" y="8211"/>
                  <a:pt x="43103" y="6158"/>
                </a:cubicBezTo>
                <a:cubicBezTo>
                  <a:pt x="29249" y="4105"/>
                  <a:pt x="22578" y="0"/>
                  <a:pt x="15394" y="0"/>
                </a:cubicBezTo>
                <a:cubicBezTo>
                  <a:pt x="8210" y="0"/>
                  <a:pt x="4105" y="3079"/>
                  <a:pt x="0" y="6158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1" name="Полилиния 180"/>
          <p:cNvSpPr/>
          <p:nvPr/>
        </p:nvSpPr>
        <p:spPr>
          <a:xfrm>
            <a:off x="4870642" y="1245248"/>
            <a:ext cx="64655" cy="54000"/>
          </a:xfrm>
          <a:custGeom>
            <a:avLst/>
            <a:gdLst>
              <a:gd name="connsiteX0" fmla="*/ 64655 w 64655"/>
              <a:gd name="connsiteY0" fmla="*/ 54000 h 54000"/>
              <a:gd name="connsiteX1" fmla="*/ 12316 w 64655"/>
              <a:gd name="connsiteY1" fmla="*/ 4740 h 54000"/>
              <a:gd name="connsiteX2" fmla="*/ 0 w 64655"/>
              <a:gd name="connsiteY2" fmla="*/ 4740 h 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655" h="54000">
                <a:moveTo>
                  <a:pt x="64655" y="54000"/>
                </a:moveTo>
                <a:lnTo>
                  <a:pt x="12316" y="4740"/>
                </a:lnTo>
                <a:cubicBezTo>
                  <a:pt x="1540" y="-3470"/>
                  <a:pt x="770" y="635"/>
                  <a:pt x="0" y="4740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2" name="Полилиния 181"/>
          <p:cNvSpPr/>
          <p:nvPr/>
        </p:nvSpPr>
        <p:spPr>
          <a:xfrm>
            <a:off x="4868164" y="1239768"/>
            <a:ext cx="64655" cy="54000"/>
          </a:xfrm>
          <a:custGeom>
            <a:avLst/>
            <a:gdLst>
              <a:gd name="connsiteX0" fmla="*/ 64655 w 64655"/>
              <a:gd name="connsiteY0" fmla="*/ 54000 h 54000"/>
              <a:gd name="connsiteX1" fmla="*/ 12316 w 64655"/>
              <a:gd name="connsiteY1" fmla="*/ 4740 h 54000"/>
              <a:gd name="connsiteX2" fmla="*/ 0 w 64655"/>
              <a:gd name="connsiteY2" fmla="*/ 4740 h 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655" h="54000">
                <a:moveTo>
                  <a:pt x="64655" y="54000"/>
                </a:moveTo>
                <a:lnTo>
                  <a:pt x="12316" y="4740"/>
                </a:lnTo>
                <a:cubicBezTo>
                  <a:pt x="1540" y="-3470"/>
                  <a:pt x="770" y="635"/>
                  <a:pt x="0" y="474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5" name="Полилиния 184"/>
          <p:cNvSpPr/>
          <p:nvPr/>
        </p:nvSpPr>
        <p:spPr>
          <a:xfrm>
            <a:off x="5132339" y="1856509"/>
            <a:ext cx="136652" cy="141624"/>
          </a:xfrm>
          <a:custGeom>
            <a:avLst/>
            <a:gdLst>
              <a:gd name="connsiteX0" fmla="*/ 0 w 136652"/>
              <a:gd name="connsiteY0" fmla="*/ 0 h 141624"/>
              <a:gd name="connsiteX1" fmla="*/ 46182 w 136652"/>
              <a:gd name="connsiteY1" fmla="*/ 24630 h 141624"/>
              <a:gd name="connsiteX2" fmla="*/ 64655 w 136652"/>
              <a:gd name="connsiteY2" fmla="*/ 46182 h 141624"/>
              <a:gd name="connsiteX3" fmla="*/ 92364 w 136652"/>
              <a:gd name="connsiteY3" fmla="*/ 58497 h 141624"/>
              <a:gd name="connsiteX4" fmla="*/ 116994 w 136652"/>
              <a:gd name="connsiteY4" fmla="*/ 70812 h 141624"/>
              <a:gd name="connsiteX5" fmla="*/ 123152 w 136652"/>
              <a:gd name="connsiteY5" fmla="*/ 89285 h 141624"/>
              <a:gd name="connsiteX6" fmla="*/ 135467 w 136652"/>
              <a:gd name="connsiteY6" fmla="*/ 116994 h 141624"/>
              <a:gd name="connsiteX7" fmla="*/ 135467 w 136652"/>
              <a:gd name="connsiteY7" fmla="*/ 141624 h 141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652" h="141624">
                <a:moveTo>
                  <a:pt x="0" y="0"/>
                </a:moveTo>
                <a:cubicBezTo>
                  <a:pt x="17703" y="8466"/>
                  <a:pt x="35406" y="16933"/>
                  <a:pt x="46182" y="24630"/>
                </a:cubicBezTo>
                <a:cubicBezTo>
                  <a:pt x="56958" y="32327"/>
                  <a:pt x="56958" y="40538"/>
                  <a:pt x="64655" y="46182"/>
                </a:cubicBezTo>
                <a:cubicBezTo>
                  <a:pt x="72352" y="51827"/>
                  <a:pt x="83641" y="54392"/>
                  <a:pt x="92364" y="58497"/>
                </a:cubicBezTo>
                <a:cubicBezTo>
                  <a:pt x="101087" y="62602"/>
                  <a:pt x="116994" y="70812"/>
                  <a:pt x="116994" y="70812"/>
                </a:cubicBezTo>
                <a:cubicBezTo>
                  <a:pt x="122125" y="75943"/>
                  <a:pt x="120073" y="81588"/>
                  <a:pt x="123152" y="89285"/>
                </a:cubicBezTo>
                <a:cubicBezTo>
                  <a:pt x="126231" y="96982"/>
                  <a:pt x="133414" y="108271"/>
                  <a:pt x="135467" y="116994"/>
                </a:cubicBezTo>
                <a:cubicBezTo>
                  <a:pt x="137520" y="125717"/>
                  <a:pt x="136493" y="133670"/>
                  <a:pt x="135467" y="141624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6" name="Полилиния 185"/>
          <p:cNvSpPr/>
          <p:nvPr/>
        </p:nvSpPr>
        <p:spPr>
          <a:xfrm>
            <a:off x="5133877" y="1861124"/>
            <a:ext cx="136652" cy="141624"/>
          </a:xfrm>
          <a:custGeom>
            <a:avLst/>
            <a:gdLst>
              <a:gd name="connsiteX0" fmla="*/ 0 w 136652"/>
              <a:gd name="connsiteY0" fmla="*/ 0 h 141624"/>
              <a:gd name="connsiteX1" fmla="*/ 46182 w 136652"/>
              <a:gd name="connsiteY1" fmla="*/ 24630 h 141624"/>
              <a:gd name="connsiteX2" fmla="*/ 64655 w 136652"/>
              <a:gd name="connsiteY2" fmla="*/ 46182 h 141624"/>
              <a:gd name="connsiteX3" fmla="*/ 92364 w 136652"/>
              <a:gd name="connsiteY3" fmla="*/ 58497 h 141624"/>
              <a:gd name="connsiteX4" fmla="*/ 116994 w 136652"/>
              <a:gd name="connsiteY4" fmla="*/ 70812 h 141624"/>
              <a:gd name="connsiteX5" fmla="*/ 123152 w 136652"/>
              <a:gd name="connsiteY5" fmla="*/ 89285 h 141624"/>
              <a:gd name="connsiteX6" fmla="*/ 135467 w 136652"/>
              <a:gd name="connsiteY6" fmla="*/ 116994 h 141624"/>
              <a:gd name="connsiteX7" fmla="*/ 135467 w 136652"/>
              <a:gd name="connsiteY7" fmla="*/ 141624 h 141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652" h="141624">
                <a:moveTo>
                  <a:pt x="0" y="0"/>
                </a:moveTo>
                <a:cubicBezTo>
                  <a:pt x="17703" y="8466"/>
                  <a:pt x="35406" y="16933"/>
                  <a:pt x="46182" y="24630"/>
                </a:cubicBezTo>
                <a:cubicBezTo>
                  <a:pt x="56958" y="32327"/>
                  <a:pt x="56958" y="40538"/>
                  <a:pt x="64655" y="46182"/>
                </a:cubicBezTo>
                <a:cubicBezTo>
                  <a:pt x="72352" y="51827"/>
                  <a:pt x="83641" y="54392"/>
                  <a:pt x="92364" y="58497"/>
                </a:cubicBezTo>
                <a:cubicBezTo>
                  <a:pt x="101087" y="62602"/>
                  <a:pt x="116994" y="70812"/>
                  <a:pt x="116994" y="70812"/>
                </a:cubicBezTo>
                <a:cubicBezTo>
                  <a:pt x="122125" y="75943"/>
                  <a:pt x="120073" y="81588"/>
                  <a:pt x="123152" y="89285"/>
                </a:cubicBezTo>
                <a:cubicBezTo>
                  <a:pt x="126231" y="96982"/>
                  <a:pt x="133414" y="108271"/>
                  <a:pt x="135467" y="116994"/>
                </a:cubicBezTo>
                <a:cubicBezTo>
                  <a:pt x="137520" y="125717"/>
                  <a:pt x="136493" y="133670"/>
                  <a:pt x="135467" y="141624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1" name="Полилиния 190"/>
          <p:cNvSpPr/>
          <p:nvPr/>
        </p:nvSpPr>
        <p:spPr>
          <a:xfrm>
            <a:off x="5055369" y="1958034"/>
            <a:ext cx="127768" cy="73694"/>
          </a:xfrm>
          <a:custGeom>
            <a:avLst/>
            <a:gdLst>
              <a:gd name="connsiteX0" fmla="*/ 132388 w 132388"/>
              <a:gd name="connsiteY0" fmla="*/ 80124 h 80124"/>
              <a:gd name="connsiteX1" fmla="*/ 76970 w 132388"/>
              <a:gd name="connsiteY1" fmla="*/ 18548 h 80124"/>
              <a:gd name="connsiteX2" fmla="*/ 52339 w 132388"/>
              <a:gd name="connsiteY2" fmla="*/ 75 h 80124"/>
              <a:gd name="connsiteX3" fmla="*/ 15394 w 132388"/>
              <a:gd name="connsiteY3" fmla="*/ 12390 h 80124"/>
              <a:gd name="connsiteX4" fmla="*/ 0 w 132388"/>
              <a:gd name="connsiteY4" fmla="*/ 21627 h 8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388" h="80124">
                <a:moveTo>
                  <a:pt x="132388" y="80124"/>
                </a:moveTo>
                <a:cubicBezTo>
                  <a:pt x="111349" y="56006"/>
                  <a:pt x="90311" y="31889"/>
                  <a:pt x="76970" y="18548"/>
                </a:cubicBezTo>
                <a:cubicBezTo>
                  <a:pt x="63629" y="5207"/>
                  <a:pt x="62602" y="1101"/>
                  <a:pt x="52339" y="75"/>
                </a:cubicBezTo>
                <a:cubicBezTo>
                  <a:pt x="42076" y="-951"/>
                  <a:pt x="24117" y="8798"/>
                  <a:pt x="15394" y="12390"/>
                </a:cubicBezTo>
                <a:cubicBezTo>
                  <a:pt x="6671" y="15982"/>
                  <a:pt x="3335" y="18804"/>
                  <a:pt x="0" y="21627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2" name="Полилиния 191"/>
          <p:cNvSpPr/>
          <p:nvPr/>
        </p:nvSpPr>
        <p:spPr>
          <a:xfrm>
            <a:off x="5166206" y="1973503"/>
            <a:ext cx="95442" cy="52339"/>
          </a:xfrm>
          <a:custGeom>
            <a:avLst/>
            <a:gdLst>
              <a:gd name="connsiteX0" fmla="*/ 95442 w 95442"/>
              <a:gd name="connsiteY0" fmla="*/ 0 h 52339"/>
              <a:gd name="connsiteX1" fmla="*/ 55418 w 95442"/>
              <a:gd name="connsiteY1" fmla="*/ 36945 h 52339"/>
              <a:gd name="connsiteX2" fmla="*/ 30788 w 95442"/>
              <a:gd name="connsiteY2" fmla="*/ 46182 h 52339"/>
              <a:gd name="connsiteX3" fmla="*/ 18473 w 95442"/>
              <a:gd name="connsiteY3" fmla="*/ 52339 h 52339"/>
              <a:gd name="connsiteX4" fmla="*/ 0 w 95442"/>
              <a:gd name="connsiteY4" fmla="*/ 46182 h 5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42" h="52339">
                <a:moveTo>
                  <a:pt x="95442" y="0"/>
                </a:moveTo>
                <a:cubicBezTo>
                  <a:pt x="80818" y="14624"/>
                  <a:pt x="66194" y="29248"/>
                  <a:pt x="55418" y="36945"/>
                </a:cubicBezTo>
                <a:cubicBezTo>
                  <a:pt x="44642" y="44642"/>
                  <a:pt x="30788" y="46182"/>
                  <a:pt x="30788" y="46182"/>
                </a:cubicBezTo>
                <a:cubicBezTo>
                  <a:pt x="24631" y="48748"/>
                  <a:pt x="23604" y="52339"/>
                  <a:pt x="18473" y="52339"/>
                </a:cubicBezTo>
                <a:cubicBezTo>
                  <a:pt x="13342" y="52339"/>
                  <a:pt x="6671" y="49260"/>
                  <a:pt x="0" y="46182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3" name="Полилиния 192"/>
          <p:cNvSpPr/>
          <p:nvPr/>
        </p:nvSpPr>
        <p:spPr>
          <a:xfrm>
            <a:off x="5049212" y="1960892"/>
            <a:ext cx="221673" cy="66141"/>
          </a:xfrm>
          <a:custGeom>
            <a:avLst/>
            <a:gdLst>
              <a:gd name="connsiteX0" fmla="*/ 221673 w 221673"/>
              <a:gd name="connsiteY0" fmla="*/ 296 h 66141"/>
              <a:gd name="connsiteX1" fmla="*/ 163176 w 221673"/>
              <a:gd name="connsiteY1" fmla="*/ 58793 h 66141"/>
              <a:gd name="connsiteX2" fmla="*/ 138546 w 221673"/>
              <a:gd name="connsiteY2" fmla="*/ 64950 h 66141"/>
              <a:gd name="connsiteX3" fmla="*/ 120073 w 221673"/>
              <a:gd name="connsiteY3" fmla="*/ 55714 h 66141"/>
              <a:gd name="connsiteX4" fmla="*/ 95443 w 221673"/>
              <a:gd name="connsiteY4" fmla="*/ 34162 h 66141"/>
              <a:gd name="connsiteX5" fmla="*/ 67733 w 221673"/>
              <a:gd name="connsiteY5" fmla="*/ 6453 h 66141"/>
              <a:gd name="connsiteX6" fmla="*/ 46182 w 221673"/>
              <a:gd name="connsiteY6" fmla="*/ 296 h 66141"/>
              <a:gd name="connsiteX7" fmla="*/ 24630 w 221673"/>
              <a:gd name="connsiteY7" fmla="*/ 12611 h 66141"/>
              <a:gd name="connsiteX8" fmla="*/ 12315 w 221673"/>
              <a:gd name="connsiteY8" fmla="*/ 18768 h 66141"/>
              <a:gd name="connsiteX9" fmla="*/ 0 w 221673"/>
              <a:gd name="connsiteY9" fmla="*/ 24926 h 66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1673" h="66141">
                <a:moveTo>
                  <a:pt x="221673" y="296"/>
                </a:moveTo>
                <a:cubicBezTo>
                  <a:pt x="199351" y="24156"/>
                  <a:pt x="177030" y="48017"/>
                  <a:pt x="163176" y="58793"/>
                </a:cubicBezTo>
                <a:cubicBezTo>
                  <a:pt x="149322" y="69569"/>
                  <a:pt x="145730" y="65463"/>
                  <a:pt x="138546" y="64950"/>
                </a:cubicBezTo>
                <a:cubicBezTo>
                  <a:pt x="131362" y="64437"/>
                  <a:pt x="127257" y="60845"/>
                  <a:pt x="120073" y="55714"/>
                </a:cubicBezTo>
                <a:cubicBezTo>
                  <a:pt x="112889" y="50583"/>
                  <a:pt x="104166" y="42372"/>
                  <a:pt x="95443" y="34162"/>
                </a:cubicBezTo>
                <a:cubicBezTo>
                  <a:pt x="86720" y="25952"/>
                  <a:pt x="75943" y="12097"/>
                  <a:pt x="67733" y="6453"/>
                </a:cubicBezTo>
                <a:cubicBezTo>
                  <a:pt x="59523" y="809"/>
                  <a:pt x="53366" y="-730"/>
                  <a:pt x="46182" y="296"/>
                </a:cubicBezTo>
                <a:cubicBezTo>
                  <a:pt x="38998" y="1322"/>
                  <a:pt x="24630" y="12611"/>
                  <a:pt x="24630" y="12611"/>
                </a:cubicBezTo>
                <a:cubicBezTo>
                  <a:pt x="18986" y="15690"/>
                  <a:pt x="12315" y="18768"/>
                  <a:pt x="12315" y="18768"/>
                </a:cubicBezTo>
                <a:lnTo>
                  <a:pt x="0" y="24926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6" name="Полилиния 195"/>
          <p:cNvSpPr/>
          <p:nvPr/>
        </p:nvSpPr>
        <p:spPr>
          <a:xfrm>
            <a:off x="5265804" y="1985818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825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7" name="Полилиния 196"/>
          <p:cNvSpPr/>
          <p:nvPr/>
        </p:nvSpPr>
        <p:spPr>
          <a:xfrm>
            <a:off x="5238559" y="2002752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8" name="Полилиния 197"/>
          <p:cNvSpPr/>
          <p:nvPr/>
        </p:nvSpPr>
        <p:spPr>
          <a:xfrm>
            <a:off x="5248261" y="1991975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9" name="Полилиния 198"/>
          <p:cNvSpPr/>
          <p:nvPr/>
        </p:nvSpPr>
        <p:spPr>
          <a:xfrm>
            <a:off x="5275499" y="1975040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0" name="Полилиния 199"/>
          <p:cNvSpPr/>
          <p:nvPr/>
        </p:nvSpPr>
        <p:spPr>
          <a:xfrm>
            <a:off x="5286277" y="1964262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1" name="Полилиния 200"/>
          <p:cNvSpPr/>
          <p:nvPr/>
        </p:nvSpPr>
        <p:spPr>
          <a:xfrm>
            <a:off x="5263195" y="1983197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2" name="Полилиния 201"/>
          <p:cNvSpPr/>
          <p:nvPr/>
        </p:nvSpPr>
        <p:spPr>
          <a:xfrm>
            <a:off x="7315200" y="4280289"/>
            <a:ext cx="100976" cy="179515"/>
          </a:xfrm>
          <a:custGeom>
            <a:avLst/>
            <a:gdLst>
              <a:gd name="connsiteX0" fmla="*/ 100976 w 100976"/>
              <a:gd name="connsiteY0" fmla="*/ 0 h 179515"/>
              <a:gd name="connsiteX1" fmla="*/ 61708 w 100976"/>
              <a:gd name="connsiteY1" fmla="*/ 53294 h 179515"/>
              <a:gd name="connsiteX2" fmla="*/ 47683 w 100976"/>
              <a:gd name="connsiteY2" fmla="*/ 95367 h 179515"/>
              <a:gd name="connsiteX3" fmla="*/ 39268 w 100976"/>
              <a:gd name="connsiteY3" fmla="*/ 115002 h 179515"/>
              <a:gd name="connsiteX4" fmla="*/ 22439 w 100976"/>
              <a:gd name="connsiteY4" fmla="*/ 137441 h 179515"/>
              <a:gd name="connsiteX5" fmla="*/ 5609 w 100976"/>
              <a:gd name="connsiteY5" fmla="*/ 171100 h 179515"/>
              <a:gd name="connsiteX6" fmla="*/ 0 w 100976"/>
              <a:gd name="connsiteY6" fmla="*/ 179515 h 17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76" h="179515">
                <a:moveTo>
                  <a:pt x="100976" y="0"/>
                </a:moveTo>
                <a:cubicBezTo>
                  <a:pt x="85783" y="18699"/>
                  <a:pt x="70590" y="37399"/>
                  <a:pt x="61708" y="53294"/>
                </a:cubicBezTo>
                <a:cubicBezTo>
                  <a:pt x="52826" y="69189"/>
                  <a:pt x="51423" y="85082"/>
                  <a:pt x="47683" y="95367"/>
                </a:cubicBezTo>
                <a:cubicBezTo>
                  <a:pt x="43943" y="105652"/>
                  <a:pt x="43475" y="107990"/>
                  <a:pt x="39268" y="115002"/>
                </a:cubicBezTo>
                <a:cubicBezTo>
                  <a:pt x="35061" y="122014"/>
                  <a:pt x="28049" y="128091"/>
                  <a:pt x="22439" y="137441"/>
                </a:cubicBezTo>
                <a:cubicBezTo>
                  <a:pt x="16829" y="146791"/>
                  <a:pt x="5609" y="171100"/>
                  <a:pt x="5609" y="171100"/>
                </a:cubicBezTo>
                <a:cubicBezTo>
                  <a:pt x="1869" y="178112"/>
                  <a:pt x="934" y="178813"/>
                  <a:pt x="0" y="179515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3" name="Полилиния 202"/>
          <p:cNvSpPr/>
          <p:nvPr/>
        </p:nvSpPr>
        <p:spPr>
          <a:xfrm>
            <a:off x="7324548" y="4255977"/>
            <a:ext cx="100976" cy="179515"/>
          </a:xfrm>
          <a:custGeom>
            <a:avLst/>
            <a:gdLst>
              <a:gd name="connsiteX0" fmla="*/ 100976 w 100976"/>
              <a:gd name="connsiteY0" fmla="*/ 0 h 179515"/>
              <a:gd name="connsiteX1" fmla="*/ 61708 w 100976"/>
              <a:gd name="connsiteY1" fmla="*/ 53294 h 179515"/>
              <a:gd name="connsiteX2" fmla="*/ 47683 w 100976"/>
              <a:gd name="connsiteY2" fmla="*/ 95367 h 179515"/>
              <a:gd name="connsiteX3" fmla="*/ 39268 w 100976"/>
              <a:gd name="connsiteY3" fmla="*/ 115002 h 179515"/>
              <a:gd name="connsiteX4" fmla="*/ 22439 w 100976"/>
              <a:gd name="connsiteY4" fmla="*/ 137441 h 179515"/>
              <a:gd name="connsiteX5" fmla="*/ 5609 w 100976"/>
              <a:gd name="connsiteY5" fmla="*/ 171100 h 179515"/>
              <a:gd name="connsiteX6" fmla="*/ 0 w 100976"/>
              <a:gd name="connsiteY6" fmla="*/ 179515 h 17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76" h="179515">
                <a:moveTo>
                  <a:pt x="100976" y="0"/>
                </a:moveTo>
                <a:cubicBezTo>
                  <a:pt x="85783" y="18699"/>
                  <a:pt x="70590" y="37399"/>
                  <a:pt x="61708" y="53294"/>
                </a:cubicBezTo>
                <a:cubicBezTo>
                  <a:pt x="52826" y="69189"/>
                  <a:pt x="51423" y="85082"/>
                  <a:pt x="47683" y="95367"/>
                </a:cubicBezTo>
                <a:cubicBezTo>
                  <a:pt x="43943" y="105652"/>
                  <a:pt x="43475" y="107990"/>
                  <a:pt x="39268" y="115002"/>
                </a:cubicBezTo>
                <a:cubicBezTo>
                  <a:pt x="35061" y="122014"/>
                  <a:pt x="28049" y="128091"/>
                  <a:pt x="22439" y="137441"/>
                </a:cubicBezTo>
                <a:cubicBezTo>
                  <a:pt x="16829" y="146791"/>
                  <a:pt x="5609" y="171100"/>
                  <a:pt x="5609" y="171100"/>
                </a:cubicBezTo>
                <a:cubicBezTo>
                  <a:pt x="1869" y="178112"/>
                  <a:pt x="934" y="178813"/>
                  <a:pt x="0" y="17951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Полилиния 83"/>
          <p:cNvSpPr/>
          <p:nvPr/>
        </p:nvSpPr>
        <p:spPr>
          <a:xfrm>
            <a:off x="7400925" y="3933825"/>
            <a:ext cx="460375" cy="355600"/>
          </a:xfrm>
          <a:custGeom>
            <a:avLst/>
            <a:gdLst>
              <a:gd name="connsiteX0" fmla="*/ 460375 w 460375"/>
              <a:gd name="connsiteY0" fmla="*/ 0 h 355600"/>
              <a:gd name="connsiteX1" fmla="*/ 444500 w 460375"/>
              <a:gd name="connsiteY1" fmla="*/ 60325 h 355600"/>
              <a:gd name="connsiteX2" fmla="*/ 438150 w 460375"/>
              <a:gd name="connsiteY2" fmla="*/ 85725 h 355600"/>
              <a:gd name="connsiteX3" fmla="*/ 441325 w 460375"/>
              <a:gd name="connsiteY3" fmla="*/ 114300 h 355600"/>
              <a:gd name="connsiteX4" fmla="*/ 441325 w 460375"/>
              <a:gd name="connsiteY4" fmla="*/ 120650 h 355600"/>
              <a:gd name="connsiteX5" fmla="*/ 419100 w 460375"/>
              <a:gd name="connsiteY5" fmla="*/ 127000 h 355600"/>
              <a:gd name="connsiteX6" fmla="*/ 387350 w 460375"/>
              <a:gd name="connsiteY6" fmla="*/ 133350 h 355600"/>
              <a:gd name="connsiteX7" fmla="*/ 374650 w 460375"/>
              <a:gd name="connsiteY7" fmla="*/ 133350 h 355600"/>
              <a:gd name="connsiteX8" fmla="*/ 374650 w 460375"/>
              <a:gd name="connsiteY8" fmla="*/ 152400 h 355600"/>
              <a:gd name="connsiteX9" fmla="*/ 368300 w 460375"/>
              <a:gd name="connsiteY9" fmla="*/ 171450 h 355600"/>
              <a:gd name="connsiteX10" fmla="*/ 368300 w 460375"/>
              <a:gd name="connsiteY10" fmla="*/ 193675 h 355600"/>
              <a:gd name="connsiteX11" fmla="*/ 346075 w 460375"/>
              <a:gd name="connsiteY11" fmla="*/ 203200 h 355600"/>
              <a:gd name="connsiteX12" fmla="*/ 349250 w 460375"/>
              <a:gd name="connsiteY12" fmla="*/ 228600 h 355600"/>
              <a:gd name="connsiteX13" fmla="*/ 330200 w 460375"/>
              <a:gd name="connsiteY13" fmla="*/ 247650 h 355600"/>
              <a:gd name="connsiteX14" fmla="*/ 317500 w 460375"/>
              <a:gd name="connsiteY14" fmla="*/ 266700 h 355600"/>
              <a:gd name="connsiteX15" fmla="*/ 304800 w 460375"/>
              <a:gd name="connsiteY15" fmla="*/ 285750 h 355600"/>
              <a:gd name="connsiteX16" fmla="*/ 276225 w 460375"/>
              <a:gd name="connsiteY16" fmla="*/ 292100 h 355600"/>
              <a:gd name="connsiteX17" fmla="*/ 231775 w 460375"/>
              <a:gd name="connsiteY17" fmla="*/ 314325 h 355600"/>
              <a:gd name="connsiteX18" fmla="*/ 168275 w 460375"/>
              <a:gd name="connsiteY18" fmla="*/ 311150 h 355600"/>
              <a:gd name="connsiteX19" fmla="*/ 98425 w 460375"/>
              <a:gd name="connsiteY19" fmla="*/ 333375 h 355600"/>
              <a:gd name="connsiteX20" fmla="*/ 28575 w 460375"/>
              <a:gd name="connsiteY20" fmla="*/ 349250 h 355600"/>
              <a:gd name="connsiteX21" fmla="*/ 0 w 460375"/>
              <a:gd name="connsiteY21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60375" h="355600">
                <a:moveTo>
                  <a:pt x="460375" y="0"/>
                </a:moveTo>
                <a:cubicBezTo>
                  <a:pt x="454289" y="23019"/>
                  <a:pt x="448204" y="46038"/>
                  <a:pt x="444500" y="60325"/>
                </a:cubicBezTo>
                <a:cubicBezTo>
                  <a:pt x="440796" y="74612"/>
                  <a:pt x="438679" y="76729"/>
                  <a:pt x="438150" y="85725"/>
                </a:cubicBezTo>
                <a:cubicBezTo>
                  <a:pt x="437621" y="94721"/>
                  <a:pt x="441325" y="114300"/>
                  <a:pt x="441325" y="114300"/>
                </a:cubicBezTo>
                <a:cubicBezTo>
                  <a:pt x="441854" y="120121"/>
                  <a:pt x="445029" y="118533"/>
                  <a:pt x="441325" y="120650"/>
                </a:cubicBezTo>
                <a:cubicBezTo>
                  <a:pt x="437621" y="122767"/>
                  <a:pt x="428096" y="124883"/>
                  <a:pt x="419100" y="127000"/>
                </a:cubicBezTo>
                <a:cubicBezTo>
                  <a:pt x="410104" y="129117"/>
                  <a:pt x="387350" y="133350"/>
                  <a:pt x="387350" y="133350"/>
                </a:cubicBezTo>
                <a:cubicBezTo>
                  <a:pt x="379942" y="134408"/>
                  <a:pt x="376767" y="130175"/>
                  <a:pt x="374650" y="133350"/>
                </a:cubicBezTo>
                <a:cubicBezTo>
                  <a:pt x="372533" y="136525"/>
                  <a:pt x="375708" y="146050"/>
                  <a:pt x="374650" y="152400"/>
                </a:cubicBezTo>
                <a:cubicBezTo>
                  <a:pt x="373592" y="158750"/>
                  <a:pt x="369358" y="164571"/>
                  <a:pt x="368300" y="171450"/>
                </a:cubicBezTo>
                <a:cubicBezTo>
                  <a:pt x="367242" y="178329"/>
                  <a:pt x="372004" y="188383"/>
                  <a:pt x="368300" y="193675"/>
                </a:cubicBezTo>
                <a:cubicBezTo>
                  <a:pt x="364596" y="198967"/>
                  <a:pt x="349250" y="197379"/>
                  <a:pt x="346075" y="203200"/>
                </a:cubicBezTo>
                <a:cubicBezTo>
                  <a:pt x="342900" y="209021"/>
                  <a:pt x="351896" y="221192"/>
                  <a:pt x="349250" y="228600"/>
                </a:cubicBezTo>
                <a:cubicBezTo>
                  <a:pt x="346604" y="236008"/>
                  <a:pt x="335492" y="241300"/>
                  <a:pt x="330200" y="247650"/>
                </a:cubicBezTo>
                <a:cubicBezTo>
                  <a:pt x="324908" y="254000"/>
                  <a:pt x="317500" y="266700"/>
                  <a:pt x="317500" y="266700"/>
                </a:cubicBezTo>
                <a:cubicBezTo>
                  <a:pt x="313267" y="273050"/>
                  <a:pt x="311679" y="281517"/>
                  <a:pt x="304800" y="285750"/>
                </a:cubicBezTo>
                <a:cubicBezTo>
                  <a:pt x="297921" y="289983"/>
                  <a:pt x="288396" y="287338"/>
                  <a:pt x="276225" y="292100"/>
                </a:cubicBezTo>
                <a:cubicBezTo>
                  <a:pt x="264054" y="296862"/>
                  <a:pt x="249767" y="311150"/>
                  <a:pt x="231775" y="314325"/>
                </a:cubicBezTo>
                <a:cubicBezTo>
                  <a:pt x="213783" y="317500"/>
                  <a:pt x="190500" y="307975"/>
                  <a:pt x="168275" y="311150"/>
                </a:cubicBezTo>
                <a:cubicBezTo>
                  <a:pt x="146050" y="314325"/>
                  <a:pt x="121708" y="327025"/>
                  <a:pt x="98425" y="333375"/>
                </a:cubicBezTo>
                <a:cubicBezTo>
                  <a:pt x="75142" y="339725"/>
                  <a:pt x="28575" y="349250"/>
                  <a:pt x="28575" y="349250"/>
                </a:cubicBezTo>
                <a:lnTo>
                  <a:pt x="0" y="355600"/>
                </a:ln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Полилиния 84"/>
          <p:cNvSpPr/>
          <p:nvPr/>
        </p:nvSpPr>
        <p:spPr>
          <a:xfrm>
            <a:off x="7398118" y="3933455"/>
            <a:ext cx="460375" cy="355600"/>
          </a:xfrm>
          <a:custGeom>
            <a:avLst/>
            <a:gdLst>
              <a:gd name="connsiteX0" fmla="*/ 460375 w 460375"/>
              <a:gd name="connsiteY0" fmla="*/ 0 h 355600"/>
              <a:gd name="connsiteX1" fmla="*/ 444500 w 460375"/>
              <a:gd name="connsiteY1" fmla="*/ 60325 h 355600"/>
              <a:gd name="connsiteX2" fmla="*/ 438150 w 460375"/>
              <a:gd name="connsiteY2" fmla="*/ 85725 h 355600"/>
              <a:gd name="connsiteX3" fmla="*/ 441325 w 460375"/>
              <a:gd name="connsiteY3" fmla="*/ 114300 h 355600"/>
              <a:gd name="connsiteX4" fmla="*/ 441325 w 460375"/>
              <a:gd name="connsiteY4" fmla="*/ 120650 h 355600"/>
              <a:gd name="connsiteX5" fmla="*/ 419100 w 460375"/>
              <a:gd name="connsiteY5" fmla="*/ 127000 h 355600"/>
              <a:gd name="connsiteX6" fmla="*/ 387350 w 460375"/>
              <a:gd name="connsiteY6" fmla="*/ 133350 h 355600"/>
              <a:gd name="connsiteX7" fmla="*/ 374650 w 460375"/>
              <a:gd name="connsiteY7" fmla="*/ 133350 h 355600"/>
              <a:gd name="connsiteX8" fmla="*/ 374650 w 460375"/>
              <a:gd name="connsiteY8" fmla="*/ 152400 h 355600"/>
              <a:gd name="connsiteX9" fmla="*/ 368300 w 460375"/>
              <a:gd name="connsiteY9" fmla="*/ 171450 h 355600"/>
              <a:gd name="connsiteX10" fmla="*/ 368300 w 460375"/>
              <a:gd name="connsiteY10" fmla="*/ 193675 h 355600"/>
              <a:gd name="connsiteX11" fmla="*/ 346075 w 460375"/>
              <a:gd name="connsiteY11" fmla="*/ 203200 h 355600"/>
              <a:gd name="connsiteX12" fmla="*/ 349250 w 460375"/>
              <a:gd name="connsiteY12" fmla="*/ 228600 h 355600"/>
              <a:gd name="connsiteX13" fmla="*/ 330200 w 460375"/>
              <a:gd name="connsiteY13" fmla="*/ 247650 h 355600"/>
              <a:gd name="connsiteX14" fmla="*/ 317500 w 460375"/>
              <a:gd name="connsiteY14" fmla="*/ 266700 h 355600"/>
              <a:gd name="connsiteX15" fmla="*/ 304800 w 460375"/>
              <a:gd name="connsiteY15" fmla="*/ 285750 h 355600"/>
              <a:gd name="connsiteX16" fmla="*/ 276225 w 460375"/>
              <a:gd name="connsiteY16" fmla="*/ 292100 h 355600"/>
              <a:gd name="connsiteX17" fmla="*/ 231775 w 460375"/>
              <a:gd name="connsiteY17" fmla="*/ 314325 h 355600"/>
              <a:gd name="connsiteX18" fmla="*/ 168275 w 460375"/>
              <a:gd name="connsiteY18" fmla="*/ 311150 h 355600"/>
              <a:gd name="connsiteX19" fmla="*/ 98425 w 460375"/>
              <a:gd name="connsiteY19" fmla="*/ 333375 h 355600"/>
              <a:gd name="connsiteX20" fmla="*/ 28575 w 460375"/>
              <a:gd name="connsiteY20" fmla="*/ 349250 h 355600"/>
              <a:gd name="connsiteX21" fmla="*/ 0 w 460375"/>
              <a:gd name="connsiteY21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60375" h="355600">
                <a:moveTo>
                  <a:pt x="460375" y="0"/>
                </a:moveTo>
                <a:cubicBezTo>
                  <a:pt x="454289" y="23019"/>
                  <a:pt x="448204" y="46038"/>
                  <a:pt x="444500" y="60325"/>
                </a:cubicBezTo>
                <a:cubicBezTo>
                  <a:pt x="440796" y="74612"/>
                  <a:pt x="438679" y="76729"/>
                  <a:pt x="438150" y="85725"/>
                </a:cubicBezTo>
                <a:cubicBezTo>
                  <a:pt x="437621" y="94721"/>
                  <a:pt x="441325" y="114300"/>
                  <a:pt x="441325" y="114300"/>
                </a:cubicBezTo>
                <a:cubicBezTo>
                  <a:pt x="441854" y="120121"/>
                  <a:pt x="445029" y="118533"/>
                  <a:pt x="441325" y="120650"/>
                </a:cubicBezTo>
                <a:cubicBezTo>
                  <a:pt x="437621" y="122767"/>
                  <a:pt x="428096" y="124883"/>
                  <a:pt x="419100" y="127000"/>
                </a:cubicBezTo>
                <a:cubicBezTo>
                  <a:pt x="410104" y="129117"/>
                  <a:pt x="387350" y="133350"/>
                  <a:pt x="387350" y="133350"/>
                </a:cubicBezTo>
                <a:cubicBezTo>
                  <a:pt x="379942" y="134408"/>
                  <a:pt x="376767" y="130175"/>
                  <a:pt x="374650" y="133350"/>
                </a:cubicBezTo>
                <a:cubicBezTo>
                  <a:pt x="372533" y="136525"/>
                  <a:pt x="375708" y="146050"/>
                  <a:pt x="374650" y="152400"/>
                </a:cubicBezTo>
                <a:cubicBezTo>
                  <a:pt x="373592" y="158750"/>
                  <a:pt x="369358" y="164571"/>
                  <a:pt x="368300" y="171450"/>
                </a:cubicBezTo>
                <a:cubicBezTo>
                  <a:pt x="367242" y="178329"/>
                  <a:pt x="372004" y="188383"/>
                  <a:pt x="368300" y="193675"/>
                </a:cubicBezTo>
                <a:cubicBezTo>
                  <a:pt x="364596" y="198967"/>
                  <a:pt x="349250" y="197379"/>
                  <a:pt x="346075" y="203200"/>
                </a:cubicBezTo>
                <a:cubicBezTo>
                  <a:pt x="342900" y="209021"/>
                  <a:pt x="351896" y="221192"/>
                  <a:pt x="349250" y="228600"/>
                </a:cubicBezTo>
                <a:cubicBezTo>
                  <a:pt x="346604" y="236008"/>
                  <a:pt x="335492" y="241300"/>
                  <a:pt x="330200" y="247650"/>
                </a:cubicBezTo>
                <a:cubicBezTo>
                  <a:pt x="324908" y="254000"/>
                  <a:pt x="317500" y="266700"/>
                  <a:pt x="317500" y="266700"/>
                </a:cubicBezTo>
                <a:cubicBezTo>
                  <a:pt x="313267" y="273050"/>
                  <a:pt x="311679" y="281517"/>
                  <a:pt x="304800" y="285750"/>
                </a:cubicBezTo>
                <a:cubicBezTo>
                  <a:pt x="297921" y="289983"/>
                  <a:pt x="288396" y="287338"/>
                  <a:pt x="276225" y="292100"/>
                </a:cubicBezTo>
                <a:cubicBezTo>
                  <a:pt x="264054" y="296862"/>
                  <a:pt x="249767" y="311150"/>
                  <a:pt x="231775" y="314325"/>
                </a:cubicBezTo>
                <a:cubicBezTo>
                  <a:pt x="213783" y="317500"/>
                  <a:pt x="190500" y="307975"/>
                  <a:pt x="168275" y="311150"/>
                </a:cubicBezTo>
                <a:cubicBezTo>
                  <a:pt x="146050" y="314325"/>
                  <a:pt x="121708" y="327025"/>
                  <a:pt x="98425" y="333375"/>
                </a:cubicBezTo>
                <a:cubicBezTo>
                  <a:pt x="75142" y="339725"/>
                  <a:pt x="28575" y="349250"/>
                  <a:pt x="28575" y="349250"/>
                </a:cubicBezTo>
                <a:lnTo>
                  <a:pt x="0" y="355600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9" name="Полилиния 208"/>
          <p:cNvSpPr/>
          <p:nvPr/>
        </p:nvSpPr>
        <p:spPr>
          <a:xfrm>
            <a:off x="6978611" y="5051639"/>
            <a:ext cx="92562" cy="28588"/>
          </a:xfrm>
          <a:custGeom>
            <a:avLst/>
            <a:gdLst>
              <a:gd name="connsiteX0" fmla="*/ 92562 w 92562"/>
              <a:gd name="connsiteY0" fmla="*/ 0 h 28588"/>
              <a:gd name="connsiteX1" fmla="*/ 42074 w 92562"/>
              <a:gd name="connsiteY1" fmla="*/ 22440 h 28588"/>
              <a:gd name="connsiteX2" fmla="*/ 16829 w 92562"/>
              <a:gd name="connsiteY2" fmla="*/ 28049 h 28588"/>
              <a:gd name="connsiteX3" fmla="*/ 0 w 92562"/>
              <a:gd name="connsiteY3" fmla="*/ 28049 h 2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62" h="28588">
                <a:moveTo>
                  <a:pt x="92562" y="0"/>
                </a:moveTo>
                <a:cubicBezTo>
                  <a:pt x="73629" y="8882"/>
                  <a:pt x="54696" y="17765"/>
                  <a:pt x="42074" y="22440"/>
                </a:cubicBezTo>
                <a:cubicBezTo>
                  <a:pt x="29452" y="27115"/>
                  <a:pt x="23841" y="27114"/>
                  <a:pt x="16829" y="28049"/>
                </a:cubicBezTo>
                <a:cubicBezTo>
                  <a:pt x="9817" y="28984"/>
                  <a:pt x="4908" y="28516"/>
                  <a:pt x="0" y="28049"/>
                </a:cubicBez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0" name="Полилиния 209"/>
          <p:cNvSpPr/>
          <p:nvPr/>
        </p:nvSpPr>
        <p:spPr>
          <a:xfrm>
            <a:off x="6979543" y="5046959"/>
            <a:ext cx="92562" cy="28588"/>
          </a:xfrm>
          <a:custGeom>
            <a:avLst/>
            <a:gdLst>
              <a:gd name="connsiteX0" fmla="*/ 92562 w 92562"/>
              <a:gd name="connsiteY0" fmla="*/ 0 h 28588"/>
              <a:gd name="connsiteX1" fmla="*/ 42074 w 92562"/>
              <a:gd name="connsiteY1" fmla="*/ 22440 h 28588"/>
              <a:gd name="connsiteX2" fmla="*/ 16829 w 92562"/>
              <a:gd name="connsiteY2" fmla="*/ 28049 h 28588"/>
              <a:gd name="connsiteX3" fmla="*/ 0 w 92562"/>
              <a:gd name="connsiteY3" fmla="*/ 28049 h 2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62" h="28588">
                <a:moveTo>
                  <a:pt x="92562" y="0"/>
                </a:moveTo>
                <a:cubicBezTo>
                  <a:pt x="73629" y="8882"/>
                  <a:pt x="54696" y="17765"/>
                  <a:pt x="42074" y="22440"/>
                </a:cubicBezTo>
                <a:cubicBezTo>
                  <a:pt x="29452" y="27115"/>
                  <a:pt x="23841" y="27114"/>
                  <a:pt x="16829" y="28049"/>
                </a:cubicBezTo>
                <a:cubicBezTo>
                  <a:pt x="9817" y="28984"/>
                  <a:pt x="4908" y="28516"/>
                  <a:pt x="0" y="28049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1" name="Полилиния 210"/>
          <p:cNvSpPr/>
          <p:nvPr/>
        </p:nvSpPr>
        <p:spPr>
          <a:xfrm>
            <a:off x="6620882" y="5057010"/>
            <a:ext cx="366144" cy="19873"/>
          </a:xfrm>
          <a:custGeom>
            <a:avLst/>
            <a:gdLst>
              <a:gd name="connsiteX0" fmla="*/ 366144 w 366144"/>
              <a:gd name="connsiteY0" fmla="*/ 19873 h 19873"/>
              <a:gd name="connsiteX1" fmla="*/ 301631 w 366144"/>
              <a:gd name="connsiteY1" fmla="*/ 14264 h 19873"/>
              <a:gd name="connsiteX2" fmla="*/ 262362 w 366144"/>
              <a:gd name="connsiteY2" fmla="*/ 239 h 19873"/>
              <a:gd name="connsiteX3" fmla="*/ 234313 w 366144"/>
              <a:gd name="connsiteY3" fmla="*/ 5849 h 19873"/>
              <a:gd name="connsiteX4" fmla="*/ 189435 w 366144"/>
              <a:gd name="connsiteY4" fmla="*/ 11459 h 19873"/>
              <a:gd name="connsiteX5" fmla="*/ 141751 w 366144"/>
              <a:gd name="connsiteY5" fmla="*/ 11459 h 19873"/>
              <a:gd name="connsiteX6" fmla="*/ 85653 w 366144"/>
              <a:gd name="connsiteY6" fmla="*/ 5849 h 19873"/>
              <a:gd name="connsiteX7" fmla="*/ 37970 w 366144"/>
              <a:gd name="connsiteY7" fmla="*/ 5849 h 19873"/>
              <a:gd name="connsiteX8" fmla="*/ 4311 w 366144"/>
              <a:gd name="connsiteY8" fmla="*/ 11459 h 19873"/>
              <a:gd name="connsiteX9" fmla="*/ 1506 w 366144"/>
              <a:gd name="connsiteY9" fmla="*/ 17069 h 1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6144" h="19873">
                <a:moveTo>
                  <a:pt x="366144" y="19873"/>
                </a:moveTo>
                <a:cubicBezTo>
                  <a:pt x="342536" y="18704"/>
                  <a:pt x="318928" y="17536"/>
                  <a:pt x="301631" y="14264"/>
                </a:cubicBezTo>
                <a:cubicBezTo>
                  <a:pt x="284334" y="10992"/>
                  <a:pt x="273582" y="1641"/>
                  <a:pt x="262362" y="239"/>
                </a:cubicBezTo>
                <a:cubicBezTo>
                  <a:pt x="251142" y="-1164"/>
                  <a:pt x="246467" y="3979"/>
                  <a:pt x="234313" y="5849"/>
                </a:cubicBezTo>
                <a:cubicBezTo>
                  <a:pt x="222159" y="7719"/>
                  <a:pt x="204862" y="10524"/>
                  <a:pt x="189435" y="11459"/>
                </a:cubicBezTo>
                <a:cubicBezTo>
                  <a:pt x="174008" y="12394"/>
                  <a:pt x="159048" y="12394"/>
                  <a:pt x="141751" y="11459"/>
                </a:cubicBezTo>
                <a:cubicBezTo>
                  <a:pt x="124454" y="10524"/>
                  <a:pt x="102950" y="6784"/>
                  <a:pt x="85653" y="5849"/>
                </a:cubicBezTo>
                <a:cubicBezTo>
                  <a:pt x="68356" y="4914"/>
                  <a:pt x="51527" y="4914"/>
                  <a:pt x="37970" y="5849"/>
                </a:cubicBezTo>
                <a:cubicBezTo>
                  <a:pt x="24413" y="6784"/>
                  <a:pt x="4311" y="11459"/>
                  <a:pt x="4311" y="11459"/>
                </a:cubicBezTo>
                <a:cubicBezTo>
                  <a:pt x="-1766" y="13329"/>
                  <a:pt x="-130" y="15199"/>
                  <a:pt x="1506" y="17069"/>
                </a:cubicBez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3" name="Полилиния 212"/>
          <p:cNvSpPr/>
          <p:nvPr/>
        </p:nvSpPr>
        <p:spPr>
          <a:xfrm>
            <a:off x="6426044" y="5062859"/>
            <a:ext cx="204758" cy="78537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5" name="Полилиния 214"/>
          <p:cNvSpPr/>
          <p:nvPr/>
        </p:nvSpPr>
        <p:spPr>
          <a:xfrm>
            <a:off x="6422306" y="5039490"/>
            <a:ext cx="204758" cy="78537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6" name="Полилиния 215"/>
          <p:cNvSpPr/>
          <p:nvPr/>
        </p:nvSpPr>
        <p:spPr>
          <a:xfrm>
            <a:off x="6431652" y="5085293"/>
            <a:ext cx="204758" cy="78537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4" name="Полилиния 213"/>
          <p:cNvSpPr/>
          <p:nvPr/>
        </p:nvSpPr>
        <p:spPr>
          <a:xfrm>
            <a:off x="6421370" y="5066598"/>
            <a:ext cx="204758" cy="78537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2" name="Полилиния 211"/>
          <p:cNvSpPr/>
          <p:nvPr/>
        </p:nvSpPr>
        <p:spPr>
          <a:xfrm>
            <a:off x="6624622" y="5055141"/>
            <a:ext cx="366144" cy="19873"/>
          </a:xfrm>
          <a:custGeom>
            <a:avLst/>
            <a:gdLst>
              <a:gd name="connsiteX0" fmla="*/ 366144 w 366144"/>
              <a:gd name="connsiteY0" fmla="*/ 19873 h 19873"/>
              <a:gd name="connsiteX1" fmla="*/ 301631 w 366144"/>
              <a:gd name="connsiteY1" fmla="*/ 14264 h 19873"/>
              <a:gd name="connsiteX2" fmla="*/ 262362 w 366144"/>
              <a:gd name="connsiteY2" fmla="*/ 239 h 19873"/>
              <a:gd name="connsiteX3" fmla="*/ 234313 w 366144"/>
              <a:gd name="connsiteY3" fmla="*/ 5849 h 19873"/>
              <a:gd name="connsiteX4" fmla="*/ 189435 w 366144"/>
              <a:gd name="connsiteY4" fmla="*/ 11459 h 19873"/>
              <a:gd name="connsiteX5" fmla="*/ 141751 w 366144"/>
              <a:gd name="connsiteY5" fmla="*/ 11459 h 19873"/>
              <a:gd name="connsiteX6" fmla="*/ 85653 w 366144"/>
              <a:gd name="connsiteY6" fmla="*/ 5849 h 19873"/>
              <a:gd name="connsiteX7" fmla="*/ 37970 w 366144"/>
              <a:gd name="connsiteY7" fmla="*/ 5849 h 19873"/>
              <a:gd name="connsiteX8" fmla="*/ 4311 w 366144"/>
              <a:gd name="connsiteY8" fmla="*/ 11459 h 19873"/>
              <a:gd name="connsiteX9" fmla="*/ 1506 w 366144"/>
              <a:gd name="connsiteY9" fmla="*/ 17069 h 1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6144" h="19873">
                <a:moveTo>
                  <a:pt x="366144" y="19873"/>
                </a:moveTo>
                <a:cubicBezTo>
                  <a:pt x="342536" y="18704"/>
                  <a:pt x="318928" y="17536"/>
                  <a:pt x="301631" y="14264"/>
                </a:cubicBezTo>
                <a:cubicBezTo>
                  <a:pt x="284334" y="10992"/>
                  <a:pt x="273582" y="1641"/>
                  <a:pt x="262362" y="239"/>
                </a:cubicBezTo>
                <a:cubicBezTo>
                  <a:pt x="251142" y="-1164"/>
                  <a:pt x="246467" y="3979"/>
                  <a:pt x="234313" y="5849"/>
                </a:cubicBezTo>
                <a:cubicBezTo>
                  <a:pt x="222159" y="7719"/>
                  <a:pt x="204862" y="10524"/>
                  <a:pt x="189435" y="11459"/>
                </a:cubicBezTo>
                <a:cubicBezTo>
                  <a:pt x="174008" y="12394"/>
                  <a:pt x="159048" y="12394"/>
                  <a:pt x="141751" y="11459"/>
                </a:cubicBezTo>
                <a:cubicBezTo>
                  <a:pt x="124454" y="10524"/>
                  <a:pt x="102950" y="6784"/>
                  <a:pt x="85653" y="5849"/>
                </a:cubicBezTo>
                <a:cubicBezTo>
                  <a:pt x="68356" y="4914"/>
                  <a:pt x="51527" y="4914"/>
                  <a:pt x="37970" y="5849"/>
                </a:cubicBezTo>
                <a:cubicBezTo>
                  <a:pt x="24413" y="6784"/>
                  <a:pt x="4311" y="11459"/>
                  <a:pt x="4311" y="11459"/>
                </a:cubicBezTo>
                <a:cubicBezTo>
                  <a:pt x="-1766" y="13329"/>
                  <a:pt x="-130" y="15199"/>
                  <a:pt x="1506" y="17069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7" name="Полилиния 216"/>
          <p:cNvSpPr/>
          <p:nvPr/>
        </p:nvSpPr>
        <p:spPr>
          <a:xfrm>
            <a:off x="6628361" y="5033631"/>
            <a:ext cx="366144" cy="19873"/>
          </a:xfrm>
          <a:custGeom>
            <a:avLst/>
            <a:gdLst>
              <a:gd name="connsiteX0" fmla="*/ 366144 w 366144"/>
              <a:gd name="connsiteY0" fmla="*/ 19873 h 19873"/>
              <a:gd name="connsiteX1" fmla="*/ 301631 w 366144"/>
              <a:gd name="connsiteY1" fmla="*/ 14264 h 19873"/>
              <a:gd name="connsiteX2" fmla="*/ 262362 w 366144"/>
              <a:gd name="connsiteY2" fmla="*/ 239 h 19873"/>
              <a:gd name="connsiteX3" fmla="*/ 234313 w 366144"/>
              <a:gd name="connsiteY3" fmla="*/ 5849 h 19873"/>
              <a:gd name="connsiteX4" fmla="*/ 189435 w 366144"/>
              <a:gd name="connsiteY4" fmla="*/ 11459 h 19873"/>
              <a:gd name="connsiteX5" fmla="*/ 141751 w 366144"/>
              <a:gd name="connsiteY5" fmla="*/ 11459 h 19873"/>
              <a:gd name="connsiteX6" fmla="*/ 85653 w 366144"/>
              <a:gd name="connsiteY6" fmla="*/ 5849 h 19873"/>
              <a:gd name="connsiteX7" fmla="*/ 37970 w 366144"/>
              <a:gd name="connsiteY7" fmla="*/ 5849 h 19873"/>
              <a:gd name="connsiteX8" fmla="*/ 4311 w 366144"/>
              <a:gd name="connsiteY8" fmla="*/ 11459 h 19873"/>
              <a:gd name="connsiteX9" fmla="*/ 1506 w 366144"/>
              <a:gd name="connsiteY9" fmla="*/ 17069 h 1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6144" h="19873">
                <a:moveTo>
                  <a:pt x="366144" y="19873"/>
                </a:moveTo>
                <a:cubicBezTo>
                  <a:pt x="342536" y="18704"/>
                  <a:pt x="318928" y="17536"/>
                  <a:pt x="301631" y="14264"/>
                </a:cubicBezTo>
                <a:cubicBezTo>
                  <a:pt x="284334" y="10992"/>
                  <a:pt x="273582" y="1641"/>
                  <a:pt x="262362" y="239"/>
                </a:cubicBezTo>
                <a:cubicBezTo>
                  <a:pt x="251142" y="-1164"/>
                  <a:pt x="246467" y="3979"/>
                  <a:pt x="234313" y="5849"/>
                </a:cubicBezTo>
                <a:cubicBezTo>
                  <a:pt x="222159" y="7719"/>
                  <a:pt x="204862" y="10524"/>
                  <a:pt x="189435" y="11459"/>
                </a:cubicBezTo>
                <a:cubicBezTo>
                  <a:pt x="174008" y="12394"/>
                  <a:pt x="159048" y="12394"/>
                  <a:pt x="141751" y="11459"/>
                </a:cubicBezTo>
                <a:cubicBezTo>
                  <a:pt x="124454" y="10524"/>
                  <a:pt x="102950" y="6784"/>
                  <a:pt x="85653" y="5849"/>
                </a:cubicBezTo>
                <a:cubicBezTo>
                  <a:pt x="68356" y="4914"/>
                  <a:pt x="51527" y="4914"/>
                  <a:pt x="37970" y="5849"/>
                </a:cubicBezTo>
                <a:cubicBezTo>
                  <a:pt x="24413" y="6784"/>
                  <a:pt x="4311" y="11459"/>
                  <a:pt x="4311" y="11459"/>
                </a:cubicBezTo>
                <a:cubicBezTo>
                  <a:pt x="-1766" y="13329"/>
                  <a:pt x="-130" y="15199"/>
                  <a:pt x="1506" y="1706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8" name="Полилиния 217"/>
          <p:cNvSpPr/>
          <p:nvPr/>
        </p:nvSpPr>
        <p:spPr>
          <a:xfrm>
            <a:off x="6626488" y="5079445"/>
            <a:ext cx="366144" cy="19873"/>
          </a:xfrm>
          <a:custGeom>
            <a:avLst/>
            <a:gdLst>
              <a:gd name="connsiteX0" fmla="*/ 366144 w 366144"/>
              <a:gd name="connsiteY0" fmla="*/ 19873 h 19873"/>
              <a:gd name="connsiteX1" fmla="*/ 301631 w 366144"/>
              <a:gd name="connsiteY1" fmla="*/ 14264 h 19873"/>
              <a:gd name="connsiteX2" fmla="*/ 262362 w 366144"/>
              <a:gd name="connsiteY2" fmla="*/ 239 h 19873"/>
              <a:gd name="connsiteX3" fmla="*/ 234313 w 366144"/>
              <a:gd name="connsiteY3" fmla="*/ 5849 h 19873"/>
              <a:gd name="connsiteX4" fmla="*/ 189435 w 366144"/>
              <a:gd name="connsiteY4" fmla="*/ 11459 h 19873"/>
              <a:gd name="connsiteX5" fmla="*/ 141751 w 366144"/>
              <a:gd name="connsiteY5" fmla="*/ 11459 h 19873"/>
              <a:gd name="connsiteX6" fmla="*/ 85653 w 366144"/>
              <a:gd name="connsiteY6" fmla="*/ 5849 h 19873"/>
              <a:gd name="connsiteX7" fmla="*/ 37970 w 366144"/>
              <a:gd name="connsiteY7" fmla="*/ 5849 h 19873"/>
              <a:gd name="connsiteX8" fmla="*/ 4311 w 366144"/>
              <a:gd name="connsiteY8" fmla="*/ 11459 h 19873"/>
              <a:gd name="connsiteX9" fmla="*/ 1506 w 366144"/>
              <a:gd name="connsiteY9" fmla="*/ 17069 h 1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6144" h="19873">
                <a:moveTo>
                  <a:pt x="366144" y="19873"/>
                </a:moveTo>
                <a:cubicBezTo>
                  <a:pt x="342536" y="18704"/>
                  <a:pt x="318928" y="17536"/>
                  <a:pt x="301631" y="14264"/>
                </a:cubicBezTo>
                <a:cubicBezTo>
                  <a:pt x="284334" y="10992"/>
                  <a:pt x="273582" y="1641"/>
                  <a:pt x="262362" y="239"/>
                </a:cubicBezTo>
                <a:cubicBezTo>
                  <a:pt x="251142" y="-1164"/>
                  <a:pt x="246467" y="3979"/>
                  <a:pt x="234313" y="5849"/>
                </a:cubicBezTo>
                <a:cubicBezTo>
                  <a:pt x="222159" y="7719"/>
                  <a:pt x="204862" y="10524"/>
                  <a:pt x="189435" y="11459"/>
                </a:cubicBezTo>
                <a:cubicBezTo>
                  <a:pt x="174008" y="12394"/>
                  <a:pt x="159048" y="12394"/>
                  <a:pt x="141751" y="11459"/>
                </a:cubicBezTo>
                <a:cubicBezTo>
                  <a:pt x="124454" y="10524"/>
                  <a:pt x="102950" y="6784"/>
                  <a:pt x="85653" y="5849"/>
                </a:cubicBezTo>
                <a:cubicBezTo>
                  <a:pt x="68356" y="4914"/>
                  <a:pt x="51527" y="4914"/>
                  <a:pt x="37970" y="5849"/>
                </a:cubicBezTo>
                <a:cubicBezTo>
                  <a:pt x="24413" y="6784"/>
                  <a:pt x="4311" y="11459"/>
                  <a:pt x="4311" y="11459"/>
                </a:cubicBezTo>
                <a:cubicBezTo>
                  <a:pt x="-1766" y="13329"/>
                  <a:pt x="-130" y="15199"/>
                  <a:pt x="1506" y="1706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9" name="Полилиния 218"/>
          <p:cNvSpPr/>
          <p:nvPr/>
        </p:nvSpPr>
        <p:spPr>
          <a:xfrm>
            <a:off x="6977673" y="5025456"/>
            <a:ext cx="92562" cy="28588"/>
          </a:xfrm>
          <a:custGeom>
            <a:avLst/>
            <a:gdLst>
              <a:gd name="connsiteX0" fmla="*/ 92562 w 92562"/>
              <a:gd name="connsiteY0" fmla="*/ 0 h 28588"/>
              <a:gd name="connsiteX1" fmla="*/ 42074 w 92562"/>
              <a:gd name="connsiteY1" fmla="*/ 22440 h 28588"/>
              <a:gd name="connsiteX2" fmla="*/ 16829 w 92562"/>
              <a:gd name="connsiteY2" fmla="*/ 28049 h 28588"/>
              <a:gd name="connsiteX3" fmla="*/ 0 w 92562"/>
              <a:gd name="connsiteY3" fmla="*/ 28049 h 2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62" h="28588">
                <a:moveTo>
                  <a:pt x="92562" y="0"/>
                </a:moveTo>
                <a:cubicBezTo>
                  <a:pt x="73629" y="8882"/>
                  <a:pt x="54696" y="17765"/>
                  <a:pt x="42074" y="22440"/>
                </a:cubicBezTo>
                <a:cubicBezTo>
                  <a:pt x="29452" y="27115"/>
                  <a:pt x="23841" y="27114"/>
                  <a:pt x="16829" y="28049"/>
                </a:cubicBezTo>
                <a:cubicBezTo>
                  <a:pt x="9817" y="28984"/>
                  <a:pt x="4908" y="28516"/>
                  <a:pt x="0" y="2804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0" name="Полилиния 219"/>
          <p:cNvSpPr/>
          <p:nvPr/>
        </p:nvSpPr>
        <p:spPr>
          <a:xfrm>
            <a:off x="6981408" y="5071269"/>
            <a:ext cx="92562" cy="28588"/>
          </a:xfrm>
          <a:custGeom>
            <a:avLst/>
            <a:gdLst>
              <a:gd name="connsiteX0" fmla="*/ 92562 w 92562"/>
              <a:gd name="connsiteY0" fmla="*/ 0 h 28588"/>
              <a:gd name="connsiteX1" fmla="*/ 42074 w 92562"/>
              <a:gd name="connsiteY1" fmla="*/ 22440 h 28588"/>
              <a:gd name="connsiteX2" fmla="*/ 16829 w 92562"/>
              <a:gd name="connsiteY2" fmla="*/ 28049 h 28588"/>
              <a:gd name="connsiteX3" fmla="*/ 0 w 92562"/>
              <a:gd name="connsiteY3" fmla="*/ 28049 h 2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62" h="28588">
                <a:moveTo>
                  <a:pt x="92562" y="0"/>
                </a:moveTo>
                <a:cubicBezTo>
                  <a:pt x="73629" y="8882"/>
                  <a:pt x="54696" y="17765"/>
                  <a:pt x="42074" y="22440"/>
                </a:cubicBezTo>
                <a:cubicBezTo>
                  <a:pt x="29452" y="27115"/>
                  <a:pt x="23841" y="27114"/>
                  <a:pt x="16829" y="28049"/>
                </a:cubicBezTo>
                <a:cubicBezTo>
                  <a:pt x="9817" y="28984"/>
                  <a:pt x="4908" y="28516"/>
                  <a:pt x="0" y="2804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2" name="Полилиния 221"/>
          <p:cNvSpPr/>
          <p:nvPr/>
        </p:nvSpPr>
        <p:spPr>
          <a:xfrm>
            <a:off x="6128562" y="3904432"/>
            <a:ext cx="796756" cy="956474"/>
          </a:xfrm>
          <a:custGeom>
            <a:avLst/>
            <a:gdLst>
              <a:gd name="connsiteX0" fmla="*/ 333946 w 796756"/>
              <a:gd name="connsiteY0" fmla="*/ 0 h 956474"/>
              <a:gd name="connsiteX1" fmla="*/ 277848 w 796756"/>
              <a:gd name="connsiteY1" fmla="*/ 36464 h 956474"/>
              <a:gd name="connsiteX2" fmla="*/ 258213 w 796756"/>
              <a:gd name="connsiteY2" fmla="*/ 56098 h 956474"/>
              <a:gd name="connsiteX3" fmla="*/ 232969 w 796756"/>
              <a:gd name="connsiteY3" fmla="*/ 84147 h 956474"/>
              <a:gd name="connsiteX4" fmla="*/ 196505 w 796756"/>
              <a:gd name="connsiteY4" fmla="*/ 109391 h 956474"/>
              <a:gd name="connsiteX5" fmla="*/ 162847 w 796756"/>
              <a:gd name="connsiteY5" fmla="*/ 137440 h 956474"/>
              <a:gd name="connsiteX6" fmla="*/ 120773 w 796756"/>
              <a:gd name="connsiteY6" fmla="*/ 165489 h 956474"/>
              <a:gd name="connsiteX7" fmla="*/ 98334 w 796756"/>
              <a:gd name="connsiteY7" fmla="*/ 199148 h 956474"/>
              <a:gd name="connsiteX8" fmla="*/ 73090 w 796756"/>
              <a:gd name="connsiteY8" fmla="*/ 244027 h 956474"/>
              <a:gd name="connsiteX9" fmla="*/ 61870 w 796756"/>
              <a:gd name="connsiteY9" fmla="*/ 297320 h 956474"/>
              <a:gd name="connsiteX10" fmla="*/ 56260 w 796756"/>
              <a:gd name="connsiteY10" fmla="*/ 330979 h 956474"/>
              <a:gd name="connsiteX11" fmla="*/ 39431 w 796756"/>
              <a:gd name="connsiteY11" fmla="*/ 359028 h 956474"/>
              <a:gd name="connsiteX12" fmla="*/ 19796 w 796756"/>
              <a:gd name="connsiteY12" fmla="*/ 378662 h 956474"/>
              <a:gd name="connsiteX13" fmla="*/ 5772 w 796756"/>
              <a:gd name="connsiteY13" fmla="*/ 395492 h 956474"/>
              <a:gd name="connsiteX14" fmla="*/ 162 w 796756"/>
              <a:gd name="connsiteY14" fmla="*/ 423541 h 956474"/>
              <a:gd name="connsiteX15" fmla="*/ 11382 w 796756"/>
              <a:gd name="connsiteY15" fmla="*/ 457200 h 956474"/>
              <a:gd name="connsiteX16" fmla="*/ 42236 w 796756"/>
              <a:gd name="connsiteY16" fmla="*/ 504883 h 956474"/>
              <a:gd name="connsiteX17" fmla="*/ 95529 w 796756"/>
              <a:gd name="connsiteY17" fmla="*/ 552567 h 956474"/>
              <a:gd name="connsiteX18" fmla="*/ 154432 w 796756"/>
              <a:gd name="connsiteY18" fmla="*/ 614275 h 956474"/>
              <a:gd name="connsiteX19" fmla="*/ 185286 w 796756"/>
              <a:gd name="connsiteY19" fmla="*/ 667568 h 956474"/>
              <a:gd name="connsiteX20" fmla="*/ 232969 w 796756"/>
              <a:gd name="connsiteY20" fmla="*/ 701227 h 956474"/>
              <a:gd name="connsiteX21" fmla="*/ 249799 w 796756"/>
              <a:gd name="connsiteY21" fmla="*/ 715251 h 956474"/>
              <a:gd name="connsiteX22" fmla="*/ 277848 w 796756"/>
              <a:gd name="connsiteY22" fmla="*/ 718056 h 956474"/>
              <a:gd name="connsiteX23" fmla="*/ 297482 w 796756"/>
              <a:gd name="connsiteY23" fmla="*/ 746105 h 956474"/>
              <a:gd name="connsiteX24" fmla="*/ 328336 w 796756"/>
              <a:gd name="connsiteY24" fmla="*/ 760130 h 956474"/>
              <a:gd name="connsiteX25" fmla="*/ 361995 w 796756"/>
              <a:gd name="connsiteY25" fmla="*/ 760130 h 956474"/>
              <a:gd name="connsiteX26" fmla="*/ 392849 w 796756"/>
              <a:gd name="connsiteY26" fmla="*/ 790984 h 956474"/>
              <a:gd name="connsiteX27" fmla="*/ 496631 w 796756"/>
              <a:gd name="connsiteY27" fmla="*/ 827448 h 956474"/>
              <a:gd name="connsiteX28" fmla="*/ 558339 w 796756"/>
              <a:gd name="connsiteY28" fmla="*/ 833058 h 956474"/>
              <a:gd name="connsiteX29" fmla="*/ 597607 w 796756"/>
              <a:gd name="connsiteY29" fmla="*/ 833058 h 956474"/>
              <a:gd name="connsiteX30" fmla="*/ 617242 w 796756"/>
              <a:gd name="connsiteY30" fmla="*/ 849887 h 956474"/>
              <a:gd name="connsiteX31" fmla="*/ 648096 w 796756"/>
              <a:gd name="connsiteY31" fmla="*/ 872326 h 956474"/>
              <a:gd name="connsiteX32" fmla="*/ 673340 w 796756"/>
              <a:gd name="connsiteY32" fmla="*/ 891961 h 956474"/>
              <a:gd name="connsiteX33" fmla="*/ 701389 w 796756"/>
              <a:gd name="connsiteY33" fmla="*/ 897570 h 956474"/>
              <a:gd name="connsiteX34" fmla="*/ 723828 w 796756"/>
              <a:gd name="connsiteY34" fmla="*/ 894766 h 956474"/>
              <a:gd name="connsiteX35" fmla="*/ 751877 w 796756"/>
              <a:gd name="connsiteY35" fmla="*/ 920010 h 956474"/>
              <a:gd name="connsiteX36" fmla="*/ 771512 w 796756"/>
              <a:gd name="connsiteY36" fmla="*/ 939644 h 956474"/>
              <a:gd name="connsiteX37" fmla="*/ 796756 w 796756"/>
              <a:gd name="connsiteY37" fmla="*/ 956474 h 956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796756" h="956474">
                <a:moveTo>
                  <a:pt x="333946" y="0"/>
                </a:moveTo>
                <a:cubicBezTo>
                  <a:pt x="312208" y="13557"/>
                  <a:pt x="290470" y="27114"/>
                  <a:pt x="277848" y="36464"/>
                </a:cubicBezTo>
                <a:cubicBezTo>
                  <a:pt x="265226" y="45814"/>
                  <a:pt x="265693" y="48151"/>
                  <a:pt x="258213" y="56098"/>
                </a:cubicBezTo>
                <a:cubicBezTo>
                  <a:pt x="250733" y="64045"/>
                  <a:pt x="243254" y="75265"/>
                  <a:pt x="232969" y="84147"/>
                </a:cubicBezTo>
                <a:cubicBezTo>
                  <a:pt x="222684" y="93029"/>
                  <a:pt x="208192" y="100509"/>
                  <a:pt x="196505" y="109391"/>
                </a:cubicBezTo>
                <a:cubicBezTo>
                  <a:pt x="184818" y="118273"/>
                  <a:pt x="175469" y="128090"/>
                  <a:pt x="162847" y="137440"/>
                </a:cubicBezTo>
                <a:cubicBezTo>
                  <a:pt x="150225" y="146790"/>
                  <a:pt x="131525" y="155204"/>
                  <a:pt x="120773" y="165489"/>
                </a:cubicBezTo>
                <a:cubicBezTo>
                  <a:pt x="110021" y="175774"/>
                  <a:pt x="106281" y="186058"/>
                  <a:pt x="98334" y="199148"/>
                </a:cubicBezTo>
                <a:cubicBezTo>
                  <a:pt x="90387" y="212238"/>
                  <a:pt x="79167" y="227665"/>
                  <a:pt x="73090" y="244027"/>
                </a:cubicBezTo>
                <a:cubicBezTo>
                  <a:pt x="67013" y="260389"/>
                  <a:pt x="64675" y="282828"/>
                  <a:pt x="61870" y="297320"/>
                </a:cubicBezTo>
                <a:cubicBezTo>
                  <a:pt x="59065" y="311812"/>
                  <a:pt x="60000" y="320694"/>
                  <a:pt x="56260" y="330979"/>
                </a:cubicBezTo>
                <a:cubicBezTo>
                  <a:pt x="52520" y="341264"/>
                  <a:pt x="45508" y="351081"/>
                  <a:pt x="39431" y="359028"/>
                </a:cubicBezTo>
                <a:cubicBezTo>
                  <a:pt x="33354" y="366975"/>
                  <a:pt x="25406" y="372585"/>
                  <a:pt x="19796" y="378662"/>
                </a:cubicBezTo>
                <a:cubicBezTo>
                  <a:pt x="14186" y="384739"/>
                  <a:pt x="9044" y="388012"/>
                  <a:pt x="5772" y="395492"/>
                </a:cubicBezTo>
                <a:cubicBezTo>
                  <a:pt x="2500" y="402972"/>
                  <a:pt x="-773" y="413256"/>
                  <a:pt x="162" y="423541"/>
                </a:cubicBezTo>
                <a:cubicBezTo>
                  <a:pt x="1097" y="433826"/>
                  <a:pt x="4370" y="443643"/>
                  <a:pt x="11382" y="457200"/>
                </a:cubicBezTo>
                <a:cubicBezTo>
                  <a:pt x="18394" y="470757"/>
                  <a:pt x="28211" y="488989"/>
                  <a:pt x="42236" y="504883"/>
                </a:cubicBezTo>
                <a:cubicBezTo>
                  <a:pt x="56260" y="520778"/>
                  <a:pt x="76830" y="534335"/>
                  <a:pt x="95529" y="552567"/>
                </a:cubicBezTo>
                <a:cubicBezTo>
                  <a:pt x="114228" y="570799"/>
                  <a:pt x="139473" y="595108"/>
                  <a:pt x="154432" y="614275"/>
                </a:cubicBezTo>
                <a:cubicBezTo>
                  <a:pt x="169391" y="633442"/>
                  <a:pt x="172196" y="653076"/>
                  <a:pt x="185286" y="667568"/>
                </a:cubicBezTo>
                <a:cubicBezTo>
                  <a:pt x="198375" y="682060"/>
                  <a:pt x="222217" y="693280"/>
                  <a:pt x="232969" y="701227"/>
                </a:cubicBezTo>
                <a:cubicBezTo>
                  <a:pt x="243721" y="709174"/>
                  <a:pt x="242319" y="712446"/>
                  <a:pt x="249799" y="715251"/>
                </a:cubicBezTo>
                <a:cubicBezTo>
                  <a:pt x="257279" y="718056"/>
                  <a:pt x="269901" y="712914"/>
                  <a:pt x="277848" y="718056"/>
                </a:cubicBezTo>
                <a:cubicBezTo>
                  <a:pt x="285795" y="723198"/>
                  <a:pt x="289068" y="739093"/>
                  <a:pt x="297482" y="746105"/>
                </a:cubicBezTo>
                <a:cubicBezTo>
                  <a:pt x="305896" y="753117"/>
                  <a:pt x="317584" y="757793"/>
                  <a:pt x="328336" y="760130"/>
                </a:cubicBezTo>
                <a:cubicBezTo>
                  <a:pt x="339088" y="762468"/>
                  <a:pt x="351243" y="754988"/>
                  <a:pt x="361995" y="760130"/>
                </a:cubicBezTo>
                <a:cubicBezTo>
                  <a:pt x="372747" y="765272"/>
                  <a:pt x="370410" y="779764"/>
                  <a:pt x="392849" y="790984"/>
                </a:cubicBezTo>
                <a:cubicBezTo>
                  <a:pt x="415288" y="802204"/>
                  <a:pt x="469049" y="820436"/>
                  <a:pt x="496631" y="827448"/>
                </a:cubicBezTo>
                <a:cubicBezTo>
                  <a:pt x="524213" y="834460"/>
                  <a:pt x="541510" y="832123"/>
                  <a:pt x="558339" y="833058"/>
                </a:cubicBezTo>
                <a:cubicBezTo>
                  <a:pt x="575168" y="833993"/>
                  <a:pt x="587790" y="830253"/>
                  <a:pt x="597607" y="833058"/>
                </a:cubicBezTo>
                <a:cubicBezTo>
                  <a:pt x="607424" y="835863"/>
                  <a:pt x="608827" y="843342"/>
                  <a:pt x="617242" y="849887"/>
                </a:cubicBezTo>
                <a:cubicBezTo>
                  <a:pt x="625657" y="856432"/>
                  <a:pt x="638746" y="865314"/>
                  <a:pt x="648096" y="872326"/>
                </a:cubicBezTo>
                <a:cubicBezTo>
                  <a:pt x="657446" y="879338"/>
                  <a:pt x="664458" y="887754"/>
                  <a:pt x="673340" y="891961"/>
                </a:cubicBezTo>
                <a:cubicBezTo>
                  <a:pt x="682222" y="896168"/>
                  <a:pt x="692974" y="897102"/>
                  <a:pt x="701389" y="897570"/>
                </a:cubicBezTo>
                <a:cubicBezTo>
                  <a:pt x="709804" y="898038"/>
                  <a:pt x="715413" y="891026"/>
                  <a:pt x="723828" y="894766"/>
                </a:cubicBezTo>
                <a:cubicBezTo>
                  <a:pt x="732243" y="898506"/>
                  <a:pt x="743930" y="912530"/>
                  <a:pt x="751877" y="920010"/>
                </a:cubicBezTo>
                <a:cubicBezTo>
                  <a:pt x="759824" y="927490"/>
                  <a:pt x="764032" y="933567"/>
                  <a:pt x="771512" y="939644"/>
                </a:cubicBezTo>
                <a:cubicBezTo>
                  <a:pt x="778992" y="945721"/>
                  <a:pt x="787874" y="951097"/>
                  <a:pt x="796756" y="956474"/>
                </a:cubicBez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7" name="Полилиния 226"/>
          <p:cNvSpPr/>
          <p:nvPr/>
        </p:nvSpPr>
        <p:spPr>
          <a:xfrm>
            <a:off x="6124819" y="3900682"/>
            <a:ext cx="796756" cy="956474"/>
          </a:xfrm>
          <a:custGeom>
            <a:avLst/>
            <a:gdLst>
              <a:gd name="connsiteX0" fmla="*/ 333946 w 796756"/>
              <a:gd name="connsiteY0" fmla="*/ 0 h 956474"/>
              <a:gd name="connsiteX1" fmla="*/ 277848 w 796756"/>
              <a:gd name="connsiteY1" fmla="*/ 36464 h 956474"/>
              <a:gd name="connsiteX2" fmla="*/ 258213 w 796756"/>
              <a:gd name="connsiteY2" fmla="*/ 56098 h 956474"/>
              <a:gd name="connsiteX3" fmla="*/ 232969 w 796756"/>
              <a:gd name="connsiteY3" fmla="*/ 84147 h 956474"/>
              <a:gd name="connsiteX4" fmla="*/ 196505 w 796756"/>
              <a:gd name="connsiteY4" fmla="*/ 109391 h 956474"/>
              <a:gd name="connsiteX5" fmla="*/ 162847 w 796756"/>
              <a:gd name="connsiteY5" fmla="*/ 137440 h 956474"/>
              <a:gd name="connsiteX6" fmla="*/ 120773 w 796756"/>
              <a:gd name="connsiteY6" fmla="*/ 165489 h 956474"/>
              <a:gd name="connsiteX7" fmla="*/ 98334 w 796756"/>
              <a:gd name="connsiteY7" fmla="*/ 199148 h 956474"/>
              <a:gd name="connsiteX8" fmla="*/ 73090 w 796756"/>
              <a:gd name="connsiteY8" fmla="*/ 244027 h 956474"/>
              <a:gd name="connsiteX9" fmla="*/ 61870 w 796756"/>
              <a:gd name="connsiteY9" fmla="*/ 297320 h 956474"/>
              <a:gd name="connsiteX10" fmla="*/ 56260 w 796756"/>
              <a:gd name="connsiteY10" fmla="*/ 330979 h 956474"/>
              <a:gd name="connsiteX11" fmla="*/ 39431 w 796756"/>
              <a:gd name="connsiteY11" fmla="*/ 359028 h 956474"/>
              <a:gd name="connsiteX12" fmla="*/ 19796 w 796756"/>
              <a:gd name="connsiteY12" fmla="*/ 378662 h 956474"/>
              <a:gd name="connsiteX13" fmla="*/ 5772 w 796756"/>
              <a:gd name="connsiteY13" fmla="*/ 395492 h 956474"/>
              <a:gd name="connsiteX14" fmla="*/ 162 w 796756"/>
              <a:gd name="connsiteY14" fmla="*/ 423541 h 956474"/>
              <a:gd name="connsiteX15" fmla="*/ 11382 w 796756"/>
              <a:gd name="connsiteY15" fmla="*/ 457200 h 956474"/>
              <a:gd name="connsiteX16" fmla="*/ 42236 w 796756"/>
              <a:gd name="connsiteY16" fmla="*/ 504883 h 956474"/>
              <a:gd name="connsiteX17" fmla="*/ 95529 w 796756"/>
              <a:gd name="connsiteY17" fmla="*/ 552567 h 956474"/>
              <a:gd name="connsiteX18" fmla="*/ 154432 w 796756"/>
              <a:gd name="connsiteY18" fmla="*/ 614275 h 956474"/>
              <a:gd name="connsiteX19" fmla="*/ 185286 w 796756"/>
              <a:gd name="connsiteY19" fmla="*/ 667568 h 956474"/>
              <a:gd name="connsiteX20" fmla="*/ 232969 w 796756"/>
              <a:gd name="connsiteY20" fmla="*/ 701227 h 956474"/>
              <a:gd name="connsiteX21" fmla="*/ 249799 w 796756"/>
              <a:gd name="connsiteY21" fmla="*/ 715251 h 956474"/>
              <a:gd name="connsiteX22" fmla="*/ 277848 w 796756"/>
              <a:gd name="connsiteY22" fmla="*/ 718056 h 956474"/>
              <a:gd name="connsiteX23" fmla="*/ 297482 w 796756"/>
              <a:gd name="connsiteY23" fmla="*/ 746105 h 956474"/>
              <a:gd name="connsiteX24" fmla="*/ 328336 w 796756"/>
              <a:gd name="connsiteY24" fmla="*/ 760130 h 956474"/>
              <a:gd name="connsiteX25" fmla="*/ 361995 w 796756"/>
              <a:gd name="connsiteY25" fmla="*/ 760130 h 956474"/>
              <a:gd name="connsiteX26" fmla="*/ 392849 w 796756"/>
              <a:gd name="connsiteY26" fmla="*/ 790984 h 956474"/>
              <a:gd name="connsiteX27" fmla="*/ 496631 w 796756"/>
              <a:gd name="connsiteY27" fmla="*/ 827448 h 956474"/>
              <a:gd name="connsiteX28" fmla="*/ 558339 w 796756"/>
              <a:gd name="connsiteY28" fmla="*/ 833058 h 956474"/>
              <a:gd name="connsiteX29" fmla="*/ 597607 w 796756"/>
              <a:gd name="connsiteY29" fmla="*/ 833058 h 956474"/>
              <a:gd name="connsiteX30" fmla="*/ 617242 w 796756"/>
              <a:gd name="connsiteY30" fmla="*/ 849887 h 956474"/>
              <a:gd name="connsiteX31" fmla="*/ 648096 w 796756"/>
              <a:gd name="connsiteY31" fmla="*/ 872326 h 956474"/>
              <a:gd name="connsiteX32" fmla="*/ 673340 w 796756"/>
              <a:gd name="connsiteY32" fmla="*/ 891961 h 956474"/>
              <a:gd name="connsiteX33" fmla="*/ 701389 w 796756"/>
              <a:gd name="connsiteY33" fmla="*/ 897570 h 956474"/>
              <a:gd name="connsiteX34" fmla="*/ 723828 w 796756"/>
              <a:gd name="connsiteY34" fmla="*/ 894766 h 956474"/>
              <a:gd name="connsiteX35" fmla="*/ 751877 w 796756"/>
              <a:gd name="connsiteY35" fmla="*/ 920010 h 956474"/>
              <a:gd name="connsiteX36" fmla="*/ 771512 w 796756"/>
              <a:gd name="connsiteY36" fmla="*/ 939644 h 956474"/>
              <a:gd name="connsiteX37" fmla="*/ 796756 w 796756"/>
              <a:gd name="connsiteY37" fmla="*/ 956474 h 956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796756" h="956474">
                <a:moveTo>
                  <a:pt x="333946" y="0"/>
                </a:moveTo>
                <a:cubicBezTo>
                  <a:pt x="312208" y="13557"/>
                  <a:pt x="290470" y="27114"/>
                  <a:pt x="277848" y="36464"/>
                </a:cubicBezTo>
                <a:cubicBezTo>
                  <a:pt x="265226" y="45814"/>
                  <a:pt x="265693" y="48151"/>
                  <a:pt x="258213" y="56098"/>
                </a:cubicBezTo>
                <a:cubicBezTo>
                  <a:pt x="250733" y="64045"/>
                  <a:pt x="243254" y="75265"/>
                  <a:pt x="232969" y="84147"/>
                </a:cubicBezTo>
                <a:cubicBezTo>
                  <a:pt x="222684" y="93029"/>
                  <a:pt x="208192" y="100509"/>
                  <a:pt x="196505" y="109391"/>
                </a:cubicBezTo>
                <a:cubicBezTo>
                  <a:pt x="184818" y="118273"/>
                  <a:pt x="175469" y="128090"/>
                  <a:pt x="162847" y="137440"/>
                </a:cubicBezTo>
                <a:cubicBezTo>
                  <a:pt x="150225" y="146790"/>
                  <a:pt x="131525" y="155204"/>
                  <a:pt x="120773" y="165489"/>
                </a:cubicBezTo>
                <a:cubicBezTo>
                  <a:pt x="110021" y="175774"/>
                  <a:pt x="106281" y="186058"/>
                  <a:pt x="98334" y="199148"/>
                </a:cubicBezTo>
                <a:cubicBezTo>
                  <a:pt x="90387" y="212238"/>
                  <a:pt x="79167" y="227665"/>
                  <a:pt x="73090" y="244027"/>
                </a:cubicBezTo>
                <a:cubicBezTo>
                  <a:pt x="67013" y="260389"/>
                  <a:pt x="64675" y="282828"/>
                  <a:pt x="61870" y="297320"/>
                </a:cubicBezTo>
                <a:cubicBezTo>
                  <a:pt x="59065" y="311812"/>
                  <a:pt x="60000" y="320694"/>
                  <a:pt x="56260" y="330979"/>
                </a:cubicBezTo>
                <a:cubicBezTo>
                  <a:pt x="52520" y="341264"/>
                  <a:pt x="45508" y="351081"/>
                  <a:pt x="39431" y="359028"/>
                </a:cubicBezTo>
                <a:cubicBezTo>
                  <a:pt x="33354" y="366975"/>
                  <a:pt x="25406" y="372585"/>
                  <a:pt x="19796" y="378662"/>
                </a:cubicBezTo>
                <a:cubicBezTo>
                  <a:pt x="14186" y="384739"/>
                  <a:pt x="9044" y="388012"/>
                  <a:pt x="5772" y="395492"/>
                </a:cubicBezTo>
                <a:cubicBezTo>
                  <a:pt x="2500" y="402972"/>
                  <a:pt x="-773" y="413256"/>
                  <a:pt x="162" y="423541"/>
                </a:cubicBezTo>
                <a:cubicBezTo>
                  <a:pt x="1097" y="433826"/>
                  <a:pt x="4370" y="443643"/>
                  <a:pt x="11382" y="457200"/>
                </a:cubicBezTo>
                <a:cubicBezTo>
                  <a:pt x="18394" y="470757"/>
                  <a:pt x="28211" y="488989"/>
                  <a:pt x="42236" y="504883"/>
                </a:cubicBezTo>
                <a:cubicBezTo>
                  <a:pt x="56260" y="520778"/>
                  <a:pt x="76830" y="534335"/>
                  <a:pt x="95529" y="552567"/>
                </a:cubicBezTo>
                <a:cubicBezTo>
                  <a:pt x="114228" y="570799"/>
                  <a:pt x="139473" y="595108"/>
                  <a:pt x="154432" y="614275"/>
                </a:cubicBezTo>
                <a:cubicBezTo>
                  <a:pt x="169391" y="633442"/>
                  <a:pt x="172196" y="653076"/>
                  <a:pt x="185286" y="667568"/>
                </a:cubicBezTo>
                <a:cubicBezTo>
                  <a:pt x="198375" y="682060"/>
                  <a:pt x="222217" y="693280"/>
                  <a:pt x="232969" y="701227"/>
                </a:cubicBezTo>
                <a:cubicBezTo>
                  <a:pt x="243721" y="709174"/>
                  <a:pt x="242319" y="712446"/>
                  <a:pt x="249799" y="715251"/>
                </a:cubicBezTo>
                <a:cubicBezTo>
                  <a:pt x="257279" y="718056"/>
                  <a:pt x="269901" y="712914"/>
                  <a:pt x="277848" y="718056"/>
                </a:cubicBezTo>
                <a:cubicBezTo>
                  <a:pt x="285795" y="723198"/>
                  <a:pt x="289068" y="739093"/>
                  <a:pt x="297482" y="746105"/>
                </a:cubicBezTo>
                <a:cubicBezTo>
                  <a:pt x="305896" y="753117"/>
                  <a:pt x="317584" y="757793"/>
                  <a:pt x="328336" y="760130"/>
                </a:cubicBezTo>
                <a:cubicBezTo>
                  <a:pt x="339088" y="762468"/>
                  <a:pt x="351243" y="754988"/>
                  <a:pt x="361995" y="760130"/>
                </a:cubicBezTo>
                <a:cubicBezTo>
                  <a:pt x="372747" y="765272"/>
                  <a:pt x="370410" y="779764"/>
                  <a:pt x="392849" y="790984"/>
                </a:cubicBezTo>
                <a:cubicBezTo>
                  <a:pt x="415288" y="802204"/>
                  <a:pt x="469049" y="820436"/>
                  <a:pt x="496631" y="827448"/>
                </a:cubicBezTo>
                <a:cubicBezTo>
                  <a:pt x="524213" y="834460"/>
                  <a:pt x="541510" y="832123"/>
                  <a:pt x="558339" y="833058"/>
                </a:cubicBezTo>
                <a:cubicBezTo>
                  <a:pt x="575168" y="833993"/>
                  <a:pt x="587790" y="830253"/>
                  <a:pt x="597607" y="833058"/>
                </a:cubicBezTo>
                <a:cubicBezTo>
                  <a:pt x="607424" y="835863"/>
                  <a:pt x="608827" y="843342"/>
                  <a:pt x="617242" y="849887"/>
                </a:cubicBezTo>
                <a:cubicBezTo>
                  <a:pt x="625657" y="856432"/>
                  <a:pt x="638746" y="865314"/>
                  <a:pt x="648096" y="872326"/>
                </a:cubicBezTo>
                <a:cubicBezTo>
                  <a:pt x="657446" y="879338"/>
                  <a:pt x="664458" y="887754"/>
                  <a:pt x="673340" y="891961"/>
                </a:cubicBezTo>
                <a:cubicBezTo>
                  <a:pt x="682222" y="896168"/>
                  <a:pt x="692974" y="897102"/>
                  <a:pt x="701389" y="897570"/>
                </a:cubicBezTo>
                <a:cubicBezTo>
                  <a:pt x="709804" y="898038"/>
                  <a:pt x="715413" y="891026"/>
                  <a:pt x="723828" y="894766"/>
                </a:cubicBezTo>
                <a:cubicBezTo>
                  <a:pt x="732243" y="898506"/>
                  <a:pt x="743930" y="912530"/>
                  <a:pt x="751877" y="920010"/>
                </a:cubicBezTo>
                <a:cubicBezTo>
                  <a:pt x="759824" y="927490"/>
                  <a:pt x="764032" y="933567"/>
                  <a:pt x="771512" y="939644"/>
                </a:cubicBezTo>
                <a:cubicBezTo>
                  <a:pt x="778992" y="945721"/>
                  <a:pt x="787874" y="951097"/>
                  <a:pt x="796756" y="956474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9" name="Полилиния 228"/>
          <p:cNvSpPr/>
          <p:nvPr/>
        </p:nvSpPr>
        <p:spPr>
          <a:xfrm>
            <a:off x="6148204" y="3924066"/>
            <a:ext cx="788423" cy="922815"/>
          </a:xfrm>
          <a:custGeom>
            <a:avLst/>
            <a:gdLst>
              <a:gd name="connsiteX0" fmla="*/ 322719 w 788423"/>
              <a:gd name="connsiteY0" fmla="*/ 0 h 922815"/>
              <a:gd name="connsiteX1" fmla="*/ 230157 w 788423"/>
              <a:gd name="connsiteY1" fmla="*/ 72928 h 922815"/>
              <a:gd name="connsiteX2" fmla="*/ 190888 w 788423"/>
              <a:gd name="connsiteY2" fmla="*/ 109392 h 922815"/>
              <a:gd name="connsiteX3" fmla="*/ 140400 w 788423"/>
              <a:gd name="connsiteY3" fmla="*/ 145855 h 922815"/>
              <a:gd name="connsiteX4" fmla="*/ 103936 w 788423"/>
              <a:gd name="connsiteY4" fmla="*/ 176709 h 922815"/>
              <a:gd name="connsiteX5" fmla="*/ 73082 w 788423"/>
              <a:gd name="connsiteY5" fmla="*/ 232808 h 922815"/>
              <a:gd name="connsiteX6" fmla="*/ 59057 w 788423"/>
              <a:gd name="connsiteY6" fmla="*/ 294516 h 922815"/>
              <a:gd name="connsiteX7" fmla="*/ 47838 w 788423"/>
              <a:gd name="connsiteY7" fmla="*/ 333784 h 922815"/>
              <a:gd name="connsiteX8" fmla="*/ 22594 w 788423"/>
              <a:gd name="connsiteY8" fmla="*/ 364638 h 922815"/>
              <a:gd name="connsiteX9" fmla="*/ 154 w 788423"/>
              <a:gd name="connsiteY9" fmla="*/ 389882 h 922815"/>
              <a:gd name="connsiteX10" fmla="*/ 14179 w 788423"/>
              <a:gd name="connsiteY10" fmla="*/ 437566 h 922815"/>
              <a:gd name="connsiteX11" fmla="*/ 42228 w 788423"/>
              <a:gd name="connsiteY11" fmla="*/ 479640 h 922815"/>
              <a:gd name="connsiteX12" fmla="*/ 89911 w 788423"/>
              <a:gd name="connsiteY12" fmla="*/ 524518 h 922815"/>
              <a:gd name="connsiteX13" fmla="*/ 151619 w 788423"/>
              <a:gd name="connsiteY13" fmla="*/ 594641 h 922815"/>
              <a:gd name="connsiteX14" fmla="*/ 171254 w 788423"/>
              <a:gd name="connsiteY14" fmla="*/ 622690 h 922815"/>
              <a:gd name="connsiteX15" fmla="*/ 199303 w 788423"/>
              <a:gd name="connsiteY15" fmla="*/ 650739 h 922815"/>
              <a:gd name="connsiteX16" fmla="*/ 232962 w 788423"/>
              <a:gd name="connsiteY16" fmla="*/ 670373 h 922815"/>
              <a:gd name="connsiteX17" fmla="*/ 258206 w 788423"/>
              <a:gd name="connsiteY17" fmla="*/ 681593 h 922815"/>
              <a:gd name="connsiteX18" fmla="*/ 272230 w 788423"/>
              <a:gd name="connsiteY18" fmla="*/ 681593 h 922815"/>
              <a:gd name="connsiteX19" fmla="*/ 294670 w 788423"/>
              <a:gd name="connsiteY19" fmla="*/ 709642 h 922815"/>
              <a:gd name="connsiteX20" fmla="*/ 308694 w 788423"/>
              <a:gd name="connsiteY20" fmla="*/ 718057 h 922815"/>
              <a:gd name="connsiteX21" fmla="*/ 331133 w 788423"/>
              <a:gd name="connsiteY21" fmla="*/ 718057 h 922815"/>
              <a:gd name="connsiteX22" fmla="*/ 356378 w 788423"/>
              <a:gd name="connsiteY22" fmla="*/ 729276 h 922815"/>
              <a:gd name="connsiteX23" fmla="*/ 381622 w 788423"/>
              <a:gd name="connsiteY23" fmla="*/ 748911 h 922815"/>
              <a:gd name="connsiteX24" fmla="*/ 429305 w 788423"/>
              <a:gd name="connsiteY24" fmla="*/ 774155 h 922815"/>
              <a:gd name="connsiteX25" fmla="*/ 507843 w 788423"/>
              <a:gd name="connsiteY25" fmla="*/ 793789 h 922815"/>
              <a:gd name="connsiteX26" fmla="*/ 555526 w 788423"/>
              <a:gd name="connsiteY26" fmla="*/ 790984 h 922815"/>
              <a:gd name="connsiteX27" fmla="*/ 586380 w 788423"/>
              <a:gd name="connsiteY27" fmla="*/ 796594 h 922815"/>
              <a:gd name="connsiteX28" fmla="*/ 614429 w 788423"/>
              <a:gd name="connsiteY28" fmla="*/ 813424 h 922815"/>
              <a:gd name="connsiteX29" fmla="*/ 631259 w 788423"/>
              <a:gd name="connsiteY29" fmla="*/ 833058 h 922815"/>
              <a:gd name="connsiteX30" fmla="*/ 659308 w 788423"/>
              <a:gd name="connsiteY30" fmla="*/ 849887 h 922815"/>
              <a:gd name="connsiteX31" fmla="*/ 673332 w 788423"/>
              <a:gd name="connsiteY31" fmla="*/ 855497 h 922815"/>
              <a:gd name="connsiteX32" fmla="*/ 698576 w 788423"/>
              <a:gd name="connsiteY32" fmla="*/ 855497 h 922815"/>
              <a:gd name="connsiteX33" fmla="*/ 718211 w 788423"/>
              <a:gd name="connsiteY33" fmla="*/ 855497 h 922815"/>
              <a:gd name="connsiteX34" fmla="*/ 751870 w 788423"/>
              <a:gd name="connsiteY34" fmla="*/ 891961 h 922815"/>
              <a:gd name="connsiteX35" fmla="*/ 782724 w 788423"/>
              <a:gd name="connsiteY35" fmla="*/ 917205 h 922815"/>
              <a:gd name="connsiteX36" fmla="*/ 788333 w 788423"/>
              <a:gd name="connsiteY36" fmla="*/ 922815 h 922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788423" h="922815">
                <a:moveTo>
                  <a:pt x="322719" y="0"/>
                </a:moveTo>
                <a:cubicBezTo>
                  <a:pt x="287424" y="27348"/>
                  <a:pt x="252129" y="54696"/>
                  <a:pt x="230157" y="72928"/>
                </a:cubicBezTo>
                <a:cubicBezTo>
                  <a:pt x="208185" y="91160"/>
                  <a:pt x="205847" y="97238"/>
                  <a:pt x="190888" y="109392"/>
                </a:cubicBezTo>
                <a:cubicBezTo>
                  <a:pt x="175928" y="121547"/>
                  <a:pt x="154892" y="134636"/>
                  <a:pt x="140400" y="145855"/>
                </a:cubicBezTo>
                <a:cubicBezTo>
                  <a:pt x="125908" y="157074"/>
                  <a:pt x="115156" y="162217"/>
                  <a:pt x="103936" y="176709"/>
                </a:cubicBezTo>
                <a:cubicBezTo>
                  <a:pt x="92716" y="191201"/>
                  <a:pt x="80562" y="213174"/>
                  <a:pt x="73082" y="232808"/>
                </a:cubicBezTo>
                <a:cubicBezTo>
                  <a:pt x="65602" y="252443"/>
                  <a:pt x="63264" y="277687"/>
                  <a:pt x="59057" y="294516"/>
                </a:cubicBezTo>
                <a:cubicBezTo>
                  <a:pt x="54850" y="311345"/>
                  <a:pt x="53915" y="322097"/>
                  <a:pt x="47838" y="333784"/>
                </a:cubicBezTo>
                <a:cubicBezTo>
                  <a:pt x="41761" y="345471"/>
                  <a:pt x="30541" y="355288"/>
                  <a:pt x="22594" y="364638"/>
                </a:cubicBezTo>
                <a:cubicBezTo>
                  <a:pt x="14647" y="373988"/>
                  <a:pt x="1556" y="377727"/>
                  <a:pt x="154" y="389882"/>
                </a:cubicBezTo>
                <a:cubicBezTo>
                  <a:pt x="-1249" y="402037"/>
                  <a:pt x="7167" y="422606"/>
                  <a:pt x="14179" y="437566"/>
                </a:cubicBezTo>
                <a:cubicBezTo>
                  <a:pt x="21191" y="452526"/>
                  <a:pt x="29606" y="465148"/>
                  <a:pt x="42228" y="479640"/>
                </a:cubicBezTo>
                <a:cubicBezTo>
                  <a:pt x="54850" y="494132"/>
                  <a:pt x="71679" y="505351"/>
                  <a:pt x="89911" y="524518"/>
                </a:cubicBezTo>
                <a:cubicBezTo>
                  <a:pt x="108143" y="543685"/>
                  <a:pt x="138062" y="578279"/>
                  <a:pt x="151619" y="594641"/>
                </a:cubicBezTo>
                <a:cubicBezTo>
                  <a:pt x="165176" y="611003"/>
                  <a:pt x="163307" y="613340"/>
                  <a:pt x="171254" y="622690"/>
                </a:cubicBezTo>
                <a:cubicBezTo>
                  <a:pt x="179201" y="632040"/>
                  <a:pt x="189018" y="642792"/>
                  <a:pt x="199303" y="650739"/>
                </a:cubicBezTo>
                <a:cubicBezTo>
                  <a:pt x="209588" y="658686"/>
                  <a:pt x="223145" y="665231"/>
                  <a:pt x="232962" y="670373"/>
                </a:cubicBezTo>
                <a:cubicBezTo>
                  <a:pt x="242779" y="675515"/>
                  <a:pt x="251661" y="679723"/>
                  <a:pt x="258206" y="681593"/>
                </a:cubicBezTo>
                <a:cubicBezTo>
                  <a:pt x="264751" y="683463"/>
                  <a:pt x="266153" y="676918"/>
                  <a:pt x="272230" y="681593"/>
                </a:cubicBezTo>
                <a:cubicBezTo>
                  <a:pt x="278307" y="686268"/>
                  <a:pt x="288593" y="703565"/>
                  <a:pt x="294670" y="709642"/>
                </a:cubicBezTo>
                <a:cubicBezTo>
                  <a:pt x="300747" y="715719"/>
                  <a:pt x="302617" y="716655"/>
                  <a:pt x="308694" y="718057"/>
                </a:cubicBezTo>
                <a:cubicBezTo>
                  <a:pt x="314771" y="719460"/>
                  <a:pt x="323186" y="716187"/>
                  <a:pt x="331133" y="718057"/>
                </a:cubicBezTo>
                <a:cubicBezTo>
                  <a:pt x="339080" y="719927"/>
                  <a:pt x="347963" y="724134"/>
                  <a:pt x="356378" y="729276"/>
                </a:cubicBezTo>
                <a:cubicBezTo>
                  <a:pt x="364793" y="734418"/>
                  <a:pt x="369468" y="741431"/>
                  <a:pt x="381622" y="748911"/>
                </a:cubicBezTo>
                <a:cubicBezTo>
                  <a:pt x="393776" y="756391"/>
                  <a:pt x="408268" y="766675"/>
                  <a:pt x="429305" y="774155"/>
                </a:cubicBezTo>
                <a:cubicBezTo>
                  <a:pt x="450342" y="781635"/>
                  <a:pt x="486806" y="790984"/>
                  <a:pt x="507843" y="793789"/>
                </a:cubicBezTo>
                <a:cubicBezTo>
                  <a:pt x="528880" y="796594"/>
                  <a:pt x="542437" y="790517"/>
                  <a:pt x="555526" y="790984"/>
                </a:cubicBezTo>
                <a:cubicBezTo>
                  <a:pt x="568615" y="791451"/>
                  <a:pt x="576563" y="792854"/>
                  <a:pt x="586380" y="796594"/>
                </a:cubicBezTo>
                <a:cubicBezTo>
                  <a:pt x="596197" y="800334"/>
                  <a:pt x="606949" y="807347"/>
                  <a:pt x="614429" y="813424"/>
                </a:cubicBezTo>
                <a:cubicBezTo>
                  <a:pt x="621909" y="819501"/>
                  <a:pt x="623779" y="826981"/>
                  <a:pt x="631259" y="833058"/>
                </a:cubicBezTo>
                <a:cubicBezTo>
                  <a:pt x="638739" y="839135"/>
                  <a:pt x="652296" y="846147"/>
                  <a:pt x="659308" y="849887"/>
                </a:cubicBezTo>
                <a:cubicBezTo>
                  <a:pt x="666320" y="853627"/>
                  <a:pt x="666787" y="854562"/>
                  <a:pt x="673332" y="855497"/>
                </a:cubicBezTo>
                <a:cubicBezTo>
                  <a:pt x="679877" y="856432"/>
                  <a:pt x="698576" y="855497"/>
                  <a:pt x="698576" y="855497"/>
                </a:cubicBezTo>
                <a:cubicBezTo>
                  <a:pt x="706056" y="855497"/>
                  <a:pt x="709329" y="849420"/>
                  <a:pt x="718211" y="855497"/>
                </a:cubicBezTo>
                <a:cubicBezTo>
                  <a:pt x="727093" y="861574"/>
                  <a:pt x="741118" y="881676"/>
                  <a:pt x="751870" y="891961"/>
                </a:cubicBezTo>
                <a:cubicBezTo>
                  <a:pt x="762622" y="902246"/>
                  <a:pt x="782724" y="917205"/>
                  <a:pt x="782724" y="917205"/>
                </a:cubicBezTo>
                <a:cubicBezTo>
                  <a:pt x="788801" y="922347"/>
                  <a:pt x="788567" y="922581"/>
                  <a:pt x="788333" y="92281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1" name="Полилиния 230"/>
          <p:cNvSpPr/>
          <p:nvPr/>
        </p:nvSpPr>
        <p:spPr>
          <a:xfrm>
            <a:off x="6103480" y="3884798"/>
            <a:ext cx="819033" cy="995742"/>
          </a:xfrm>
          <a:custGeom>
            <a:avLst/>
            <a:gdLst>
              <a:gd name="connsiteX0" fmla="*/ 345004 w 819033"/>
              <a:gd name="connsiteY0" fmla="*/ 0 h 995742"/>
              <a:gd name="connsiteX1" fmla="*/ 288905 w 819033"/>
              <a:gd name="connsiteY1" fmla="*/ 36463 h 995742"/>
              <a:gd name="connsiteX2" fmla="*/ 244027 w 819033"/>
              <a:gd name="connsiteY2" fmla="*/ 89757 h 995742"/>
              <a:gd name="connsiteX3" fmla="*/ 213173 w 819033"/>
              <a:gd name="connsiteY3" fmla="*/ 109391 h 995742"/>
              <a:gd name="connsiteX4" fmla="*/ 168294 w 819033"/>
              <a:gd name="connsiteY4" fmla="*/ 140245 h 995742"/>
              <a:gd name="connsiteX5" fmla="*/ 129026 w 819033"/>
              <a:gd name="connsiteY5" fmla="*/ 173904 h 995742"/>
              <a:gd name="connsiteX6" fmla="*/ 92562 w 819033"/>
              <a:gd name="connsiteY6" fmla="*/ 227197 h 995742"/>
              <a:gd name="connsiteX7" fmla="*/ 67318 w 819033"/>
              <a:gd name="connsiteY7" fmla="*/ 322564 h 995742"/>
              <a:gd name="connsiteX8" fmla="*/ 53293 w 819033"/>
              <a:gd name="connsiteY8" fmla="*/ 361833 h 995742"/>
              <a:gd name="connsiteX9" fmla="*/ 19634 w 819033"/>
              <a:gd name="connsiteY9" fmla="*/ 401101 h 995742"/>
              <a:gd name="connsiteX10" fmla="*/ 0 w 819033"/>
              <a:gd name="connsiteY10" fmla="*/ 440370 h 995742"/>
              <a:gd name="connsiteX11" fmla="*/ 19634 w 819033"/>
              <a:gd name="connsiteY11" fmla="*/ 493663 h 995742"/>
              <a:gd name="connsiteX12" fmla="*/ 50488 w 819033"/>
              <a:gd name="connsiteY12" fmla="*/ 544152 h 995742"/>
              <a:gd name="connsiteX13" fmla="*/ 98172 w 819033"/>
              <a:gd name="connsiteY13" fmla="*/ 577811 h 995742"/>
              <a:gd name="connsiteX14" fmla="*/ 143050 w 819033"/>
              <a:gd name="connsiteY14" fmla="*/ 617079 h 995742"/>
              <a:gd name="connsiteX15" fmla="*/ 171099 w 819033"/>
              <a:gd name="connsiteY15" fmla="*/ 653543 h 995742"/>
              <a:gd name="connsiteX16" fmla="*/ 190734 w 819033"/>
              <a:gd name="connsiteY16" fmla="*/ 701227 h 995742"/>
              <a:gd name="connsiteX17" fmla="*/ 230002 w 819033"/>
              <a:gd name="connsiteY17" fmla="*/ 723666 h 995742"/>
              <a:gd name="connsiteX18" fmla="*/ 255246 w 819033"/>
              <a:gd name="connsiteY18" fmla="*/ 743300 h 995742"/>
              <a:gd name="connsiteX19" fmla="*/ 269271 w 819033"/>
              <a:gd name="connsiteY19" fmla="*/ 757325 h 995742"/>
              <a:gd name="connsiteX20" fmla="*/ 294515 w 819033"/>
              <a:gd name="connsiteY20" fmla="*/ 757325 h 995742"/>
              <a:gd name="connsiteX21" fmla="*/ 308540 w 819033"/>
              <a:gd name="connsiteY21" fmla="*/ 779764 h 995742"/>
              <a:gd name="connsiteX22" fmla="*/ 336589 w 819033"/>
              <a:gd name="connsiteY22" fmla="*/ 796593 h 995742"/>
              <a:gd name="connsiteX23" fmla="*/ 367443 w 819033"/>
              <a:gd name="connsiteY23" fmla="*/ 802203 h 995742"/>
              <a:gd name="connsiteX24" fmla="*/ 387077 w 819033"/>
              <a:gd name="connsiteY24" fmla="*/ 816228 h 995742"/>
              <a:gd name="connsiteX25" fmla="*/ 429151 w 819033"/>
              <a:gd name="connsiteY25" fmla="*/ 835862 h 995742"/>
              <a:gd name="connsiteX26" fmla="*/ 479639 w 819033"/>
              <a:gd name="connsiteY26" fmla="*/ 861106 h 995742"/>
              <a:gd name="connsiteX27" fmla="*/ 544152 w 819033"/>
              <a:gd name="connsiteY27" fmla="*/ 872326 h 995742"/>
              <a:gd name="connsiteX28" fmla="*/ 611470 w 819033"/>
              <a:gd name="connsiteY28" fmla="*/ 877936 h 995742"/>
              <a:gd name="connsiteX29" fmla="*/ 639519 w 819033"/>
              <a:gd name="connsiteY29" fmla="*/ 889155 h 995742"/>
              <a:gd name="connsiteX30" fmla="*/ 687202 w 819033"/>
              <a:gd name="connsiteY30" fmla="*/ 922814 h 995742"/>
              <a:gd name="connsiteX31" fmla="*/ 715251 w 819033"/>
              <a:gd name="connsiteY31" fmla="*/ 939644 h 995742"/>
              <a:gd name="connsiteX32" fmla="*/ 734886 w 819033"/>
              <a:gd name="connsiteY32" fmla="*/ 942449 h 995742"/>
              <a:gd name="connsiteX33" fmla="*/ 748910 w 819033"/>
              <a:gd name="connsiteY33" fmla="*/ 942449 h 995742"/>
              <a:gd name="connsiteX34" fmla="*/ 774154 w 819033"/>
              <a:gd name="connsiteY34" fmla="*/ 964888 h 995742"/>
              <a:gd name="connsiteX35" fmla="*/ 793789 w 819033"/>
              <a:gd name="connsiteY35" fmla="*/ 984522 h 995742"/>
              <a:gd name="connsiteX36" fmla="*/ 813423 w 819033"/>
              <a:gd name="connsiteY36" fmla="*/ 992937 h 995742"/>
              <a:gd name="connsiteX37" fmla="*/ 819033 w 819033"/>
              <a:gd name="connsiteY37" fmla="*/ 995742 h 995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819033" h="995742">
                <a:moveTo>
                  <a:pt x="345004" y="0"/>
                </a:moveTo>
                <a:cubicBezTo>
                  <a:pt x="325369" y="10752"/>
                  <a:pt x="305734" y="21504"/>
                  <a:pt x="288905" y="36463"/>
                </a:cubicBezTo>
                <a:cubicBezTo>
                  <a:pt x="272075" y="51423"/>
                  <a:pt x="256649" y="77602"/>
                  <a:pt x="244027" y="89757"/>
                </a:cubicBezTo>
                <a:cubicBezTo>
                  <a:pt x="231405" y="101912"/>
                  <a:pt x="225795" y="100976"/>
                  <a:pt x="213173" y="109391"/>
                </a:cubicBezTo>
                <a:cubicBezTo>
                  <a:pt x="200551" y="117806"/>
                  <a:pt x="182318" y="129493"/>
                  <a:pt x="168294" y="140245"/>
                </a:cubicBezTo>
                <a:cubicBezTo>
                  <a:pt x="154270" y="150997"/>
                  <a:pt x="141648" y="159412"/>
                  <a:pt x="129026" y="173904"/>
                </a:cubicBezTo>
                <a:cubicBezTo>
                  <a:pt x="116404" y="188396"/>
                  <a:pt x="102847" y="202421"/>
                  <a:pt x="92562" y="227197"/>
                </a:cubicBezTo>
                <a:cubicBezTo>
                  <a:pt x="82277" y="251973"/>
                  <a:pt x="73863" y="300125"/>
                  <a:pt x="67318" y="322564"/>
                </a:cubicBezTo>
                <a:cubicBezTo>
                  <a:pt x="60773" y="345003"/>
                  <a:pt x="61240" y="348744"/>
                  <a:pt x="53293" y="361833"/>
                </a:cubicBezTo>
                <a:cubicBezTo>
                  <a:pt x="45346" y="374922"/>
                  <a:pt x="28516" y="388012"/>
                  <a:pt x="19634" y="401101"/>
                </a:cubicBezTo>
                <a:cubicBezTo>
                  <a:pt x="10752" y="414191"/>
                  <a:pt x="0" y="424943"/>
                  <a:pt x="0" y="440370"/>
                </a:cubicBezTo>
                <a:cubicBezTo>
                  <a:pt x="0" y="455797"/>
                  <a:pt x="11219" y="476366"/>
                  <a:pt x="19634" y="493663"/>
                </a:cubicBezTo>
                <a:cubicBezTo>
                  <a:pt x="28049" y="510960"/>
                  <a:pt x="37398" y="530127"/>
                  <a:pt x="50488" y="544152"/>
                </a:cubicBezTo>
                <a:cubicBezTo>
                  <a:pt x="63578" y="558177"/>
                  <a:pt x="82745" y="565657"/>
                  <a:pt x="98172" y="577811"/>
                </a:cubicBezTo>
                <a:cubicBezTo>
                  <a:pt x="113599" y="589966"/>
                  <a:pt x="130896" y="604457"/>
                  <a:pt x="143050" y="617079"/>
                </a:cubicBezTo>
                <a:cubicBezTo>
                  <a:pt x="155204" y="629701"/>
                  <a:pt x="163152" y="639518"/>
                  <a:pt x="171099" y="653543"/>
                </a:cubicBezTo>
                <a:cubicBezTo>
                  <a:pt x="179046" y="667568"/>
                  <a:pt x="180917" y="689540"/>
                  <a:pt x="190734" y="701227"/>
                </a:cubicBezTo>
                <a:cubicBezTo>
                  <a:pt x="200551" y="712914"/>
                  <a:pt x="219250" y="716654"/>
                  <a:pt x="230002" y="723666"/>
                </a:cubicBezTo>
                <a:cubicBezTo>
                  <a:pt x="240754" y="730678"/>
                  <a:pt x="248701" y="737690"/>
                  <a:pt x="255246" y="743300"/>
                </a:cubicBezTo>
                <a:cubicBezTo>
                  <a:pt x="261791" y="748910"/>
                  <a:pt x="262726" y="754987"/>
                  <a:pt x="269271" y="757325"/>
                </a:cubicBezTo>
                <a:cubicBezTo>
                  <a:pt x="275816" y="759663"/>
                  <a:pt x="287970" y="753585"/>
                  <a:pt x="294515" y="757325"/>
                </a:cubicBezTo>
                <a:cubicBezTo>
                  <a:pt x="301060" y="761065"/>
                  <a:pt x="301528" y="773219"/>
                  <a:pt x="308540" y="779764"/>
                </a:cubicBezTo>
                <a:cubicBezTo>
                  <a:pt x="315552" y="786309"/>
                  <a:pt x="326772" y="792853"/>
                  <a:pt x="336589" y="796593"/>
                </a:cubicBezTo>
                <a:cubicBezTo>
                  <a:pt x="346406" y="800333"/>
                  <a:pt x="359028" y="798931"/>
                  <a:pt x="367443" y="802203"/>
                </a:cubicBezTo>
                <a:cubicBezTo>
                  <a:pt x="375858" y="805475"/>
                  <a:pt x="376792" y="810618"/>
                  <a:pt x="387077" y="816228"/>
                </a:cubicBezTo>
                <a:cubicBezTo>
                  <a:pt x="397362" y="821838"/>
                  <a:pt x="413724" y="828382"/>
                  <a:pt x="429151" y="835862"/>
                </a:cubicBezTo>
                <a:cubicBezTo>
                  <a:pt x="444578" y="843342"/>
                  <a:pt x="460472" y="855029"/>
                  <a:pt x="479639" y="861106"/>
                </a:cubicBezTo>
                <a:cubicBezTo>
                  <a:pt x="498806" y="867183"/>
                  <a:pt x="522180" y="869521"/>
                  <a:pt x="544152" y="872326"/>
                </a:cubicBezTo>
                <a:cubicBezTo>
                  <a:pt x="566124" y="875131"/>
                  <a:pt x="595576" y="875131"/>
                  <a:pt x="611470" y="877936"/>
                </a:cubicBezTo>
                <a:cubicBezTo>
                  <a:pt x="627365" y="880741"/>
                  <a:pt x="626897" y="881675"/>
                  <a:pt x="639519" y="889155"/>
                </a:cubicBezTo>
                <a:cubicBezTo>
                  <a:pt x="652141" y="896635"/>
                  <a:pt x="674580" y="914399"/>
                  <a:pt x="687202" y="922814"/>
                </a:cubicBezTo>
                <a:cubicBezTo>
                  <a:pt x="699824" y="931229"/>
                  <a:pt x="707304" y="936372"/>
                  <a:pt x="715251" y="939644"/>
                </a:cubicBezTo>
                <a:cubicBezTo>
                  <a:pt x="723198" y="942917"/>
                  <a:pt x="729276" y="941982"/>
                  <a:pt x="734886" y="942449"/>
                </a:cubicBezTo>
                <a:cubicBezTo>
                  <a:pt x="740496" y="942916"/>
                  <a:pt x="742366" y="938709"/>
                  <a:pt x="748910" y="942449"/>
                </a:cubicBezTo>
                <a:cubicBezTo>
                  <a:pt x="755454" y="946189"/>
                  <a:pt x="766674" y="957876"/>
                  <a:pt x="774154" y="964888"/>
                </a:cubicBezTo>
                <a:cubicBezTo>
                  <a:pt x="781634" y="971900"/>
                  <a:pt x="787244" y="979847"/>
                  <a:pt x="793789" y="984522"/>
                </a:cubicBezTo>
                <a:cubicBezTo>
                  <a:pt x="800334" y="989197"/>
                  <a:pt x="813423" y="992937"/>
                  <a:pt x="813423" y="992937"/>
                </a:cubicBezTo>
                <a:cubicBezTo>
                  <a:pt x="817630" y="994807"/>
                  <a:pt x="818331" y="995274"/>
                  <a:pt x="819033" y="995742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7" name="Полилиния 236"/>
          <p:cNvSpPr/>
          <p:nvPr/>
        </p:nvSpPr>
        <p:spPr>
          <a:xfrm>
            <a:off x="6198847" y="5161031"/>
            <a:ext cx="14024" cy="129025"/>
          </a:xfrm>
          <a:custGeom>
            <a:avLst/>
            <a:gdLst>
              <a:gd name="connsiteX0" fmla="*/ 14024 w 14024"/>
              <a:gd name="connsiteY0" fmla="*/ 0 h 129025"/>
              <a:gd name="connsiteX1" fmla="*/ 0 w 14024"/>
              <a:gd name="connsiteY1" fmla="*/ 129025 h 129025"/>
              <a:gd name="connsiteX2" fmla="*/ 0 w 14024"/>
              <a:gd name="connsiteY2" fmla="*/ 129025 h 129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24" h="129025">
                <a:moveTo>
                  <a:pt x="14024" y="0"/>
                </a:moveTo>
                <a:lnTo>
                  <a:pt x="0" y="129025"/>
                </a:lnTo>
                <a:lnTo>
                  <a:pt x="0" y="129025"/>
                </a:ln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8" name="Полилиния 237"/>
          <p:cNvSpPr/>
          <p:nvPr/>
        </p:nvSpPr>
        <p:spPr>
          <a:xfrm>
            <a:off x="6200415" y="5164766"/>
            <a:ext cx="12749" cy="129025"/>
          </a:xfrm>
          <a:custGeom>
            <a:avLst/>
            <a:gdLst>
              <a:gd name="connsiteX0" fmla="*/ 14024 w 14024"/>
              <a:gd name="connsiteY0" fmla="*/ 0 h 129025"/>
              <a:gd name="connsiteX1" fmla="*/ 0 w 14024"/>
              <a:gd name="connsiteY1" fmla="*/ 129025 h 129025"/>
              <a:gd name="connsiteX2" fmla="*/ 0 w 14024"/>
              <a:gd name="connsiteY2" fmla="*/ 129025 h 129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24" h="129025">
                <a:moveTo>
                  <a:pt x="14024" y="0"/>
                </a:moveTo>
                <a:lnTo>
                  <a:pt x="0" y="129025"/>
                </a:lnTo>
                <a:lnTo>
                  <a:pt x="0" y="129025"/>
                </a:ln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олилиния 49"/>
          <p:cNvSpPr/>
          <p:nvPr/>
        </p:nvSpPr>
        <p:spPr>
          <a:xfrm>
            <a:off x="5299638" y="5116133"/>
            <a:ext cx="1150944" cy="416600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олилиния 50"/>
          <p:cNvSpPr/>
          <p:nvPr/>
        </p:nvSpPr>
        <p:spPr>
          <a:xfrm>
            <a:off x="5302484" y="5112236"/>
            <a:ext cx="1150944" cy="416600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олилиния 51"/>
          <p:cNvSpPr/>
          <p:nvPr/>
        </p:nvSpPr>
        <p:spPr>
          <a:xfrm>
            <a:off x="5300267" y="5139323"/>
            <a:ext cx="1150944" cy="416600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олилиния 52"/>
          <p:cNvSpPr/>
          <p:nvPr/>
        </p:nvSpPr>
        <p:spPr>
          <a:xfrm>
            <a:off x="5303022" y="5092492"/>
            <a:ext cx="1150944" cy="416600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2" name="Полилиния 241"/>
          <p:cNvSpPr/>
          <p:nvPr/>
        </p:nvSpPr>
        <p:spPr>
          <a:xfrm>
            <a:off x="6226896" y="5166641"/>
            <a:ext cx="8415" cy="72927"/>
          </a:xfrm>
          <a:custGeom>
            <a:avLst/>
            <a:gdLst>
              <a:gd name="connsiteX0" fmla="*/ 8415 w 8415"/>
              <a:gd name="connsiteY0" fmla="*/ 0 h 72927"/>
              <a:gd name="connsiteX1" fmla="*/ 0 w 8415"/>
              <a:gd name="connsiteY1" fmla="*/ 72927 h 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15" h="72927">
                <a:moveTo>
                  <a:pt x="8415" y="0"/>
                </a:moveTo>
                <a:lnTo>
                  <a:pt x="0" y="72927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3" name="Полилиния 242"/>
          <p:cNvSpPr/>
          <p:nvPr/>
        </p:nvSpPr>
        <p:spPr>
          <a:xfrm>
            <a:off x="6187627" y="5155421"/>
            <a:ext cx="5610" cy="103781"/>
          </a:xfrm>
          <a:custGeom>
            <a:avLst/>
            <a:gdLst>
              <a:gd name="connsiteX0" fmla="*/ 5610 w 5610"/>
              <a:gd name="connsiteY0" fmla="*/ 0 h 103781"/>
              <a:gd name="connsiteX1" fmla="*/ 0 w 5610"/>
              <a:gd name="connsiteY1" fmla="*/ 103781 h 103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610" h="103781">
                <a:moveTo>
                  <a:pt x="5610" y="0"/>
                </a:moveTo>
                <a:lnTo>
                  <a:pt x="0" y="103781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4" name="Блок-схема: узел 243"/>
          <p:cNvSpPr/>
          <p:nvPr/>
        </p:nvSpPr>
        <p:spPr>
          <a:xfrm>
            <a:off x="5698440" y="5284742"/>
            <a:ext cx="74333" cy="7065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5" name="Полилиния 244"/>
          <p:cNvSpPr/>
          <p:nvPr/>
        </p:nvSpPr>
        <p:spPr>
          <a:xfrm>
            <a:off x="6210066" y="4597244"/>
            <a:ext cx="108888" cy="572201"/>
          </a:xfrm>
          <a:custGeom>
            <a:avLst/>
            <a:gdLst>
              <a:gd name="connsiteX0" fmla="*/ 98172 w 108888"/>
              <a:gd name="connsiteY0" fmla="*/ 0 h 572201"/>
              <a:gd name="connsiteX1" fmla="*/ 95367 w 108888"/>
              <a:gd name="connsiteY1" fmla="*/ 84147 h 572201"/>
              <a:gd name="connsiteX2" fmla="*/ 100977 w 108888"/>
              <a:gd name="connsiteY2" fmla="*/ 123416 h 572201"/>
              <a:gd name="connsiteX3" fmla="*/ 106587 w 108888"/>
              <a:gd name="connsiteY3" fmla="*/ 168294 h 572201"/>
              <a:gd name="connsiteX4" fmla="*/ 106587 w 108888"/>
              <a:gd name="connsiteY4" fmla="*/ 193539 h 572201"/>
              <a:gd name="connsiteX5" fmla="*/ 78537 w 108888"/>
              <a:gd name="connsiteY5" fmla="*/ 227198 h 572201"/>
              <a:gd name="connsiteX6" fmla="*/ 67318 w 108888"/>
              <a:gd name="connsiteY6" fmla="*/ 241222 h 572201"/>
              <a:gd name="connsiteX7" fmla="*/ 30854 w 108888"/>
              <a:gd name="connsiteY7" fmla="*/ 266466 h 572201"/>
              <a:gd name="connsiteX8" fmla="*/ 14025 w 108888"/>
              <a:gd name="connsiteY8" fmla="*/ 274881 h 572201"/>
              <a:gd name="connsiteX9" fmla="*/ 33659 w 108888"/>
              <a:gd name="connsiteY9" fmla="*/ 297320 h 572201"/>
              <a:gd name="connsiteX10" fmla="*/ 56098 w 108888"/>
              <a:gd name="connsiteY10" fmla="*/ 325369 h 572201"/>
              <a:gd name="connsiteX11" fmla="*/ 78537 w 108888"/>
              <a:gd name="connsiteY11" fmla="*/ 350613 h 572201"/>
              <a:gd name="connsiteX12" fmla="*/ 89757 w 108888"/>
              <a:gd name="connsiteY12" fmla="*/ 375858 h 572201"/>
              <a:gd name="connsiteX13" fmla="*/ 89757 w 108888"/>
              <a:gd name="connsiteY13" fmla="*/ 406712 h 572201"/>
              <a:gd name="connsiteX14" fmla="*/ 89757 w 108888"/>
              <a:gd name="connsiteY14" fmla="*/ 440371 h 572201"/>
              <a:gd name="connsiteX15" fmla="*/ 84147 w 108888"/>
              <a:gd name="connsiteY15" fmla="*/ 476834 h 572201"/>
              <a:gd name="connsiteX16" fmla="*/ 78537 w 108888"/>
              <a:gd name="connsiteY16" fmla="*/ 499274 h 572201"/>
              <a:gd name="connsiteX17" fmla="*/ 50488 w 108888"/>
              <a:gd name="connsiteY17" fmla="*/ 532933 h 572201"/>
              <a:gd name="connsiteX18" fmla="*/ 44879 w 108888"/>
              <a:gd name="connsiteY18" fmla="*/ 546957 h 572201"/>
              <a:gd name="connsiteX19" fmla="*/ 8415 w 108888"/>
              <a:gd name="connsiteY19" fmla="*/ 552567 h 572201"/>
              <a:gd name="connsiteX20" fmla="*/ 0 w 108888"/>
              <a:gd name="connsiteY20" fmla="*/ 572201 h 572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8888" h="572201">
                <a:moveTo>
                  <a:pt x="98172" y="0"/>
                </a:moveTo>
                <a:cubicBezTo>
                  <a:pt x="96535" y="31789"/>
                  <a:pt x="94899" y="63578"/>
                  <a:pt x="95367" y="84147"/>
                </a:cubicBezTo>
                <a:cubicBezTo>
                  <a:pt x="95835" y="104716"/>
                  <a:pt x="99107" y="109392"/>
                  <a:pt x="100977" y="123416"/>
                </a:cubicBezTo>
                <a:cubicBezTo>
                  <a:pt x="102847" y="137440"/>
                  <a:pt x="105652" y="156607"/>
                  <a:pt x="106587" y="168294"/>
                </a:cubicBezTo>
                <a:cubicBezTo>
                  <a:pt x="107522" y="179981"/>
                  <a:pt x="111262" y="183722"/>
                  <a:pt x="106587" y="193539"/>
                </a:cubicBezTo>
                <a:cubicBezTo>
                  <a:pt x="101912" y="203356"/>
                  <a:pt x="85082" y="219251"/>
                  <a:pt x="78537" y="227198"/>
                </a:cubicBezTo>
                <a:cubicBezTo>
                  <a:pt x="71992" y="235145"/>
                  <a:pt x="75265" y="234677"/>
                  <a:pt x="67318" y="241222"/>
                </a:cubicBezTo>
                <a:cubicBezTo>
                  <a:pt x="59371" y="247767"/>
                  <a:pt x="39736" y="260856"/>
                  <a:pt x="30854" y="266466"/>
                </a:cubicBezTo>
                <a:cubicBezTo>
                  <a:pt x="21972" y="272076"/>
                  <a:pt x="13557" y="269739"/>
                  <a:pt x="14025" y="274881"/>
                </a:cubicBezTo>
                <a:cubicBezTo>
                  <a:pt x="14492" y="280023"/>
                  <a:pt x="26647" y="288905"/>
                  <a:pt x="33659" y="297320"/>
                </a:cubicBezTo>
                <a:cubicBezTo>
                  <a:pt x="40671" y="305735"/>
                  <a:pt x="48618" y="316487"/>
                  <a:pt x="56098" y="325369"/>
                </a:cubicBezTo>
                <a:cubicBezTo>
                  <a:pt x="63578" y="334251"/>
                  <a:pt x="72927" y="342198"/>
                  <a:pt x="78537" y="350613"/>
                </a:cubicBezTo>
                <a:cubicBezTo>
                  <a:pt x="84147" y="359028"/>
                  <a:pt x="87887" y="366508"/>
                  <a:pt x="89757" y="375858"/>
                </a:cubicBezTo>
                <a:cubicBezTo>
                  <a:pt x="91627" y="385208"/>
                  <a:pt x="89757" y="406712"/>
                  <a:pt x="89757" y="406712"/>
                </a:cubicBezTo>
                <a:cubicBezTo>
                  <a:pt x="89757" y="417464"/>
                  <a:pt x="90692" y="428684"/>
                  <a:pt x="89757" y="440371"/>
                </a:cubicBezTo>
                <a:cubicBezTo>
                  <a:pt x="88822" y="452058"/>
                  <a:pt x="86017" y="467017"/>
                  <a:pt x="84147" y="476834"/>
                </a:cubicBezTo>
                <a:cubicBezTo>
                  <a:pt x="82277" y="486651"/>
                  <a:pt x="84147" y="489924"/>
                  <a:pt x="78537" y="499274"/>
                </a:cubicBezTo>
                <a:cubicBezTo>
                  <a:pt x="72927" y="508624"/>
                  <a:pt x="56098" y="524986"/>
                  <a:pt x="50488" y="532933"/>
                </a:cubicBezTo>
                <a:cubicBezTo>
                  <a:pt x="44878" y="540880"/>
                  <a:pt x="51891" y="543685"/>
                  <a:pt x="44879" y="546957"/>
                </a:cubicBezTo>
                <a:cubicBezTo>
                  <a:pt x="37867" y="550229"/>
                  <a:pt x="15895" y="548360"/>
                  <a:pt x="8415" y="552567"/>
                </a:cubicBezTo>
                <a:cubicBezTo>
                  <a:pt x="935" y="556774"/>
                  <a:pt x="467" y="564487"/>
                  <a:pt x="0" y="572201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6" name="Полилиния 245"/>
          <p:cNvSpPr/>
          <p:nvPr/>
        </p:nvSpPr>
        <p:spPr>
          <a:xfrm>
            <a:off x="6210066" y="4608464"/>
            <a:ext cx="107149" cy="572201"/>
          </a:xfrm>
          <a:custGeom>
            <a:avLst/>
            <a:gdLst>
              <a:gd name="connsiteX0" fmla="*/ 95367 w 107149"/>
              <a:gd name="connsiteY0" fmla="*/ 0 h 572201"/>
              <a:gd name="connsiteX1" fmla="*/ 98172 w 107149"/>
              <a:gd name="connsiteY1" fmla="*/ 103781 h 572201"/>
              <a:gd name="connsiteX2" fmla="*/ 103782 w 107149"/>
              <a:gd name="connsiteY2" fmla="*/ 143050 h 572201"/>
              <a:gd name="connsiteX3" fmla="*/ 106587 w 107149"/>
              <a:gd name="connsiteY3" fmla="*/ 171099 h 572201"/>
              <a:gd name="connsiteX4" fmla="*/ 92562 w 107149"/>
              <a:gd name="connsiteY4" fmla="*/ 193538 h 572201"/>
              <a:gd name="connsiteX5" fmla="*/ 72928 w 107149"/>
              <a:gd name="connsiteY5" fmla="*/ 224392 h 572201"/>
              <a:gd name="connsiteX6" fmla="*/ 33659 w 107149"/>
              <a:gd name="connsiteY6" fmla="*/ 249637 h 572201"/>
              <a:gd name="connsiteX7" fmla="*/ 16830 w 107149"/>
              <a:gd name="connsiteY7" fmla="*/ 263661 h 572201"/>
              <a:gd name="connsiteX8" fmla="*/ 36464 w 107149"/>
              <a:gd name="connsiteY8" fmla="*/ 291710 h 572201"/>
              <a:gd name="connsiteX9" fmla="*/ 67318 w 107149"/>
              <a:gd name="connsiteY9" fmla="*/ 333784 h 572201"/>
              <a:gd name="connsiteX10" fmla="*/ 86952 w 107149"/>
              <a:gd name="connsiteY10" fmla="*/ 387077 h 572201"/>
              <a:gd name="connsiteX11" fmla="*/ 92562 w 107149"/>
              <a:gd name="connsiteY11" fmla="*/ 437565 h 572201"/>
              <a:gd name="connsiteX12" fmla="*/ 84147 w 107149"/>
              <a:gd name="connsiteY12" fmla="*/ 485249 h 572201"/>
              <a:gd name="connsiteX13" fmla="*/ 56098 w 107149"/>
              <a:gd name="connsiteY13" fmla="*/ 513298 h 572201"/>
              <a:gd name="connsiteX14" fmla="*/ 33659 w 107149"/>
              <a:gd name="connsiteY14" fmla="*/ 527323 h 572201"/>
              <a:gd name="connsiteX15" fmla="*/ 11220 w 107149"/>
              <a:gd name="connsiteY15" fmla="*/ 549762 h 572201"/>
              <a:gd name="connsiteX16" fmla="*/ 2805 w 107149"/>
              <a:gd name="connsiteY16" fmla="*/ 566591 h 572201"/>
              <a:gd name="connsiteX17" fmla="*/ 0 w 107149"/>
              <a:gd name="connsiteY17" fmla="*/ 572201 h 572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7149" h="572201">
                <a:moveTo>
                  <a:pt x="95367" y="0"/>
                </a:moveTo>
                <a:cubicBezTo>
                  <a:pt x="96068" y="39969"/>
                  <a:pt x="96770" y="79939"/>
                  <a:pt x="98172" y="103781"/>
                </a:cubicBezTo>
                <a:cubicBezTo>
                  <a:pt x="99574" y="127623"/>
                  <a:pt x="102380" y="131830"/>
                  <a:pt x="103782" y="143050"/>
                </a:cubicBezTo>
                <a:cubicBezTo>
                  <a:pt x="105185" y="154270"/>
                  <a:pt x="108457" y="162684"/>
                  <a:pt x="106587" y="171099"/>
                </a:cubicBezTo>
                <a:cubicBezTo>
                  <a:pt x="104717" y="179514"/>
                  <a:pt x="98172" y="184656"/>
                  <a:pt x="92562" y="193538"/>
                </a:cubicBezTo>
                <a:cubicBezTo>
                  <a:pt x="86952" y="202420"/>
                  <a:pt x="82745" y="215042"/>
                  <a:pt x="72928" y="224392"/>
                </a:cubicBezTo>
                <a:cubicBezTo>
                  <a:pt x="63111" y="233742"/>
                  <a:pt x="43009" y="243092"/>
                  <a:pt x="33659" y="249637"/>
                </a:cubicBezTo>
                <a:cubicBezTo>
                  <a:pt x="24309" y="256182"/>
                  <a:pt x="16363" y="256649"/>
                  <a:pt x="16830" y="263661"/>
                </a:cubicBezTo>
                <a:cubicBezTo>
                  <a:pt x="17297" y="270673"/>
                  <a:pt x="28049" y="280023"/>
                  <a:pt x="36464" y="291710"/>
                </a:cubicBezTo>
                <a:cubicBezTo>
                  <a:pt x="44879" y="303397"/>
                  <a:pt x="58903" y="317889"/>
                  <a:pt x="67318" y="333784"/>
                </a:cubicBezTo>
                <a:cubicBezTo>
                  <a:pt x="75733" y="349679"/>
                  <a:pt x="82745" y="369780"/>
                  <a:pt x="86952" y="387077"/>
                </a:cubicBezTo>
                <a:cubicBezTo>
                  <a:pt x="91159" y="404374"/>
                  <a:pt x="93029" y="421203"/>
                  <a:pt x="92562" y="437565"/>
                </a:cubicBezTo>
                <a:cubicBezTo>
                  <a:pt x="92094" y="453927"/>
                  <a:pt x="90224" y="472627"/>
                  <a:pt x="84147" y="485249"/>
                </a:cubicBezTo>
                <a:cubicBezTo>
                  <a:pt x="78070" y="497871"/>
                  <a:pt x="64512" y="506286"/>
                  <a:pt x="56098" y="513298"/>
                </a:cubicBezTo>
                <a:cubicBezTo>
                  <a:pt x="47684" y="520310"/>
                  <a:pt x="41139" y="521246"/>
                  <a:pt x="33659" y="527323"/>
                </a:cubicBezTo>
                <a:cubicBezTo>
                  <a:pt x="26179" y="533400"/>
                  <a:pt x="16362" y="543217"/>
                  <a:pt x="11220" y="549762"/>
                </a:cubicBezTo>
                <a:cubicBezTo>
                  <a:pt x="6078" y="556307"/>
                  <a:pt x="2805" y="566591"/>
                  <a:pt x="2805" y="566591"/>
                </a:cubicBezTo>
                <a:lnTo>
                  <a:pt x="0" y="572201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4" name="Блок-схема: узел 223"/>
          <p:cNvSpPr/>
          <p:nvPr/>
        </p:nvSpPr>
        <p:spPr>
          <a:xfrm>
            <a:off x="6287648" y="4546115"/>
            <a:ext cx="74333" cy="7065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7" name="Блок-схема: узел 246"/>
          <p:cNvSpPr/>
          <p:nvPr/>
        </p:nvSpPr>
        <p:spPr>
          <a:xfrm>
            <a:off x="1948330" y="4447459"/>
            <a:ext cx="74333" cy="7065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8" name="AutoShape 19"/>
          <p:cNvSpPr>
            <a:spLocks noChangeArrowheads="1"/>
          </p:cNvSpPr>
          <p:nvPr/>
        </p:nvSpPr>
        <p:spPr bwMode="auto">
          <a:xfrm>
            <a:off x="2601156" y="2841456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Актобе</a:t>
            </a:r>
          </a:p>
        </p:txBody>
      </p:sp>
      <p:sp>
        <p:nvSpPr>
          <p:cNvPr id="190" name="AutoShape 19"/>
          <p:cNvSpPr>
            <a:spLocks noChangeArrowheads="1"/>
          </p:cNvSpPr>
          <p:nvPr/>
        </p:nvSpPr>
        <p:spPr bwMode="auto">
          <a:xfrm>
            <a:off x="1460071" y="2108001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Уральск</a:t>
            </a:r>
          </a:p>
        </p:txBody>
      </p:sp>
      <p:sp>
        <p:nvSpPr>
          <p:cNvPr id="195" name="AutoShape 19"/>
          <p:cNvSpPr>
            <a:spLocks noChangeArrowheads="1"/>
          </p:cNvSpPr>
          <p:nvPr/>
        </p:nvSpPr>
        <p:spPr bwMode="auto">
          <a:xfrm>
            <a:off x="613778" y="2145476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Таскала</a:t>
            </a:r>
          </a:p>
        </p:txBody>
      </p:sp>
      <p:sp>
        <p:nvSpPr>
          <p:cNvPr id="223" name="AutoShape 19"/>
          <p:cNvSpPr>
            <a:spLocks noChangeArrowheads="1"/>
          </p:cNvSpPr>
          <p:nvPr/>
        </p:nvSpPr>
        <p:spPr bwMode="auto">
          <a:xfrm>
            <a:off x="1007364" y="3576544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Атырау</a:t>
            </a:r>
          </a:p>
        </p:txBody>
      </p:sp>
      <p:sp>
        <p:nvSpPr>
          <p:cNvPr id="226" name="AutoShape 19"/>
          <p:cNvSpPr>
            <a:spLocks noChangeArrowheads="1"/>
          </p:cNvSpPr>
          <p:nvPr/>
        </p:nvSpPr>
        <p:spPr bwMode="auto">
          <a:xfrm>
            <a:off x="1667347" y="3439494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Доссор</a:t>
            </a:r>
          </a:p>
        </p:txBody>
      </p:sp>
      <p:sp>
        <p:nvSpPr>
          <p:cNvPr id="228" name="AutoShape 19"/>
          <p:cNvSpPr>
            <a:spLocks noChangeArrowheads="1"/>
          </p:cNvSpPr>
          <p:nvPr/>
        </p:nvSpPr>
        <p:spPr bwMode="auto">
          <a:xfrm>
            <a:off x="1882841" y="4153881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Бейнеу</a:t>
            </a:r>
          </a:p>
        </p:txBody>
      </p:sp>
      <p:sp>
        <p:nvSpPr>
          <p:cNvPr id="230" name="AutoShape 19"/>
          <p:cNvSpPr>
            <a:spLocks noChangeArrowheads="1"/>
          </p:cNvSpPr>
          <p:nvPr/>
        </p:nvSpPr>
        <p:spPr bwMode="auto">
          <a:xfrm>
            <a:off x="561602" y="4438151"/>
            <a:ext cx="30297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Актау</a:t>
            </a:r>
          </a:p>
        </p:txBody>
      </p:sp>
      <p:sp>
        <p:nvSpPr>
          <p:cNvPr id="234" name="AutoShape 19"/>
          <p:cNvSpPr>
            <a:spLocks noChangeArrowheads="1"/>
          </p:cNvSpPr>
          <p:nvPr/>
        </p:nvSpPr>
        <p:spPr bwMode="auto">
          <a:xfrm>
            <a:off x="606854" y="4791945"/>
            <a:ext cx="4019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Жетыбай</a:t>
            </a:r>
          </a:p>
        </p:txBody>
      </p:sp>
      <p:sp>
        <p:nvSpPr>
          <p:cNvPr id="235" name="AutoShape 19"/>
          <p:cNvSpPr>
            <a:spLocks noChangeArrowheads="1"/>
          </p:cNvSpPr>
          <p:nvPr/>
        </p:nvSpPr>
        <p:spPr bwMode="auto">
          <a:xfrm>
            <a:off x="1198408" y="4838817"/>
            <a:ext cx="43477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Жанаозен</a:t>
            </a:r>
          </a:p>
        </p:txBody>
      </p:sp>
      <p:sp>
        <p:nvSpPr>
          <p:cNvPr id="236" name="AutoShape 19"/>
          <p:cNvSpPr>
            <a:spLocks noChangeArrowheads="1"/>
          </p:cNvSpPr>
          <p:nvPr/>
        </p:nvSpPr>
        <p:spPr bwMode="auto">
          <a:xfrm>
            <a:off x="1795834" y="4542308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Акжигит</a:t>
            </a:r>
          </a:p>
        </p:txBody>
      </p:sp>
      <p:sp>
        <p:nvSpPr>
          <p:cNvPr id="240" name="AutoShape 19"/>
          <p:cNvSpPr>
            <a:spLocks noChangeArrowheads="1"/>
          </p:cNvSpPr>
          <p:nvPr/>
        </p:nvSpPr>
        <p:spPr bwMode="auto">
          <a:xfrm>
            <a:off x="4254719" y="4507350"/>
            <a:ext cx="533962" cy="11603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Кызылорда</a:t>
            </a:r>
          </a:p>
        </p:txBody>
      </p:sp>
      <p:sp>
        <p:nvSpPr>
          <p:cNvPr id="241" name="AutoShape 19"/>
          <p:cNvSpPr>
            <a:spLocks noChangeArrowheads="1"/>
          </p:cNvSpPr>
          <p:nvPr/>
        </p:nvSpPr>
        <p:spPr bwMode="auto">
          <a:xfrm>
            <a:off x="4682212" y="5509091"/>
            <a:ext cx="490321" cy="96165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Шымкент</a:t>
            </a:r>
          </a:p>
        </p:txBody>
      </p:sp>
      <p:sp>
        <p:nvSpPr>
          <p:cNvPr id="249" name="AutoShape 19"/>
          <p:cNvSpPr>
            <a:spLocks noChangeArrowheads="1"/>
          </p:cNvSpPr>
          <p:nvPr/>
        </p:nvSpPr>
        <p:spPr bwMode="auto">
          <a:xfrm>
            <a:off x="5418743" y="5142838"/>
            <a:ext cx="312373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Тараз</a:t>
            </a:r>
          </a:p>
        </p:txBody>
      </p:sp>
      <p:sp>
        <p:nvSpPr>
          <p:cNvPr id="251" name="AutoShape 19"/>
          <p:cNvSpPr>
            <a:spLocks noChangeArrowheads="1"/>
          </p:cNvSpPr>
          <p:nvPr/>
        </p:nvSpPr>
        <p:spPr bwMode="auto">
          <a:xfrm>
            <a:off x="7177501" y="5034553"/>
            <a:ext cx="519939" cy="11058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Алматы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52" name="AutoShape 19"/>
          <p:cNvSpPr>
            <a:spLocks noChangeArrowheads="1"/>
          </p:cNvSpPr>
          <p:nvPr/>
        </p:nvSpPr>
        <p:spPr bwMode="auto">
          <a:xfrm>
            <a:off x="5683906" y="4556299"/>
            <a:ext cx="5533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Бурылбайтал</a:t>
            </a:r>
          </a:p>
        </p:txBody>
      </p:sp>
      <p:sp>
        <p:nvSpPr>
          <p:cNvPr id="253" name="AutoShape 19"/>
          <p:cNvSpPr>
            <a:spLocks noChangeArrowheads="1"/>
          </p:cNvSpPr>
          <p:nvPr/>
        </p:nvSpPr>
        <p:spPr bwMode="auto">
          <a:xfrm>
            <a:off x="6003925" y="3780512"/>
            <a:ext cx="38648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Балхаш</a:t>
            </a:r>
          </a:p>
        </p:txBody>
      </p:sp>
      <p:sp>
        <p:nvSpPr>
          <p:cNvPr id="254" name="AutoShape 19"/>
          <p:cNvSpPr>
            <a:spLocks noChangeArrowheads="1"/>
          </p:cNvSpPr>
          <p:nvPr/>
        </p:nvSpPr>
        <p:spPr bwMode="auto">
          <a:xfrm>
            <a:off x="7772374" y="4388979"/>
            <a:ext cx="33506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Хоргос</a:t>
            </a:r>
          </a:p>
        </p:txBody>
      </p:sp>
      <p:sp>
        <p:nvSpPr>
          <p:cNvPr id="255" name="AutoShape 19"/>
          <p:cNvSpPr>
            <a:spLocks noChangeArrowheads="1"/>
          </p:cNvSpPr>
          <p:nvPr/>
        </p:nvSpPr>
        <p:spPr bwMode="auto">
          <a:xfrm>
            <a:off x="6636411" y="4385473"/>
            <a:ext cx="617220" cy="107610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Талдыкорган</a:t>
            </a:r>
          </a:p>
        </p:txBody>
      </p:sp>
      <p:sp>
        <p:nvSpPr>
          <p:cNvPr id="256" name="AutoShape 19"/>
          <p:cNvSpPr>
            <a:spLocks noChangeArrowheads="1"/>
          </p:cNvSpPr>
          <p:nvPr/>
        </p:nvSpPr>
        <p:spPr bwMode="auto">
          <a:xfrm>
            <a:off x="6451709" y="4883792"/>
            <a:ext cx="346446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Кайнар</a:t>
            </a:r>
          </a:p>
        </p:txBody>
      </p:sp>
      <p:sp>
        <p:nvSpPr>
          <p:cNvPr id="257" name="AutoShape 19"/>
          <p:cNvSpPr>
            <a:spLocks noChangeArrowheads="1"/>
          </p:cNvSpPr>
          <p:nvPr/>
        </p:nvSpPr>
        <p:spPr bwMode="auto">
          <a:xfrm>
            <a:off x="7425524" y="3884798"/>
            <a:ext cx="362628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Ушарал</a:t>
            </a:r>
          </a:p>
        </p:txBody>
      </p:sp>
      <p:sp>
        <p:nvSpPr>
          <p:cNvPr id="258" name="AutoShape 19"/>
          <p:cNvSpPr>
            <a:spLocks noChangeArrowheads="1"/>
          </p:cNvSpPr>
          <p:nvPr/>
        </p:nvSpPr>
        <p:spPr bwMode="auto">
          <a:xfrm>
            <a:off x="8152361" y="4177097"/>
            <a:ext cx="33506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Достык</a:t>
            </a:r>
          </a:p>
        </p:txBody>
      </p:sp>
      <p:sp>
        <p:nvSpPr>
          <p:cNvPr id="259" name="AutoShape 19"/>
          <p:cNvSpPr>
            <a:spLocks noChangeArrowheads="1"/>
          </p:cNvSpPr>
          <p:nvPr/>
        </p:nvSpPr>
        <p:spPr bwMode="auto">
          <a:xfrm>
            <a:off x="7253630" y="3549482"/>
            <a:ext cx="44381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Таскескен</a:t>
            </a:r>
          </a:p>
        </p:txBody>
      </p:sp>
      <p:sp>
        <p:nvSpPr>
          <p:cNvPr id="260" name="AutoShape 19"/>
          <p:cNvSpPr>
            <a:spLocks noChangeArrowheads="1"/>
          </p:cNvSpPr>
          <p:nvPr/>
        </p:nvSpPr>
        <p:spPr bwMode="auto">
          <a:xfrm>
            <a:off x="8152361" y="3716898"/>
            <a:ext cx="29105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Бахты</a:t>
            </a:r>
          </a:p>
        </p:txBody>
      </p:sp>
      <p:sp>
        <p:nvSpPr>
          <p:cNvPr id="261" name="AutoShape 19"/>
          <p:cNvSpPr>
            <a:spLocks noChangeArrowheads="1"/>
          </p:cNvSpPr>
          <p:nvPr/>
        </p:nvSpPr>
        <p:spPr bwMode="auto">
          <a:xfrm>
            <a:off x="8412825" y="3055482"/>
            <a:ext cx="619459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Майкапшагай</a:t>
            </a:r>
          </a:p>
        </p:txBody>
      </p:sp>
      <p:sp>
        <p:nvSpPr>
          <p:cNvPr id="262" name="AutoShape 19"/>
          <p:cNvSpPr>
            <a:spLocks noChangeArrowheads="1"/>
          </p:cNvSpPr>
          <p:nvPr/>
        </p:nvSpPr>
        <p:spPr bwMode="auto">
          <a:xfrm>
            <a:off x="7952916" y="2771077"/>
            <a:ext cx="44381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Калбатау</a:t>
            </a:r>
          </a:p>
        </p:txBody>
      </p:sp>
      <p:sp>
        <p:nvSpPr>
          <p:cNvPr id="263" name="AutoShape 19"/>
          <p:cNvSpPr>
            <a:spLocks noChangeArrowheads="1"/>
          </p:cNvSpPr>
          <p:nvPr/>
        </p:nvSpPr>
        <p:spPr bwMode="auto">
          <a:xfrm>
            <a:off x="7645594" y="2465734"/>
            <a:ext cx="77254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Усть-Каменогорск</a:t>
            </a:r>
          </a:p>
        </p:txBody>
      </p:sp>
      <p:sp>
        <p:nvSpPr>
          <p:cNvPr id="264" name="AutoShape 19"/>
          <p:cNvSpPr>
            <a:spLocks noChangeArrowheads="1"/>
          </p:cNvSpPr>
          <p:nvPr/>
        </p:nvSpPr>
        <p:spPr bwMode="auto">
          <a:xfrm>
            <a:off x="7006684" y="2600358"/>
            <a:ext cx="38648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Семей</a:t>
            </a:r>
          </a:p>
        </p:txBody>
      </p:sp>
      <p:sp>
        <p:nvSpPr>
          <p:cNvPr id="265" name="AutoShape 19"/>
          <p:cNvSpPr>
            <a:spLocks noChangeArrowheads="1"/>
          </p:cNvSpPr>
          <p:nvPr/>
        </p:nvSpPr>
        <p:spPr bwMode="auto">
          <a:xfrm>
            <a:off x="6050842" y="2965760"/>
            <a:ext cx="4678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Караганда</a:t>
            </a:r>
          </a:p>
        </p:txBody>
      </p:sp>
      <p:sp>
        <p:nvSpPr>
          <p:cNvPr id="266" name="AutoShape 19"/>
          <p:cNvSpPr>
            <a:spLocks noChangeArrowheads="1"/>
          </p:cNvSpPr>
          <p:nvPr/>
        </p:nvSpPr>
        <p:spPr bwMode="auto">
          <a:xfrm>
            <a:off x="5355015" y="2819724"/>
            <a:ext cx="4678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Темиртау</a:t>
            </a:r>
          </a:p>
        </p:txBody>
      </p:sp>
      <p:sp>
        <p:nvSpPr>
          <p:cNvPr id="267" name="AutoShape 19"/>
          <p:cNvSpPr>
            <a:spLocks noChangeArrowheads="1"/>
          </p:cNvSpPr>
          <p:nvPr/>
        </p:nvSpPr>
        <p:spPr bwMode="auto">
          <a:xfrm>
            <a:off x="5681520" y="2458436"/>
            <a:ext cx="389079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Астана</a:t>
            </a:r>
          </a:p>
        </p:txBody>
      </p:sp>
      <p:sp>
        <p:nvSpPr>
          <p:cNvPr id="268" name="AutoShape 19"/>
          <p:cNvSpPr>
            <a:spLocks noChangeArrowheads="1"/>
          </p:cNvSpPr>
          <p:nvPr/>
        </p:nvSpPr>
        <p:spPr bwMode="auto">
          <a:xfrm>
            <a:off x="5326434" y="1879049"/>
            <a:ext cx="40468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Щучинск</a:t>
            </a:r>
          </a:p>
        </p:txBody>
      </p:sp>
      <p:sp>
        <p:nvSpPr>
          <p:cNvPr id="269" name="AutoShape 19"/>
          <p:cNvSpPr>
            <a:spLocks noChangeArrowheads="1"/>
          </p:cNvSpPr>
          <p:nvPr/>
        </p:nvSpPr>
        <p:spPr bwMode="auto">
          <a:xfrm>
            <a:off x="4572000" y="1708362"/>
            <a:ext cx="480525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Кокшетау</a:t>
            </a:r>
          </a:p>
        </p:txBody>
      </p:sp>
      <p:sp>
        <p:nvSpPr>
          <p:cNvPr id="270" name="AutoShape 19"/>
          <p:cNvSpPr>
            <a:spLocks noChangeArrowheads="1"/>
          </p:cNvSpPr>
          <p:nvPr/>
        </p:nvSpPr>
        <p:spPr bwMode="auto">
          <a:xfrm>
            <a:off x="4682212" y="2010537"/>
            <a:ext cx="380491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Зеренда</a:t>
            </a:r>
          </a:p>
        </p:txBody>
      </p:sp>
      <p:sp>
        <p:nvSpPr>
          <p:cNvPr id="271" name="AutoShape 19"/>
          <p:cNvSpPr>
            <a:spLocks noChangeArrowheads="1"/>
          </p:cNvSpPr>
          <p:nvPr/>
        </p:nvSpPr>
        <p:spPr bwMode="auto">
          <a:xfrm>
            <a:off x="5114948" y="1253968"/>
            <a:ext cx="644975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Петропавловск</a:t>
            </a:r>
          </a:p>
        </p:txBody>
      </p:sp>
      <p:sp>
        <p:nvSpPr>
          <p:cNvPr id="272" name="AutoShape 19"/>
          <p:cNvSpPr>
            <a:spLocks noChangeArrowheads="1"/>
          </p:cNvSpPr>
          <p:nvPr/>
        </p:nvSpPr>
        <p:spPr bwMode="auto">
          <a:xfrm>
            <a:off x="4000421" y="1733415"/>
            <a:ext cx="424516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/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Костанай</a:t>
            </a:r>
          </a:p>
        </p:txBody>
      </p:sp>
      <p:sp>
        <p:nvSpPr>
          <p:cNvPr id="275" name="AutoShape 19"/>
          <p:cNvSpPr>
            <a:spLocks noChangeArrowheads="1"/>
          </p:cNvSpPr>
          <p:nvPr/>
        </p:nvSpPr>
        <p:spPr bwMode="auto">
          <a:xfrm>
            <a:off x="6717273" y="2007883"/>
            <a:ext cx="4678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Павлодар</a:t>
            </a:r>
          </a:p>
        </p:txBody>
      </p:sp>
      <p:sp>
        <p:nvSpPr>
          <p:cNvPr id="26" name="Полилиния 25"/>
          <p:cNvSpPr/>
          <p:nvPr/>
        </p:nvSpPr>
        <p:spPr>
          <a:xfrm>
            <a:off x="1299990" y="4487537"/>
            <a:ext cx="183615" cy="84463"/>
          </a:xfrm>
          <a:custGeom>
            <a:avLst/>
            <a:gdLst>
              <a:gd name="connsiteX0" fmla="*/ 0 w 183615"/>
              <a:gd name="connsiteY0" fmla="*/ 84463 h 84463"/>
              <a:gd name="connsiteX1" fmla="*/ 183615 w 183615"/>
              <a:gd name="connsiteY1" fmla="*/ 0 h 84463"/>
              <a:gd name="connsiteX2" fmla="*/ 183615 w 183615"/>
              <a:gd name="connsiteY2" fmla="*/ 0 h 84463"/>
              <a:gd name="connsiteX3" fmla="*/ 183615 w 183615"/>
              <a:gd name="connsiteY3" fmla="*/ 0 h 8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615" h="84463">
                <a:moveTo>
                  <a:pt x="0" y="84463"/>
                </a:moveTo>
                <a:lnTo>
                  <a:pt x="183615" y="0"/>
                </a:lnTo>
                <a:lnTo>
                  <a:pt x="183615" y="0"/>
                </a:lnTo>
                <a:lnTo>
                  <a:pt x="183615" y="0"/>
                </a:ln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4" name="Полилиния 283"/>
          <p:cNvSpPr/>
          <p:nvPr/>
        </p:nvSpPr>
        <p:spPr>
          <a:xfrm>
            <a:off x="1298157" y="4485700"/>
            <a:ext cx="183615" cy="84463"/>
          </a:xfrm>
          <a:custGeom>
            <a:avLst/>
            <a:gdLst>
              <a:gd name="connsiteX0" fmla="*/ 0 w 183615"/>
              <a:gd name="connsiteY0" fmla="*/ 84463 h 84463"/>
              <a:gd name="connsiteX1" fmla="*/ 183615 w 183615"/>
              <a:gd name="connsiteY1" fmla="*/ 0 h 84463"/>
              <a:gd name="connsiteX2" fmla="*/ 183615 w 183615"/>
              <a:gd name="connsiteY2" fmla="*/ 0 h 84463"/>
              <a:gd name="connsiteX3" fmla="*/ 183615 w 183615"/>
              <a:gd name="connsiteY3" fmla="*/ 0 h 8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615" h="84463">
                <a:moveTo>
                  <a:pt x="0" y="84463"/>
                </a:moveTo>
                <a:lnTo>
                  <a:pt x="183615" y="0"/>
                </a:lnTo>
                <a:lnTo>
                  <a:pt x="183615" y="0"/>
                </a:lnTo>
                <a:lnTo>
                  <a:pt x="183615" y="0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3" name="Полилиния 272"/>
          <p:cNvSpPr/>
          <p:nvPr/>
        </p:nvSpPr>
        <p:spPr>
          <a:xfrm>
            <a:off x="5986087" y="3008342"/>
            <a:ext cx="462741" cy="911001"/>
          </a:xfrm>
          <a:custGeom>
            <a:avLst/>
            <a:gdLst>
              <a:gd name="connsiteX0" fmla="*/ 146 w 459045"/>
              <a:gd name="connsiteY0" fmla="*/ 0 h 826020"/>
              <a:gd name="connsiteX1" fmla="*/ 3545 w 459045"/>
              <a:gd name="connsiteY1" fmla="*/ 54388 h 826020"/>
              <a:gd name="connsiteX2" fmla="*/ 23940 w 459045"/>
              <a:gd name="connsiteY2" fmla="*/ 91780 h 826020"/>
              <a:gd name="connsiteX3" fmla="*/ 54534 w 459045"/>
              <a:gd name="connsiteY3" fmla="*/ 132571 h 826020"/>
              <a:gd name="connsiteX4" fmla="*/ 68131 w 459045"/>
              <a:gd name="connsiteY4" fmla="*/ 146168 h 826020"/>
              <a:gd name="connsiteX5" fmla="*/ 78328 w 459045"/>
              <a:gd name="connsiteY5" fmla="*/ 176762 h 826020"/>
              <a:gd name="connsiteX6" fmla="*/ 88526 w 459045"/>
              <a:gd name="connsiteY6" fmla="*/ 214154 h 826020"/>
              <a:gd name="connsiteX7" fmla="*/ 81728 w 459045"/>
              <a:gd name="connsiteY7" fmla="*/ 231150 h 826020"/>
              <a:gd name="connsiteX8" fmla="*/ 102123 w 459045"/>
              <a:gd name="connsiteY8" fmla="*/ 265142 h 826020"/>
              <a:gd name="connsiteX9" fmla="*/ 102123 w 459045"/>
              <a:gd name="connsiteY9" fmla="*/ 305933 h 826020"/>
              <a:gd name="connsiteX10" fmla="*/ 115720 w 459045"/>
              <a:gd name="connsiteY10" fmla="*/ 339926 h 826020"/>
              <a:gd name="connsiteX11" fmla="*/ 132717 w 459045"/>
              <a:gd name="connsiteY11" fmla="*/ 356922 h 826020"/>
              <a:gd name="connsiteX12" fmla="*/ 146314 w 459045"/>
              <a:gd name="connsiteY12" fmla="*/ 390915 h 826020"/>
              <a:gd name="connsiteX13" fmla="*/ 139515 w 459045"/>
              <a:gd name="connsiteY13" fmla="*/ 418109 h 826020"/>
              <a:gd name="connsiteX14" fmla="*/ 156511 w 459045"/>
              <a:gd name="connsiteY14" fmla="*/ 441904 h 826020"/>
              <a:gd name="connsiteX15" fmla="*/ 183705 w 459045"/>
              <a:gd name="connsiteY15" fmla="*/ 479296 h 826020"/>
              <a:gd name="connsiteX16" fmla="*/ 207500 w 459045"/>
              <a:gd name="connsiteY16" fmla="*/ 499691 h 826020"/>
              <a:gd name="connsiteX17" fmla="*/ 224496 w 459045"/>
              <a:gd name="connsiteY17" fmla="*/ 537083 h 826020"/>
              <a:gd name="connsiteX18" fmla="*/ 251690 w 459045"/>
              <a:gd name="connsiteY18" fmla="*/ 577874 h 826020"/>
              <a:gd name="connsiteX19" fmla="*/ 309478 w 459045"/>
              <a:gd name="connsiteY19" fmla="*/ 605068 h 826020"/>
              <a:gd name="connsiteX20" fmla="*/ 323075 w 459045"/>
              <a:gd name="connsiteY20" fmla="*/ 635661 h 826020"/>
              <a:gd name="connsiteX21" fmla="*/ 370664 w 459045"/>
              <a:gd name="connsiteY21" fmla="*/ 662855 h 826020"/>
              <a:gd name="connsiteX22" fmla="*/ 411456 w 459045"/>
              <a:gd name="connsiteY22" fmla="*/ 686650 h 826020"/>
              <a:gd name="connsiteX23" fmla="*/ 425053 w 459045"/>
              <a:gd name="connsiteY23" fmla="*/ 720643 h 826020"/>
              <a:gd name="connsiteX24" fmla="*/ 448847 w 459045"/>
              <a:gd name="connsiteY24" fmla="*/ 781829 h 826020"/>
              <a:gd name="connsiteX25" fmla="*/ 459045 w 459045"/>
              <a:gd name="connsiteY25" fmla="*/ 826020 h 826020"/>
              <a:gd name="connsiteX0" fmla="*/ 146 w 449285"/>
              <a:gd name="connsiteY0" fmla="*/ 0 h 866811"/>
              <a:gd name="connsiteX1" fmla="*/ 3545 w 449285"/>
              <a:gd name="connsiteY1" fmla="*/ 54388 h 866811"/>
              <a:gd name="connsiteX2" fmla="*/ 23940 w 449285"/>
              <a:gd name="connsiteY2" fmla="*/ 91780 h 866811"/>
              <a:gd name="connsiteX3" fmla="*/ 54534 w 449285"/>
              <a:gd name="connsiteY3" fmla="*/ 132571 h 866811"/>
              <a:gd name="connsiteX4" fmla="*/ 68131 w 449285"/>
              <a:gd name="connsiteY4" fmla="*/ 146168 h 866811"/>
              <a:gd name="connsiteX5" fmla="*/ 78328 w 449285"/>
              <a:gd name="connsiteY5" fmla="*/ 176762 h 866811"/>
              <a:gd name="connsiteX6" fmla="*/ 88526 w 449285"/>
              <a:gd name="connsiteY6" fmla="*/ 214154 h 866811"/>
              <a:gd name="connsiteX7" fmla="*/ 81728 w 449285"/>
              <a:gd name="connsiteY7" fmla="*/ 231150 h 866811"/>
              <a:gd name="connsiteX8" fmla="*/ 102123 w 449285"/>
              <a:gd name="connsiteY8" fmla="*/ 265142 h 866811"/>
              <a:gd name="connsiteX9" fmla="*/ 102123 w 449285"/>
              <a:gd name="connsiteY9" fmla="*/ 305933 h 866811"/>
              <a:gd name="connsiteX10" fmla="*/ 115720 w 449285"/>
              <a:gd name="connsiteY10" fmla="*/ 339926 h 866811"/>
              <a:gd name="connsiteX11" fmla="*/ 132717 w 449285"/>
              <a:gd name="connsiteY11" fmla="*/ 356922 h 866811"/>
              <a:gd name="connsiteX12" fmla="*/ 146314 w 449285"/>
              <a:gd name="connsiteY12" fmla="*/ 390915 h 866811"/>
              <a:gd name="connsiteX13" fmla="*/ 139515 w 449285"/>
              <a:gd name="connsiteY13" fmla="*/ 418109 h 866811"/>
              <a:gd name="connsiteX14" fmla="*/ 156511 w 449285"/>
              <a:gd name="connsiteY14" fmla="*/ 441904 h 866811"/>
              <a:gd name="connsiteX15" fmla="*/ 183705 w 449285"/>
              <a:gd name="connsiteY15" fmla="*/ 479296 h 866811"/>
              <a:gd name="connsiteX16" fmla="*/ 207500 w 449285"/>
              <a:gd name="connsiteY16" fmla="*/ 499691 h 866811"/>
              <a:gd name="connsiteX17" fmla="*/ 224496 w 449285"/>
              <a:gd name="connsiteY17" fmla="*/ 537083 h 866811"/>
              <a:gd name="connsiteX18" fmla="*/ 251690 w 449285"/>
              <a:gd name="connsiteY18" fmla="*/ 577874 h 866811"/>
              <a:gd name="connsiteX19" fmla="*/ 309478 w 449285"/>
              <a:gd name="connsiteY19" fmla="*/ 605068 h 866811"/>
              <a:gd name="connsiteX20" fmla="*/ 323075 w 449285"/>
              <a:gd name="connsiteY20" fmla="*/ 635661 h 866811"/>
              <a:gd name="connsiteX21" fmla="*/ 370664 w 449285"/>
              <a:gd name="connsiteY21" fmla="*/ 662855 h 866811"/>
              <a:gd name="connsiteX22" fmla="*/ 411456 w 449285"/>
              <a:gd name="connsiteY22" fmla="*/ 686650 h 866811"/>
              <a:gd name="connsiteX23" fmla="*/ 425053 w 449285"/>
              <a:gd name="connsiteY23" fmla="*/ 720643 h 866811"/>
              <a:gd name="connsiteX24" fmla="*/ 448847 w 449285"/>
              <a:gd name="connsiteY24" fmla="*/ 781829 h 866811"/>
              <a:gd name="connsiteX25" fmla="*/ 442049 w 449285"/>
              <a:gd name="connsiteY25" fmla="*/ 866811 h 866811"/>
              <a:gd name="connsiteX0" fmla="*/ 5 w 462741"/>
              <a:gd name="connsiteY0" fmla="*/ 0 h 911001"/>
              <a:gd name="connsiteX1" fmla="*/ 17001 w 462741"/>
              <a:gd name="connsiteY1" fmla="*/ 98578 h 911001"/>
              <a:gd name="connsiteX2" fmla="*/ 37396 w 462741"/>
              <a:gd name="connsiteY2" fmla="*/ 135970 h 911001"/>
              <a:gd name="connsiteX3" fmla="*/ 67990 w 462741"/>
              <a:gd name="connsiteY3" fmla="*/ 176761 h 911001"/>
              <a:gd name="connsiteX4" fmla="*/ 81587 w 462741"/>
              <a:gd name="connsiteY4" fmla="*/ 190358 h 911001"/>
              <a:gd name="connsiteX5" fmla="*/ 91784 w 462741"/>
              <a:gd name="connsiteY5" fmla="*/ 220952 h 911001"/>
              <a:gd name="connsiteX6" fmla="*/ 101982 w 462741"/>
              <a:gd name="connsiteY6" fmla="*/ 258344 h 911001"/>
              <a:gd name="connsiteX7" fmla="*/ 95184 w 462741"/>
              <a:gd name="connsiteY7" fmla="*/ 275340 h 911001"/>
              <a:gd name="connsiteX8" fmla="*/ 115579 w 462741"/>
              <a:gd name="connsiteY8" fmla="*/ 309332 h 911001"/>
              <a:gd name="connsiteX9" fmla="*/ 115579 w 462741"/>
              <a:gd name="connsiteY9" fmla="*/ 350123 h 911001"/>
              <a:gd name="connsiteX10" fmla="*/ 129176 w 462741"/>
              <a:gd name="connsiteY10" fmla="*/ 384116 h 911001"/>
              <a:gd name="connsiteX11" fmla="*/ 146173 w 462741"/>
              <a:gd name="connsiteY11" fmla="*/ 401112 h 911001"/>
              <a:gd name="connsiteX12" fmla="*/ 159770 w 462741"/>
              <a:gd name="connsiteY12" fmla="*/ 435105 h 911001"/>
              <a:gd name="connsiteX13" fmla="*/ 152971 w 462741"/>
              <a:gd name="connsiteY13" fmla="*/ 462299 h 911001"/>
              <a:gd name="connsiteX14" fmla="*/ 169967 w 462741"/>
              <a:gd name="connsiteY14" fmla="*/ 486094 h 911001"/>
              <a:gd name="connsiteX15" fmla="*/ 197161 w 462741"/>
              <a:gd name="connsiteY15" fmla="*/ 523486 h 911001"/>
              <a:gd name="connsiteX16" fmla="*/ 220956 w 462741"/>
              <a:gd name="connsiteY16" fmla="*/ 543881 h 911001"/>
              <a:gd name="connsiteX17" fmla="*/ 237952 w 462741"/>
              <a:gd name="connsiteY17" fmla="*/ 581273 h 911001"/>
              <a:gd name="connsiteX18" fmla="*/ 265146 w 462741"/>
              <a:gd name="connsiteY18" fmla="*/ 622064 h 911001"/>
              <a:gd name="connsiteX19" fmla="*/ 322934 w 462741"/>
              <a:gd name="connsiteY19" fmla="*/ 649258 h 911001"/>
              <a:gd name="connsiteX20" fmla="*/ 336531 w 462741"/>
              <a:gd name="connsiteY20" fmla="*/ 679851 h 911001"/>
              <a:gd name="connsiteX21" fmla="*/ 384120 w 462741"/>
              <a:gd name="connsiteY21" fmla="*/ 707045 h 911001"/>
              <a:gd name="connsiteX22" fmla="*/ 424912 w 462741"/>
              <a:gd name="connsiteY22" fmla="*/ 730840 h 911001"/>
              <a:gd name="connsiteX23" fmla="*/ 438509 w 462741"/>
              <a:gd name="connsiteY23" fmla="*/ 764833 h 911001"/>
              <a:gd name="connsiteX24" fmla="*/ 462303 w 462741"/>
              <a:gd name="connsiteY24" fmla="*/ 826019 h 911001"/>
              <a:gd name="connsiteX25" fmla="*/ 455505 w 462741"/>
              <a:gd name="connsiteY25" fmla="*/ 911001 h 91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62741" h="911001">
                <a:moveTo>
                  <a:pt x="5" y="0"/>
                </a:moveTo>
                <a:cubicBezTo>
                  <a:pt x="-279" y="19545"/>
                  <a:pt x="10769" y="75916"/>
                  <a:pt x="17001" y="98578"/>
                </a:cubicBezTo>
                <a:cubicBezTo>
                  <a:pt x="23233" y="121240"/>
                  <a:pt x="28898" y="122940"/>
                  <a:pt x="37396" y="135970"/>
                </a:cubicBezTo>
                <a:cubicBezTo>
                  <a:pt x="45894" y="149000"/>
                  <a:pt x="60625" y="167696"/>
                  <a:pt x="67990" y="176761"/>
                </a:cubicBezTo>
                <a:cubicBezTo>
                  <a:pt x="75355" y="185826"/>
                  <a:pt x="77621" y="182993"/>
                  <a:pt x="81587" y="190358"/>
                </a:cubicBezTo>
                <a:cubicBezTo>
                  <a:pt x="85553" y="197723"/>
                  <a:pt x="88385" y="209621"/>
                  <a:pt x="91784" y="220952"/>
                </a:cubicBezTo>
                <a:cubicBezTo>
                  <a:pt x="95183" y="232283"/>
                  <a:pt x="101415" y="249279"/>
                  <a:pt x="101982" y="258344"/>
                </a:cubicBezTo>
                <a:cubicBezTo>
                  <a:pt x="102549" y="267409"/>
                  <a:pt x="92918" y="266842"/>
                  <a:pt x="95184" y="275340"/>
                </a:cubicBezTo>
                <a:cubicBezTo>
                  <a:pt x="97450" y="283838"/>
                  <a:pt x="112180" y="296868"/>
                  <a:pt x="115579" y="309332"/>
                </a:cubicBezTo>
                <a:cubicBezTo>
                  <a:pt x="118978" y="321796"/>
                  <a:pt x="113313" y="337659"/>
                  <a:pt x="115579" y="350123"/>
                </a:cubicBezTo>
                <a:cubicBezTo>
                  <a:pt x="117845" y="362587"/>
                  <a:pt x="124077" y="375618"/>
                  <a:pt x="129176" y="384116"/>
                </a:cubicBezTo>
                <a:cubicBezTo>
                  <a:pt x="134275" y="392614"/>
                  <a:pt x="141074" y="392614"/>
                  <a:pt x="146173" y="401112"/>
                </a:cubicBezTo>
                <a:cubicBezTo>
                  <a:pt x="151272" y="409610"/>
                  <a:pt x="158637" y="424907"/>
                  <a:pt x="159770" y="435105"/>
                </a:cubicBezTo>
                <a:cubicBezTo>
                  <a:pt x="160903" y="445303"/>
                  <a:pt x="151272" y="453801"/>
                  <a:pt x="152971" y="462299"/>
                </a:cubicBezTo>
                <a:cubicBezTo>
                  <a:pt x="154670" y="470797"/>
                  <a:pt x="169967" y="486094"/>
                  <a:pt x="169967" y="486094"/>
                </a:cubicBezTo>
                <a:cubicBezTo>
                  <a:pt x="177332" y="496292"/>
                  <a:pt x="188663" y="513855"/>
                  <a:pt x="197161" y="523486"/>
                </a:cubicBezTo>
                <a:cubicBezTo>
                  <a:pt x="205659" y="533117"/>
                  <a:pt x="214158" y="534250"/>
                  <a:pt x="220956" y="543881"/>
                </a:cubicBezTo>
                <a:cubicBezTo>
                  <a:pt x="227754" y="553512"/>
                  <a:pt x="230587" y="568243"/>
                  <a:pt x="237952" y="581273"/>
                </a:cubicBezTo>
                <a:cubicBezTo>
                  <a:pt x="245317" y="594304"/>
                  <a:pt x="250982" y="610733"/>
                  <a:pt x="265146" y="622064"/>
                </a:cubicBezTo>
                <a:cubicBezTo>
                  <a:pt x="279310" y="633395"/>
                  <a:pt x="311037" y="639627"/>
                  <a:pt x="322934" y="649258"/>
                </a:cubicBezTo>
                <a:cubicBezTo>
                  <a:pt x="334831" y="658889"/>
                  <a:pt x="326333" y="670220"/>
                  <a:pt x="336531" y="679851"/>
                </a:cubicBezTo>
                <a:cubicBezTo>
                  <a:pt x="346729" y="689482"/>
                  <a:pt x="384120" y="707045"/>
                  <a:pt x="384120" y="707045"/>
                </a:cubicBezTo>
                <a:cubicBezTo>
                  <a:pt x="398850" y="715543"/>
                  <a:pt x="415847" y="721209"/>
                  <a:pt x="424912" y="730840"/>
                </a:cubicBezTo>
                <a:cubicBezTo>
                  <a:pt x="433977" y="740471"/>
                  <a:pt x="432277" y="748970"/>
                  <a:pt x="438509" y="764833"/>
                </a:cubicBezTo>
                <a:cubicBezTo>
                  <a:pt x="444741" y="780696"/>
                  <a:pt x="459470" y="801658"/>
                  <a:pt x="462303" y="826019"/>
                </a:cubicBezTo>
                <a:cubicBezTo>
                  <a:pt x="465136" y="850380"/>
                  <a:pt x="453238" y="897687"/>
                  <a:pt x="455505" y="911001"/>
                </a:cubicBezTo>
              </a:path>
            </a:pathLst>
          </a:cu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6" name="Полилиния 275"/>
          <p:cNvSpPr/>
          <p:nvPr/>
        </p:nvSpPr>
        <p:spPr>
          <a:xfrm>
            <a:off x="5995153" y="3043182"/>
            <a:ext cx="459045" cy="826020"/>
          </a:xfrm>
          <a:custGeom>
            <a:avLst/>
            <a:gdLst>
              <a:gd name="connsiteX0" fmla="*/ 146 w 459045"/>
              <a:gd name="connsiteY0" fmla="*/ 0 h 826020"/>
              <a:gd name="connsiteX1" fmla="*/ 3545 w 459045"/>
              <a:gd name="connsiteY1" fmla="*/ 54388 h 826020"/>
              <a:gd name="connsiteX2" fmla="*/ 23940 w 459045"/>
              <a:gd name="connsiteY2" fmla="*/ 91780 h 826020"/>
              <a:gd name="connsiteX3" fmla="*/ 54534 w 459045"/>
              <a:gd name="connsiteY3" fmla="*/ 132571 h 826020"/>
              <a:gd name="connsiteX4" fmla="*/ 68131 w 459045"/>
              <a:gd name="connsiteY4" fmla="*/ 146168 h 826020"/>
              <a:gd name="connsiteX5" fmla="*/ 78328 w 459045"/>
              <a:gd name="connsiteY5" fmla="*/ 176762 h 826020"/>
              <a:gd name="connsiteX6" fmla="*/ 88526 w 459045"/>
              <a:gd name="connsiteY6" fmla="*/ 214154 h 826020"/>
              <a:gd name="connsiteX7" fmla="*/ 81728 w 459045"/>
              <a:gd name="connsiteY7" fmla="*/ 231150 h 826020"/>
              <a:gd name="connsiteX8" fmla="*/ 102123 w 459045"/>
              <a:gd name="connsiteY8" fmla="*/ 265142 h 826020"/>
              <a:gd name="connsiteX9" fmla="*/ 102123 w 459045"/>
              <a:gd name="connsiteY9" fmla="*/ 305933 h 826020"/>
              <a:gd name="connsiteX10" fmla="*/ 115720 w 459045"/>
              <a:gd name="connsiteY10" fmla="*/ 339926 h 826020"/>
              <a:gd name="connsiteX11" fmla="*/ 132717 w 459045"/>
              <a:gd name="connsiteY11" fmla="*/ 356922 h 826020"/>
              <a:gd name="connsiteX12" fmla="*/ 146314 w 459045"/>
              <a:gd name="connsiteY12" fmla="*/ 390915 h 826020"/>
              <a:gd name="connsiteX13" fmla="*/ 139515 w 459045"/>
              <a:gd name="connsiteY13" fmla="*/ 418109 h 826020"/>
              <a:gd name="connsiteX14" fmla="*/ 156511 w 459045"/>
              <a:gd name="connsiteY14" fmla="*/ 441904 h 826020"/>
              <a:gd name="connsiteX15" fmla="*/ 183705 w 459045"/>
              <a:gd name="connsiteY15" fmla="*/ 479296 h 826020"/>
              <a:gd name="connsiteX16" fmla="*/ 207500 w 459045"/>
              <a:gd name="connsiteY16" fmla="*/ 499691 h 826020"/>
              <a:gd name="connsiteX17" fmla="*/ 224496 w 459045"/>
              <a:gd name="connsiteY17" fmla="*/ 537083 h 826020"/>
              <a:gd name="connsiteX18" fmla="*/ 251690 w 459045"/>
              <a:gd name="connsiteY18" fmla="*/ 577874 h 826020"/>
              <a:gd name="connsiteX19" fmla="*/ 309478 w 459045"/>
              <a:gd name="connsiteY19" fmla="*/ 605068 h 826020"/>
              <a:gd name="connsiteX20" fmla="*/ 323075 w 459045"/>
              <a:gd name="connsiteY20" fmla="*/ 635661 h 826020"/>
              <a:gd name="connsiteX21" fmla="*/ 370664 w 459045"/>
              <a:gd name="connsiteY21" fmla="*/ 662855 h 826020"/>
              <a:gd name="connsiteX22" fmla="*/ 411456 w 459045"/>
              <a:gd name="connsiteY22" fmla="*/ 686650 h 826020"/>
              <a:gd name="connsiteX23" fmla="*/ 425053 w 459045"/>
              <a:gd name="connsiteY23" fmla="*/ 720643 h 826020"/>
              <a:gd name="connsiteX24" fmla="*/ 448847 w 459045"/>
              <a:gd name="connsiteY24" fmla="*/ 781829 h 826020"/>
              <a:gd name="connsiteX25" fmla="*/ 459045 w 459045"/>
              <a:gd name="connsiteY25" fmla="*/ 826020 h 826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59045" h="826020">
                <a:moveTo>
                  <a:pt x="146" y="0"/>
                </a:moveTo>
                <a:cubicBezTo>
                  <a:pt x="-138" y="19545"/>
                  <a:pt x="-421" y="39091"/>
                  <a:pt x="3545" y="54388"/>
                </a:cubicBezTo>
                <a:cubicBezTo>
                  <a:pt x="7511" y="69685"/>
                  <a:pt x="15442" y="78750"/>
                  <a:pt x="23940" y="91780"/>
                </a:cubicBezTo>
                <a:cubicBezTo>
                  <a:pt x="32438" y="104810"/>
                  <a:pt x="47169" y="123506"/>
                  <a:pt x="54534" y="132571"/>
                </a:cubicBezTo>
                <a:cubicBezTo>
                  <a:pt x="61899" y="141636"/>
                  <a:pt x="64165" y="138803"/>
                  <a:pt x="68131" y="146168"/>
                </a:cubicBezTo>
                <a:cubicBezTo>
                  <a:pt x="72097" y="153533"/>
                  <a:pt x="74929" y="165431"/>
                  <a:pt x="78328" y="176762"/>
                </a:cubicBezTo>
                <a:cubicBezTo>
                  <a:pt x="81727" y="188093"/>
                  <a:pt x="87959" y="205089"/>
                  <a:pt x="88526" y="214154"/>
                </a:cubicBezTo>
                <a:cubicBezTo>
                  <a:pt x="89093" y="223219"/>
                  <a:pt x="79462" y="222652"/>
                  <a:pt x="81728" y="231150"/>
                </a:cubicBezTo>
                <a:cubicBezTo>
                  <a:pt x="83994" y="239648"/>
                  <a:pt x="98724" y="252678"/>
                  <a:pt x="102123" y="265142"/>
                </a:cubicBezTo>
                <a:cubicBezTo>
                  <a:pt x="105522" y="277606"/>
                  <a:pt x="99857" y="293469"/>
                  <a:pt x="102123" y="305933"/>
                </a:cubicBezTo>
                <a:cubicBezTo>
                  <a:pt x="104389" y="318397"/>
                  <a:pt x="110621" y="331428"/>
                  <a:pt x="115720" y="339926"/>
                </a:cubicBezTo>
                <a:cubicBezTo>
                  <a:pt x="120819" y="348424"/>
                  <a:pt x="127618" y="348424"/>
                  <a:pt x="132717" y="356922"/>
                </a:cubicBezTo>
                <a:cubicBezTo>
                  <a:pt x="137816" y="365420"/>
                  <a:pt x="145181" y="380717"/>
                  <a:pt x="146314" y="390915"/>
                </a:cubicBezTo>
                <a:cubicBezTo>
                  <a:pt x="147447" y="401113"/>
                  <a:pt x="137816" y="409611"/>
                  <a:pt x="139515" y="418109"/>
                </a:cubicBezTo>
                <a:cubicBezTo>
                  <a:pt x="141214" y="426607"/>
                  <a:pt x="156511" y="441904"/>
                  <a:pt x="156511" y="441904"/>
                </a:cubicBezTo>
                <a:cubicBezTo>
                  <a:pt x="163876" y="452102"/>
                  <a:pt x="175207" y="469665"/>
                  <a:pt x="183705" y="479296"/>
                </a:cubicBezTo>
                <a:cubicBezTo>
                  <a:pt x="192203" y="488927"/>
                  <a:pt x="200702" y="490060"/>
                  <a:pt x="207500" y="499691"/>
                </a:cubicBezTo>
                <a:cubicBezTo>
                  <a:pt x="214298" y="509322"/>
                  <a:pt x="217131" y="524053"/>
                  <a:pt x="224496" y="537083"/>
                </a:cubicBezTo>
                <a:cubicBezTo>
                  <a:pt x="231861" y="550114"/>
                  <a:pt x="237526" y="566543"/>
                  <a:pt x="251690" y="577874"/>
                </a:cubicBezTo>
                <a:cubicBezTo>
                  <a:pt x="265854" y="589205"/>
                  <a:pt x="297581" y="595437"/>
                  <a:pt x="309478" y="605068"/>
                </a:cubicBezTo>
                <a:cubicBezTo>
                  <a:pt x="321375" y="614699"/>
                  <a:pt x="312877" y="626030"/>
                  <a:pt x="323075" y="635661"/>
                </a:cubicBezTo>
                <a:cubicBezTo>
                  <a:pt x="333273" y="645292"/>
                  <a:pt x="370664" y="662855"/>
                  <a:pt x="370664" y="662855"/>
                </a:cubicBezTo>
                <a:cubicBezTo>
                  <a:pt x="385394" y="671353"/>
                  <a:pt x="402391" y="677019"/>
                  <a:pt x="411456" y="686650"/>
                </a:cubicBezTo>
                <a:cubicBezTo>
                  <a:pt x="420521" y="696281"/>
                  <a:pt x="418821" y="704780"/>
                  <a:pt x="425053" y="720643"/>
                </a:cubicBezTo>
                <a:cubicBezTo>
                  <a:pt x="431285" y="736506"/>
                  <a:pt x="443182" y="764266"/>
                  <a:pt x="448847" y="781829"/>
                </a:cubicBezTo>
                <a:cubicBezTo>
                  <a:pt x="454512" y="799392"/>
                  <a:pt x="456778" y="812706"/>
                  <a:pt x="459045" y="826020"/>
                </a:cubicBezTo>
              </a:path>
            </a:pathLst>
          </a:cu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7" name="Полилиния 276"/>
          <p:cNvSpPr/>
          <p:nvPr/>
        </p:nvSpPr>
        <p:spPr>
          <a:xfrm>
            <a:off x="5977368" y="3058778"/>
            <a:ext cx="459045" cy="826020"/>
          </a:xfrm>
          <a:custGeom>
            <a:avLst/>
            <a:gdLst>
              <a:gd name="connsiteX0" fmla="*/ 146 w 459045"/>
              <a:gd name="connsiteY0" fmla="*/ 0 h 826020"/>
              <a:gd name="connsiteX1" fmla="*/ 3545 w 459045"/>
              <a:gd name="connsiteY1" fmla="*/ 54388 h 826020"/>
              <a:gd name="connsiteX2" fmla="*/ 23940 w 459045"/>
              <a:gd name="connsiteY2" fmla="*/ 91780 h 826020"/>
              <a:gd name="connsiteX3" fmla="*/ 54534 w 459045"/>
              <a:gd name="connsiteY3" fmla="*/ 132571 h 826020"/>
              <a:gd name="connsiteX4" fmla="*/ 68131 w 459045"/>
              <a:gd name="connsiteY4" fmla="*/ 146168 h 826020"/>
              <a:gd name="connsiteX5" fmla="*/ 78328 w 459045"/>
              <a:gd name="connsiteY5" fmla="*/ 176762 h 826020"/>
              <a:gd name="connsiteX6" fmla="*/ 88526 w 459045"/>
              <a:gd name="connsiteY6" fmla="*/ 214154 h 826020"/>
              <a:gd name="connsiteX7" fmla="*/ 81728 w 459045"/>
              <a:gd name="connsiteY7" fmla="*/ 231150 h 826020"/>
              <a:gd name="connsiteX8" fmla="*/ 102123 w 459045"/>
              <a:gd name="connsiteY8" fmla="*/ 265142 h 826020"/>
              <a:gd name="connsiteX9" fmla="*/ 102123 w 459045"/>
              <a:gd name="connsiteY9" fmla="*/ 305933 h 826020"/>
              <a:gd name="connsiteX10" fmla="*/ 115720 w 459045"/>
              <a:gd name="connsiteY10" fmla="*/ 339926 h 826020"/>
              <a:gd name="connsiteX11" fmla="*/ 132717 w 459045"/>
              <a:gd name="connsiteY11" fmla="*/ 356922 h 826020"/>
              <a:gd name="connsiteX12" fmla="*/ 146314 w 459045"/>
              <a:gd name="connsiteY12" fmla="*/ 390915 h 826020"/>
              <a:gd name="connsiteX13" fmla="*/ 139515 w 459045"/>
              <a:gd name="connsiteY13" fmla="*/ 418109 h 826020"/>
              <a:gd name="connsiteX14" fmla="*/ 156511 w 459045"/>
              <a:gd name="connsiteY14" fmla="*/ 441904 h 826020"/>
              <a:gd name="connsiteX15" fmla="*/ 183705 w 459045"/>
              <a:gd name="connsiteY15" fmla="*/ 479296 h 826020"/>
              <a:gd name="connsiteX16" fmla="*/ 207500 w 459045"/>
              <a:gd name="connsiteY16" fmla="*/ 499691 h 826020"/>
              <a:gd name="connsiteX17" fmla="*/ 224496 w 459045"/>
              <a:gd name="connsiteY17" fmla="*/ 537083 h 826020"/>
              <a:gd name="connsiteX18" fmla="*/ 251690 w 459045"/>
              <a:gd name="connsiteY18" fmla="*/ 577874 h 826020"/>
              <a:gd name="connsiteX19" fmla="*/ 309478 w 459045"/>
              <a:gd name="connsiteY19" fmla="*/ 605068 h 826020"/>
              <a:gd name="connsiteX20" fmla="*/ 323075 w 459045"/>
              <a:gd name="connsiteY20" fmla="*/ 635661 h 826020"/>
              <a:gd name="connsiteX21" fmla="*/ 370664 w 459045"/>
              <a:gd name="connsiteY21" fmla="*/ 662855 h 826020"/>
              <a:gd name="connsiteX22" fmla="*/ 411456 w 459045"/>
              <a:gd name="connsiteY22" fmla="*/ 686650 h 826020"/>
              <a:gd name="connsiteX23" fmla="*/ 425053 w 459045"/>
              <a:gd name="connsiteY23" fmla="*/ 720643 h 826020"/>
              <a:gd name="connsiteX24" fmla="*/ 448847 w 459045"/>
              <a:gd name="connsiteY24" fmla="*/ 781829 h 826020"/>
              <a:gd name="connsiteX25" fmla="*/ 459045 w 459045"/>
              <a:gd name="connsiteY25" fmla="*/ 826020 h 826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59045" h="826020">
                <a:moveTo>
                  <a:pt x="146" y="0"/>
                </a:moveTo>
                <a:cubicBezTo>
                  <a:pt x="-138" y="19545"/>
                  <a:pt x="-421" y="39091"/>
                  <a:pt x="3545" y="54388"/>
                </a:cubicBezTo>
                <a:cubicBezTo>
                  <a:pt x="7511" y="69685"/>
                  <a:pt x="15442" y="78750"/>
                  <a:pt x="23940" y="91780"/>
                </a:cubicBezTo>
                <a:cubicBezTo>
                  <a:pt x="32438" y="104810"/>
                  <a:pt x="47169" y="123506"/>
                  <a:pt x="54534" y="132571"/>
                </a:cubicBezTo>
                <a:cubicBezTo>
                  <a:pt x="61899" y="141636"/>
                  <a:pt x="64165" y="138803"/>
                  <a:pt x="68131" y="146168"/>
                </a:cubicBezTo>
                <a:cubicBezTo>
                  <a:pt x="72097" y="153533"/>
                  <a:pt x="74929" y="165431"/>
                  <a:pt x="78328" y="176762"/>
                </a:cubicBezTo>
                <a:cubicBezTo>
                  <a:pt x="81727" y="188093"/>
                  <a:pt x="87959" y="205089"/>
                  <a:pt x="88526" y="214154"/>
                </a:cubicBezTo>
                <a:cubicBezTo>
                  <a:pt x="89093" y="223219"/>
                  <a:pt x="79462" y="222652"/>
                  <a:pt x="81728" y="231150"/>
                </a:cubicBezTo>
                <a:cubicBezTo>
                  <a:pt x="83994" y="239648"/>
                  <a:pt x="98724" y="252678"/>
                  <a:pt x="102123" y="265142"/>
                </a:cubicBezTo>
                <a:cubicBezTo>
                  <a:pt x="105522" y="277606"/>
                  <a:pt x="99857" y="293469"/>
                  <a:pt x="102123" y="305933"/>
                </a:cubicBezTo>
                <a:cubicBezTo>
                  <a:pt x="104389" y="318397"/>
                  <a:pt x="110621" y="331428"/>
                  <a:pt x="115720" y="339926"/>
                </a:cubicBezTo>
                <a:cubicBezTo>
                  <a:pt x="120819" y="348424"/>
                  <a:pt x="127618" y="348424"/>
                  <a:pt x="132717" y="356922"/>
                </a:cubicBezTo>
                <a:cubicBezTo>
                  <a:pt x="137816" y="365420"/>
                  <a:pt x="145181" y="380717"/>
                  <a:pt x="146314" y="390915"/>
                </a:cubicBezTo>
                <a:cubicBezTo>
                  <a:pt x="147447" y="401113"/>
                  <a:pt x="137816" y="409611"/>
                  <a:pt x="139515" y="418109"/>
                </a:cubicBezTo>
                <a:cubicBezTo>
                  <a:pt x="141214" y="426607"/>
                  <a:pt x="156511" y="441904"/>
                  <a:pt x="156511" y="441904"/>
                </a:cubicBezTo>
                <a:cubicBezTo>
                  <a:pt x="163876" y="452102"/>
                  <a:pt x="175207" y="469665"/>
                  <a:pt x="183705" y="479296"/>
                </a:cubicBezTo>
                <a:cubicBezTo>
                  <a:pt x="192203" y="488927"/>
                  <a:pt x="200702" y="490060"/>
                  <a:pt x="207500" y="499691"/>
                </a:cubicBezTo>
                <a:cubicBezTo>
                  <a:pt x="214298" y="509322"/>
                  <a:pt x="217131" y="524053"/>
                  <a:pt x="224496" y="537083"/>
                </a:cubicBezTo>
                <a:cubicBezTo>
                  <a:pt x="231861" y="550114"/>
                  <a:pt x="237526" y="566543"/>
                  <a:pt x="251690" y="577874"/>
                </a:cubicBezTo>
                <a:cubicBezTo>
                  <a:pt x="265854" y="589205"/>
                  <a:pt x="297581" y="595437"/>
                  <a:pt x="309478" y="605068"/>
                </a:cubicBezTo>
                <a:cubicBezTo>
                  <a:pt x="321375" y="614699"/>
                  <a:pt x="312877" y="626030"/>
                  <a:pt x="323075" y="635661"/>
                </a:cubicBezTo>
                <a:cubicBezTo>
                  <a:pt x="333273" y="645292"/>
                  <a:pt x="370664" y="662855"/>
                  <a:pt x="370664" y="662855"/>
                </a:cubicBezTo>
                <a:cubicBezTo>
                  <a:pt x="385394" y="671353"/>
                  <a:pt x="402391" y="677019"/>
                  <a:pt x="411456" y="686650"/>
                </a:cubicBezTo>
                <a:cubicBezTo>
                  <a:pt x="420521" y="696281"/>
                  <a:pt x="418821" y="704780"/>
                  <a:pt x="425053" y="720643"/>
                </a:cubicBezTo>
                <a:cubicBezTo>
                  <a:pt x="431285" y="736506"/>
                  <a:pt x="443182" y="764266"/>
                  <a:pt x="448847" y="781829"/>
                </a:cubicBezTo>
                <a:cubicBezTo>
                  <a:pt x="454512" y="799392"/>
                  <a:pt x="456778" y="812706"/>
                  <a:pt x="459045" y="826020"/>
                </a:cubicBezTo>
              </a:path>
            </a:pathLst>
          </a:cu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8" name="Полилиния 277"/>
          <p:cNvSpPr/>
          <p:nvPr/>
        </p:nvSpPr>
        <p:spPr>
          <a:xfrm>
            <a:off x="6020101" y="3034627"/>
            <a:ext cx="459045" cy="826020"/>
          </a:xfrm>
          <a:custGeom>
            <a:avLst/>
            <a:gdLst>
              <a:gd name="connsiteX0" fmla="*/ 146 w 459045"/>
              <a:gd name="connsiteY0" fmla="*/ 0 h 826020"/>
              <a:gd name="connsiteX1" fmla="*/ 3545 w 459045"/>
              <a:gd name="connsiteY1" fmla="*/ 54388 h 826020"/>
              <a:gd name="connsiteX2" fmla="*/ 23940 w 459045"/>
              <a:gd name="connsiteY2" fmla="*/ 91780 h 826020"/>
              <a:gd name="connsiteX3" fmla="*/ 54534 w 459045"/>
              <a:gd name="connsiteY3" fmla="*/ 132571 h 826020"/>
              <a:gd name="connsiteX4" fmla="*/ 68131 w 459045"/>
              <a:gd name="connsiteY4" fmla="*/ 146168 h 826020"/>
              <a:gd name="connsiteX5" fmla="*/ 78328 w 459045"/>
              <a:gd name="connsiteY5" fmla="*/ 176762 h 826020"/>
              <a:gd name="connsiteX6" fmla="*/ 88526 w 459045"/>
              <a:gd name="connsiteY6" fmla="*/ 214154 h 826020"/>
              <a:gd name="connsiteX7" fmla="*/ 81728 w 459045"/>
              <a:gd name="connsiteY7" fmla="*/ 231150 h 826020"/>
              <a:gd name="connsiteX8" fmla="*/ 102123 w 459045"/>
              <a:gd name="connsiteY8" fmla="*/ 265142 h 826020"/>
              <a:gd name="connsiteX9" fmla="*/ 102123 w 459045"/>
              <a:gd name="connsiteY9" fmla="*/ 305933 h 826020"/>
              <a:gd name="connsiteX10" fmla="*/ 115720 w 459045"/>
              <a:gd name="connsiteY10" fmla="*/ 339926 h 826020"/>
              <a:gd name="connsiteX11" fmla="*/ 132717 w 459045"/>
              <a:gd name="connsiteY11" fmla="*/ 356922 h 826020"/>
              <a:gd name="connsiteX12" fmla="*/ 146314 w 459045"/>
              <a:gd name="connsiteY12" fmla="*/ 390915 h 826020"/>
              <a:gd name="connsiteX13" fmla="*/ 139515 w 459045"/>
              <a:gd name="connsiteY13" fmla="*/ 418109 h 826020"/>
              <a:gd name="connsiteX14" fmla="*/ 156511 w 459045"/>
              <a:gd name="connsiteY14" fmla="*/ 441904 h 826020"/>
              <a:gd name="connsiteX15" fmla="*/ 183705 w 459045"/>
              <a:gd name="connsiteY15" fmla="*/ 479296 h 826020"/>
              <a:gd name="connsiteX16" fmla="*/ 207500 w 459045"/>
              <a:gd name="connsiteY16" fmla="*/ 499691 h 826020"/>
              <a:gd name="connsiteX17" fmla="*/ 224496 w 459045"/>
              <a:gd name="connsiteY17" fmla="*/ 537083 h 826020"/>
              <a:gd name="connsiteX18" fmla="*/ 251690 w 459045"/>
              <a:gd name="connsiteY18" fmla="*/ 577874 h 826020"/>
              <a:gd name="connsiteX19" fmla="*/ 309478 w 459045"/>
              <a:gd name="connsiteY19" fmla="*/ 605068 h 826020"/>
              <a:gd name="connsiteX20" fmla="*/ 323075 w 459045"/>
              <a:gd name="connsiteY20" fmla="*/ 635661 h 826020"/>
              <a:gd name="connsiteX21" fmla="*/ 370664 w 459045"/>
              <a:gd name="connsiteY21" fmla="*/ 662855 h 826020"/>
              <a:gd name="connsiteX22" fmla="*/ 411456 w 459045"/>
              <a:gd name="connsiteY22" fmla="*/ 686650 h 826020"/>
              <a:gd name="connsiteX23" fmla="*/ 425053 w 459045"/>
              <a:gd name="connsiteY23" fmla="*/ 720643 h 826020"/>
              <a:gd name="connsiteX24" fmla="*/ 448847 w 459045"/>
              <a:gd name="connsiteY24" fmla="*/ 781829 h 826020"/>
              <a:gd name="connsiteX25" fmla="*/ 459045 w 459045"/>
              <a:gd name="connsiteY25" fmla="*/ 826020 h 826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59045" h="826020">
                <a:moveTo>
                  <a:pt x="146" y="0"/>
                </a:moveTo>
                <a:cubicBezTo>
                  <a:pt x="-138" y="19545"/>
                  <a:pt x="-421" y="39091"/>
                  <a:pt x="3545" y="54388"/>
                </a:cubicBezTo>
                <a:cubicBezTo>
                  <a:pt x="7511" y="69685"/>
                  <a:pt x="15442" y="78750"/>
                  <a:pt x="23940" y="91780"/>
                </a:cubicBezTo>
                <a:cubicBezTo>
                  <a:pt x="32438" y="104810"/>
                  <a:pt x="47169" y="123506"/>
                  <a:pt x="54534" y="132571"/>
                </a:cubicBezTo>
                <a:cubicBezTo>
                  <a:pt x="61899" y="141636"/>
                  <a:pt x="64165" y="138803"/>
                  <a:pt x="68131" y="146168"/>
                </a:cubicBezTo>
                <a:cubicBezTo>
                  <a:pt x="72097" y="153533"/>
                  <a:pt x="74929" y="165431"/>
                  <a:pt x="78328" y="176762"/>
                </a:cubicBezTo>
                <a:cubicBezTo>
                  <a:pt x="81727" y="188093"/>
                  <a:pt x="87959" y="205089"/>
                  <a:pt x="88526" y="214154"/>
                </a:cubicBezTo>
                <a:cubicBezTo>
                  <a:pt x="89093" y="223219"/>
                  <a:pt x="79462" y="222652"/>
                  <a:pt x="81728" y="231150"/>
                </a:cubicBezTo>
                <a:cubicBezTo>
                  <a:pt x="83994" y="239648"/>
                  <a:pt x="98724" y="252678"/>
                  <a:pt x="102123" y="265142"/>
                </a:cubicBezTo>
                <a:cubicBezTo>
                  <a:pt x="105522" y="277606"/>
                  <a:pt x="99857" y="293469"/>
                  <a:pt x="102123" y="305933"/>
                </a:cubicBezTo>
                <a:cubicBezTo>
                  <a:pt x="104389" y="318397"/>
                  <a:pt x="110621" y="331428"/>
                  <a:pt x="115720" y="339926"/>
                </a:cubicBezTo>
                <a:cubicBezTo>
                  <a:pt x="120819" y="348424"/>
                  <a:pt x="127618" y="348424"/>
                  <a:pt x="132717" y="356922"/>
                </a:cubicBezTo>
                <a:cubicBezTo>
                  <a:pt x="137816" y="365420"/>
                  <a:pt x="145181" y="380717"/>
                  <a:pt x="146314" y="390915"/>
                </a:cubicBezTo>
                <a:cubicBezTo>
                  <a:pt x="147447" y="401113"/>
                  <a:pt x="137816" y="409611"/>
                  <a:pt x="139515" y="418109"/>
                </a:cubicBezTo>
                <a:cubicBezTo>
                  <a:pt x="141214" y="426607"/>
                  <a:pt x="156511" y="441904"/>
                  <a:pt x="156511" y="441904"/>
                </a:cubicBezTo>
                <a:cubicBezTo>
                  <a:pt x="163876" y="452102"/>
                  <a:pt x="175207" y="469665"/>
                  <a:pt x="183705" y="479296"/>
                </a:cubicBezTo>
                <a:cubicBezTo>
                  <a:pt x="192203" y="488927"/>
                  <a:pt x="200702" y="490060"/>
                  <a:pt x="207500" y="499691"/>
                </a:cubicBezTo>
                <a:cubicBezTo>
                  <a:pt x="214298" y="509322"/>
                  <a:pt x="217131" y="524053"/>
                  <a:pt x="224496" y="537083"/>
                </a:cubicBezTo>
                <a:cubicBezTo>
                  <a:pt x="231861" y="550114"/>
                  <a:pt x="237526" y="566543"/>
                  <a:pt x="251690" y="577874"/>
                </a:cubicBezTo>
                <a:cubicBezTo>
                  <a:pt x="265854" y="589205"/>
                  <a:pt x="297581" y="595437"/>
                  <a:pt x="309478" y="605068"/>
                </a:cubicBezTo>
                <a:cubicBezTo>
                  <a:pt x="321375" y="614699"/>
                  <a:pt x="312877" y="626030"/>
                  <a:pt x="323075" y="635661"/>
                </a:cubicBezTo>
                <a:cubicBezTo>
                  <a:pt x="333273" y="645292"/>
                  <a:pt x="370664" y="662855"/>
                  <a:pt x="370664" y="662855"/>
                </a:cubicBezTo>
                <a:cubicBezTo>
                  <a:pt x="385394" y="671353"/>
                  <a:pt x="402391" y="677019"/>
                  <a:pt x="411456" y="686650"/>
                </a:cubicBezTo>
                <a:cubicBezTo>
                  <a:pt x="420521" y="696281"/>
                  <a:pt x="418821" y="704780"/>
                  <a:pt x="425053" y="720643"/>
                </a:cubicBezTo>
                <a:cubicBezTo>
                  <a:pt x="431285" y="736506"/>
                  <a:pt x="443182" y="764266"/>
                  <a:pt x="448847" y="781829"/>
                </a:cubicBezTo>
                <a:cubicBezTo>
                  <a:pt x="454512" y="799392"/>
                  <a:pt x="456778" y="812706"/>
                  <a:pt x="459045" y="826020"/>
                </a:cubicBezTo>
              </a:path>
            </a:pathLst>
          </a:cu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2" name="Блок-схема: узел 231"/>
          <p:cNvSpPr/>
          <p:nvPr/>
        </p:nvSpPr>
        <p:spPr>
          <a:xfrm>
            <a:off x="6421714" y="3871845"/>
            <a:ext cx="74333" cy="7065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9" name="Полилиния 278"/>
          <p:cNvSpPr/>
          <p:nvPr/>
        </p:nvSpPr>
        <p:spPr>
          <a:xfrm>
            <a:off x="2534275" y="2562091"/>
            <a:ext cx="2983707" cy="1027599"/>
          </a:xfrm>
          <a:custGeom>
            <a:avLst/>
            <a:gdLst>
              <a:gd name="connsiteX0" fmla="*/ 3060983 w 3060983"/>
              <a:gd name="connsiteY0" fmla="*/ 12040 h 1027599"/>
              <a:gd name="connsiteX1" fmla="*/ 3003833 w 3060983"/>
              <a:gd name="connsiteY1" fmla="*/ 4897 h 1027599"/>
              <a:gd name="connsiteX2" fmla="*/ 2930015 w 3060983"/>
              <a:gd name="connsiteY2" fmla="*/ 76334 h 1027599"/>
              <a:gd name="connsiteX3" fmla="*/ 2920490 w 3060983"/>
              <a:gd name="connsiteY3" fmla="*/ 83478 h 1027599"/>
              <a:gd name="connsiteX4" fmla="*/ 2846671 w 3060983"/>
              <a:gd name="connsiteY4" fmla="*/ 121578 h 1027599"/>
              <a:gd name="connsiteX5" fmla="*/ 2822858 w 3060983"/>
              <a:gd name="connsiteY5" fmla="*/ 93003 h 1027599"/>
              <a:gd name="connsiteX6" fmla="*/ 2749040 w 3060983"/>
              <a:gd name="connsiteY6" fmla="*/ 50140 h 1027599"/>
              <a:gd name="connsiteX7" fmla="*/ 2694271 w 3060983"/>
              <a:gd name="connsiteY7" fmla="*/ 26328 h 1027599"/>
              <a:gd name="connsiteX8" fmla="*/ 2649027 w 3060983"/>
              <a:gd name="connsiteY8" fmla="*/ 26328 h 1027599"/>
              <a:gd name="connsiteX9" fmla="*/ 2618071 w 3060983"/>
              <a:gd name="connsiteY9" fmla="*/ 28709 h 1027599"/>
              <a:gd name="connsiteX10" fmla="*/ 2603783 w 3060983"/>
              <a:gd name="connsiteY10" fmla="*/ 28709 h 1027599"/>
              <a:gd name="connsiteX11" fmla="*/ 2582352 w 3060983"/>
              <a:gd name="connsiteY11" fmla="*/ 21565 h 1027599"/>
              <a:gd name="connsiteX12" fmla="*/ 2541871 w 3060983"/>
              <a:gd name="connsiteY12" fmla="*/ 35853 h 1027599"/>
              <a:gd name="connsiteX13" fmla="*/ 2515677 w 3060983"/>
              <a:gd name="connsiteY13" fmla="*/ 45378 h 1027599"/>
              <a:gd name="connsiteX14" fmla="*/ 2489483 w 3060983"/>
              <a:gd name="connsiteY14" fmla="*/ 45378 h 1027599"/>
              <a:gd name="connsiteX15" fmla="*/ 2460908 w 3060983"/>
              <a:gd name="connsiteY15" fmla="*/ 45378 h 1027599"/>
              <a:gd name="connsiteX16" fmla="*/ 2434715 w 3060983"/>
              <a:gd name="connsiteY16" fmla="*/ 45378 h 1027599"/>
              <a:gd name="connsiteX17" fmla="*/ 2420427 w 3060983"/>
              <a:gd name="connsiteY17" fmla="*/ 45378 h 1027599"/>
              <a:gd name="connsiteX18" fmla="*/ 2413283 w 3060983"/>
              <a:gd name="connsiteY18" fmla="*/ 45378 h 1027599"/>
              <a:gd name="connsiteX19" fmla="*/ 2384708 w 3060983"/>
              <a:gd name="connsiteY19" fmla="*/ 78715 h 1027599"/>
              <a:gd name="connsiteX20" fmla="*/ 2365658 w 3060983"/>
              <a:gd name="connsiteY20" fmla="*/ 114434 h 1027599"/>
              <a:gd name="connsiteX21" fmla="*/ 2325177 w 3060983"/>
              <a:gd name="connsiteY21" fmla="*/ 135865 h 1027599"/>
              <a:gd name="connsiteX22" fmla="*/ 2284696 w 3060983"/>
              <a:gd name="connsiteY22" fmla="*/ 190634 h 1027599"/>
              <a:gd name="connsiteX23" fmla="*/ 2256121 w 3060983"/>
              <a:gd name="connsiteY23" fmla="*/ 228734 h 1027599"/>
              <a:gd name="connsiteX24" fmla="*/ 2158490 w 3060983"/>
              <a:gd name="connsiteY24" fmla="*/ 312078 h 1027599"/>
              <a:gd name="connsiteX25" fmla="*/ 2106102 w 3060983"/>
              <a:gd name="connsiteY25" fmla="*/ 316840 h 1027599"/>
              <a:gd name="connsiteX26" fmla="*/ 2070383 w 3060983"/>
              <a:gd name="connsiteY26" fmla="*/ 309697 h 1027599"/>
              <a:gd name="connsiteX27" fmla="*/ 1982277 w 3060983"/>
              <a:gd name="connsiteY27" fmla="*/ 281122 h 1027599"/>
              <a:gd name="connsiteX28" fmla="*/ 1915602 w 3060983"/>
              <a:gd name="connsiteY28" fmla="*/ 281122 h 1027599"/>
              <a:gd name="connsiteX29" fmla="*/ 1860833 w 3060983"/>
              <a:gd name="connsiteY29" fmla="*/ 304934 h 1027599"/>
              <a:gd name="connsiteX30" fmla="*/ 1825115 w 3060983"/>
              <a:gd name="connsiteY30" fmla="*/ 319222 h 1027599"/>
              <a:gd name="connsiteX31" fmla="*/ 1798921 w 3060983"/>
              <a:gd name="connsiteY31" fmla="*/ 323984 h 1027599"/>
              <a:gd name="connsiteX32" fmla="*/ 1756058 w 3060983"/>
              <a:gd name="connsiteY32" fmla="*/ 331128 h 1027599"/>
              <a:gd name="connsiteX33" fmla="*/ 1715577 w 3060983"/>
              <a:gd name="connsiteY33" fmla="*/ 338272 h 1027599"/>
              <a:gd name="connsiteX34" fmla="*/ 1691765 w 3060983"/>
              <a:gd name="connsiteY34" fmla="*/ 357322 h 1027599"/>
              <a:gd name="connsiteX35" fmla="*/ 1675096 w 3060983"/>
              <a:gd name="connsiteY35" fmla="*/ 371609 h 1027599"/>
              <a:gd name="connsiteX36" fmla="*/ 1658427 w 3060983"/>
              <a:gd name="connsiteY36" fmla="*/ 376372 h 1027599"/>
              <a:gd name="connsiteX37" fmla="*/ 1615565 w 3060983"/>
              <a:gd name="connsiteY37" fmla="*/ 378753 h 1027599"/>
              <a:gd name="connsiteX38" fmla="*/ 1506027 w 3060983"/>
              <a:gd name="connsiteY38" fmla="*/ 414472 h 1027599"/>
              <a:gd name="connsiteX39" fmla="*/ 1484596 w 3060983"/>
              <a:gd name="connsiteY39" fmla="*/ 428759 h 1027599"/>
              <a:gd name="connsiteX40" fmla="*/ 1475071 w 3060983"/>
              <a:gd name="connsiteY40" fmla="*/ 443047 h 1027599"/>
              <a:gd name="connsiteX41" fmla="*/ 1401252 w 3060983"/>
              <a:gd name="connsiteY41" fmla="*/ 493053 h 1027599"/>
              <a:gd name="connsiteX42" fmla="*/ 1284571 w 3060983"/>
              <a:gd name="connsiteY42" fmla="*/ 559728 h 1027599"/>
              <a:gd name="connsiteX43" fmla="*/ 1227421 w 3060983"/>
              <a:gd name="connsiteY43" fmla="*/ 593065 h 1027599"/>
              <a:gd name="connsiteX44" fmla="*/ 1170271 w 3060983"/>
              <a:gd name="connsiteY44" fmla="*/ 621640 h 1027599"/>
              <a:gd name="connsiteX45" fmla="*/ 1129790 w 3060983"/>
              <a:gd name="connsiteY45" fmla="*/ 638309 h 1027599"/>
              <a:gd name="connsiteX46" fmla="*/ 1072640 w 3060983"/>
              <a:gd name="connsiteY46" fmla="*/ 674028 h 1027599"/>
              <a:gd name="connsiteX47" fmla="*/ 979771 w 3060983"/>
              <a:gd name="connsiteY47" fmla="*/ 740703 h 1027599"/>
              <a:gd name="connsiteX48" fmla="*/ 905952 w 3060983"/>
              <a:gd name="connsiteY48" fmla="*/ 788328 h 1027599"/>
              <a:gd name="connsiteX49" fmla="*/ 853565 w 3060983"/>
              <a:gd name="connsiteY49" fmla="*/ 809759 h 1027599"/>
              <a:gd name="connsiteX50" fmla="*/ 824990 w 3060983"/>
              <a:gd name="connsiteY50" fmla="*/ 809759 h 1027599"/>
              <a:gd name="connsiteX51" fmla="*/ 789271 w 3060983"/>
              <a:gd name="connsiteY51" fmla="*/ 812140 h 1027599"/>
              <a:gd name="connsiteX52" fmla="*/ 698783 w 3060983"/>
              <a:gd name="connsiteY52" fmla="*/ 883578 h 1027599"/>
              <a:gd name="connsiteX53" fmla="*/ 617821 w 3060983"/>
              <a:gd name="connsiteY53" fmla="*/ 938347 h 1027599"/>
              <a:gd name="connsiteX54" fmla="*/ 503521 w 3060983"/>
              <a:gd name="connsiteY54" fmla="*/ 1021690 h 1027599"/>
              <a:gd name="connsiteX55" fmla="*/ 484471 w 3060983"/>
              <a:gd name="connsiteY55" fmla="*/ 1014547 h 1027599"/>
              <a:gd name="connsiteX56" fmla="*/ 455896 w 3060983"/>
              <a:gd name="connsiteY56" fmla="*/ 964540 h 1027599"/>
              <a:gd name="connsiteX57" fmla="*/ 436846 w 3060983"/>
              <a:gd name="connsiteY57" fmla="*/ 955015 h 1027599"/>
              <a:gd name="connsiteX58" fmla="*/ 391602 w 3060983"/>
              <a:gd name="connsiteY58" fmla="*/ 921678 h 1027599"/>
              <a:gd name="connsiteX59" fmla="*/ 374933 w 3060983"/>
              <a:gd name="connsiteY59" fmla="*/ 890722 h 1027599"/>
              <a:gd name="connsiteX60" fmla="*/ 363027 w 3060983"/>
              <a:gd name="connsiteY60" fmla="*/ 843097 h 1027599"/>
              <a:gd name="connsiteX61" fmla="*/ 351121 w 3060983"/>
              <a:gd name="connsiteY61" fmla="*/ 821665 h 1027599"/>
              <a:gd name="connsiteX62" fmla="*/ 322546 w 3060983"/>
              <a:gd name="connsiteY62" fmla="*/ 807378 h 1027599"/>
              <a:gd name="connsiteX63" fmla="*/ 296352 w 3060983"/>
              <a:gd name="connsiteY63" fmla="*/ 783565 h 1027599"/>
              <a:gd name="connsiteX64" fmla="*/ 277302 w 3060983"/>
              <a:gd name="connsiteY64" fmla="*/ 778803 h 1027599"/>
              <a:gd name="connsiteX65" fmla="*/ 258252 w 3060983"/>
              <a:gd name="connsiteY65" fmla="*/ 735940 h 1027599"/>
              <a:gd name="connsiteX66" fmla="*/ 232058 w 3060983"/>
              <a:gd name="connsiteY66" fmla="*/ 712128 h 1027599"/>
              <a:gd name="connsiteX67" fmla="*/ 220152 w 3060983"/>
              <a:gd name="connsiteY67" fmla="*/ 669265 h 1027599"/>
              <a:gd name="connsiteX68" fmla="*/ 189196 w 3060983"/>
              <a:gd name="connsiteY68" fmla="*/ 635928 h 1027599"/>
              <a:gd name="connsiteX69" fmla="*/ 167765 w 3060983"/>
              <a:gd name="connsiteY69" fmla="*/ 597828 h 1027599"/>
              <a:gd name="connsiteX70" fmla="*/ 163002 w 3060983"/>
              <a:gd name="connsiteY70" fmla="*/ 583540 h 1027599"/>
              <a:gd name="connsiteX71" fmla="*/ 120140 w 3060983"/>
              <a:gd name="connsiteY71" fmla="*/ 519247 h 1027599"/>
              <a:gd name="connsiteX72" fmla="*/ 101090 w 3060983"/>
              <a:gd name="connsiteY72" fmla="*/ 483528 h 1027599"/>
              <a:gd name="connsiteX73" fmla="*/ 84421 w 3060983"/>
              <a:gd name="connsiteY73" fmla="*/ 438284 h 1027599"/>
              <a:gd name="connsiteX0" fmla="*/ 2973552 w 2973552"/>
              <a:gd name="connsiteY0" fmla="*/ 12040 h 1027599"/>
              <a:gd name="connsiteX1" fmla="*/ 2916402 w 2973552"/>
              <a:gd name="connsiteY1" fmla="*/ 4897 h 1027599"/>
              <a:gd name="connsiteX2" fmla="*/ 2842584 w 2973552"/>
              <a:gd name="connsiteY2" fmla="*/ 76334 h 1027599"/>
              <a:gd name="connsiteX3" fmla="*/ 2833059 w 2973552"/>
              <a:gd name="connsiteY3" fmla="*/ 83478 h 1027599"/>
              <a:gd name="connsiteX4" fmla="*/ 2759240 w 2973552"/>
              <a:gd name="connsiteY4" fmla="*/ 121578 h 1027599"/>
              <a:gd name="connsiteX5" fmla="*/ 2735427 w 2973552"/>
              <a:gd name="connsiteY5" fmla="*/ 93003 h 1027599"/>
              <a:gd name="connsiteX6" fmla="*/ 2661609 w 2973552"/>
              <a:gd name="connsiteY6" fmla="*/ 50140 h 1027599"/>
              <a:gd name="connsiteX7" fmla="*/ 2606840 w 2973552"/>
              <a:gd name="connsiteY7" fmla="*/ 26328 h 1027599"/>
              <a:gd name="connsiteX8" fmla="*/ 2561596 w 2973552"/>
              <a:gd name="connsiteY8" fmla="*/ 26328 h 1027599"/>
              <a:gd name="connsiteX9" fmla="*/ 2530640 w 2973552"/>
              <a:gd name="connsiteY9" fmla="*/ 28709 h 1027599"/>
              <a:gd name="connsiteX10" fmla="*/ 2516352 w 2973552"/>
              <a:gd name="connsiteY10" fmla="*/ 28709 h 1027599"/>
              <a:gd name="connsiteX11" fmla="*/ 2494921 w 2973552"/>
              <a:gd name="connsiteY11" fmla="*/ 21565 h 1027599"/>
              <a:gd name="connsiteX12" fmla="*/ 2454440 w 2973552"/>
              <a:gd name="connsiteY12" fmla="*/ 35853 h 1027599"/>
              <a:gd name="connsiteX13" fmla="*/ 2428246 w 2973552"/>
              <a:gd name="connsiteY13" fmla="*/ 45378 h 1027599"/>
              <a:gd name="connsiteX14" fmla="*/ 2402052 w 2973552"/>
              <a:gd name="connsiteY14" fmla="*/ 45378 h 1027599"/>
              <a:gd name="connsiteX15" fmla="*/ 2373477 w 2973552"/>
              <a:gd name="connsiteY15" fmla="*/ 45378 h 1027599"/>
              <a:gd name="connsiteX16" fmla="*/ 2347284 w 2973552"/>
              <a:gd name="connsiteY16" fmla="*/ 45378 h 1027599"/>
              <a:gd name="connsiteX17" fmla="*/ 2332996 w 2973552"/>
              <a:gd name="connsiteY17" fmla="*/ 45378 h 1027599"/>
              <a:gd name="connsiteX18" fmla="*/ 2325852 w 2973552"/>
              <a:gd name="connsiteY18" fmla="*/ 45378 h 1027599"/>
              <a:gd name="connsiteX19" fmla="*/ 2297277 w 2973552"/>
              <a:gd name="connsiteY19" fmla="*/ 78715 h 1027599"/>
              <a:gd name="connsiteX20" fmla="*/ 2278227 w 2973552"/>
              <a:gd name="connsiteY20" fmla="*/ 114434 h 1027599"/>
              <a:gd name="connsiteX21" fmla="*/ 2237746 w 2973552"/>
              <a:gd name="connsiteY21" fmla="*/ 135865 h 1027599"/>
              <a:gd name="connsiteX22" fmla="*/ 2197265 w 2973552"/>
              <a:gd name="connsiteY22" fmla="*/ 190634 h 1027599"/>
              <a:gd name="connsiteX23" fmla="*/ 2168690 w 2973552"/>
              <a:gd name="connsiteY23" fmla="*/ 228734 h 1027599"/>
              <a:gd name="connsiteX24" fmla="*/ 2071059 w 2973552"/>
              <a:gd name="connsiteY24" fmla="*/ 312078 h 1027599"/>
              <a:gd name="connsiteX25" fmla="*/ 2018671 w 2973552"/>
              <a:gd name="connsiteY25" fmla="*/ 316840 h 1027599"/>
              <a:gd name="connsiteX26" fmla="*/ 1982952 w 2973552"/>
              <a:gd name="connsiteY26" fmla="*/ 309697 h 1027599"/>
              <a:gd name="connsiteX27" fmla="*/ 1894846 w 2973552"/>
              <a:gd name="connsiteY27" fmla="*/ 281122 h 1027599"/>
              <a:gd name="connsiteX28" fmla="*/ 1828171 w 2973552"/>
              <a:gd name="connsiteY28" fmla="*/ 281122 h 1027599"/>
              <a:gd name="connsiteX29" fmla="*/ 1773402 w 2973552"/>
              <a:gd name="connsiteY29" fmla="*/ 304934 h 1027599"/>
              <a:gd name="connsiteX30" fmla="*/ 1737684 w 2973552"/>
              <a:gd name="connsiteY30" fmla="*/ 319222 h 1027599"/>
              <a:gd name="connsiteX31" fmla="*/ 1711490 w 2973552"/>
              <a:gd name="connsiteY31" fmla="*/ 323984 h 1027599"/>
              <a:gd name="connsiteX32" fmla="*/ 1668627 w 2973552"/>
              <a:gd name="connsiteY32" fmla="*/ 331128 h 1027599"/>
              <a:gd name="connsiteX33" fmla="*/ 1628146 w 2973552"/>
              <a:gd name="connsiteY33" fmla="*/ 338272 h 1027599"/>
              <a:gd name="connsiteX34" fmla="*/ 1604334 w 2973552"/>
              <a:gd name="connsiteY34" fmla="*/ 357322 h 1027599"/>
              <a:gd name="connsiteX35" fmla="*/ 1587665 w 2973552"/>
              <a:gd name="connsiteY35" fmla="*/ 371609 h 1027599"/>
              <a:gd name="connsiteX36" fmla="*/ 1570996 w 2973552"/>
              <a:gd name="connsiteY36" fmla="*/ 376372 h 1027599"/>
              <a:gd name="connsiteX37" fmla="*/ 1528134 w 2973552"/>
              <a:gd name="connsiteY37" fmla="*/ 378753 h 1027599"/>
              <a:gd name="connsiteX38" fmla="*/ 1418596 w 2973552"/>
              <a:gd name="connsiteY38" fmla="*/ 414472 h 1027599"/>
              <a:gd name="connsiteX39" fmla="*/ 1397165 w 2973552"/>
              <a:gd name="connsiteY39" fmla="*/ 428759 h 1027599"/>
              <a:gd name="connsiteX40" fmla="*/ 1387640 w 2973552"/>
              <a:gd name="connsiteY40" fmla="*/ 443047 h 1027599"/>
              <a:gd name="connsiteX41" fmla="*/ 1313821 w 2973552"/>
              <a:gd name="connsiteY41" fmla="*/ 493053 h 1027599"/>
              <a:gd name="connsiteX42" fmla="*/ 1197140 w 2973552"/>
              <a:gd name="connsiteY42" fmla="*/ 559728 h 1027599"/>
              <a:gd name="connsiteX43" fmla="*/ 1139990 w 2973552"/>
              <a:gd name="connsiteY43" fmla="*/ 593065 h 1027599"/>
              <a:gd name="connsiteX44" fmla="*/ 1082840 w 2973552"/>
              <a:gd name="connsiteY44" fmla="*/ 621640 h 1027599"/>
              <a:gd name="connsiteX45" fmla="*/ 1042359 w 2973552"/>
              <a:gd name="connsiteY45" fmla="*/ 638309 h 1027599"/>
              <a:gd name="connsiteX46" fmla="*/ 985209 w 2973552"/>
              <a:gd name="connsiteY46" fmla="*/ 674028 h 1027599"/>
              <a:gd name="connsiteX47" fmla="*/ 892340 w 2973552"/>
              <a:gd name="connsiteY47" fmla="*/ 740703 h 1027599"/>
              <a:gd name="connsiteX48" fmla="*/ 818521 w 2973552"/>
              <a:gd name="connsiteY48" fmla="*/ 788328 h 1027599"/>
              <a:gd name="connsiteX49" fmla="*/ 766134 w 2973552"/>
              <a:gd name="connsiteY49" fmla="*/ 809759 h 1027599"/>
              <a:gd name="connsiteX50" fmla="*/ 737559 w 2973552"/>
              <a:gd name="connsiteY50" fmla="*/ 809759 h 1027599"/>
              <a:gd name="connsiteX51" fmla="*/ 701840 w 2973552"/>
              <a:gd name="connsiteY51" fmla="*/ 812140 h 1027599"/>
              <a:gd name="connsiteX52" fmla="*/ 611352 w 2973552"/>
              <a:gd name="connsiteY52" fmla="*/ 883578 h 1027599"/>
              <a:gd name="connsiteX53" fmla="*/ 530390 w 2973552"/>
              <a:gd name="connsiteY53" fmla="*/ 938347 h 1027599"/>
              <a:gd name="connsiteX54" fmla="*/ 416090 w 2973552"/>
              <a:gd name="connsiteY54" fmla="*/ 1021690 h 1027599"/>
              <a:gd name="connsiteX55" fmla="*/ 397040 w 2973552"/>
              <a:gd name="connsiteY55" fmla="*/ 1014547 h 1027599"/>
              <a:gd name="connsiteX56" fmla="*/ 368465 w 2973552"/>
              <a:gd name="connsiteY56" fmla="*/ 964540 h 1027599"/>
              <a:gd name="connsiteX57" fmla="*/ 349415 w 2973552"/>
              <a:gd name="connsiteY57" fmla="*/ 955015 h 1027599"/>
              <a:gd name="connsiteX58" fmla="*/ 304171 w 2973552"/>
              <a:gd name="connsiteY58" fmla="*/ 921678 h 1027599"/>
              <a:gd name="connsiteX59" fmla="*/ 287502 w 2973552"/>
              <a:gd name="connsiteY59" fmla="*/ 890722 h 1027599"/>
              <a:gd name="connsiteX60" fmla="*/ 275596 w 2973552"/>
              <a:gd name="connsiteY60" fmla="*/ 843097 h 1027599"/>
              <a:gd name="connsiteX61" fmla="*/ 263690 w 2973552"/>
              <a:gd name="connsiteY61" fmla="*/ 821665 h 1027599"/>
              <a:gd name="connsiteX62" fmla="*/ 235115 w 2973552"/>
              <a:gd name="connsiteY62" fmla="*/ 807378 h 1027599"/>
              <a:gd name="connsiteX63" fmla="*/ 208921 w 2973552"/>
              <a:gd name="connsiteY63" fmla="*/ 783565 h 1027599"/>
              <a:gd name="connsiteX64" fmla="*/ 189871 w 2973552"/>
              <a:gd name="connsiteY64" fmla="*/ 778803 h 1027599"/>
              <a:gd name="connsiteX65" fmla="*/ 170821 w 2973552"/>
              <a:gd name="connsiteY65" fmla="*/ 735940 h 1027599"/>
              <a:gd name="connsiteX66" fmla="*/ 144627 w 2973552"/>
              <a:gd name="connsiteY66" fmla="*/ 712128 h 1027599"/>
              <a:gd name="connsiteX67" fmla="*/ 132721 w 2973552"/>
              <a:gd name="connsiteY67" fmla="*/ 669265 h 1027599"/>
              <a:gd name="connsiteX68" fmla="*/ 101765 w 2973552"/>
              <a:gd name="connsiteY68" fmla="*/ 635928 h 1027599"/>
              <a:gd name="connsiteX69" fmla="*/ 80334 w 2973552"/>
              <a:gd name="connsiteY69" fmla="*/ 597828 h 1027599"/>
              <a:gd name="connsiteX70" fmla="*/ 75571 w 2973552"/>
              <a:gd name="connsiteY70" fmla="*/ 583540 h 1027599"/>
              <a:gd name="connsiteX71" fmla="*/ 32709 w 2973552"/>
              <a:gd name="connsiteY71" fmla="*/ 519247 h 1027599"/>
              <a:gd name="connsiteX72" fmla="*/ 13659 w 2973552"/>
              <a:gd name="connsiteY72" fmla="*/ 483528 h 1027599"/>
              <a:gd name="connsiteX73" fmla="*/ 247021 w 2973552"/>
              <a:gd name="connsiteY73" fmla="*/ 400184 h 1027599"/>
              <a:gd name="connsiteX0" fmla="*/ 2973552 w 2973552"/>
              <a:gd name="connsiteY0" fmla="*/ 12040 h 1027599"/>
              <a:gd name="connsiteX1" fmla="*/ 2916402 w 2973552"/>
              <a:gd name="connsiteY1" fmla="*/ 4897 h 1027599"/>
              <a:gd name="connsiteX2" fmla="*/ 2842584 w 2973552"/>
              <a:gd name="connsiteY2" fmla="*/ 76334 h 1027599"/>
              <a:gd name="connsiteX3" fmla="*/ 2833059 w 2973552"/>
              <a:gd name="connsiteY3" fmla="*/ 83478 h 1027599"/>
              <a:gd name="connsiteX4" fmla="*/ 2759240 w 2973552"/>
              <a:gd name="connsiteY4" fmla="*/ 121578 h 1027599"/>
              <a:gd name="connsiteX5" fmla="*/ 2735427 w 2973552"/>
              <a:gd name="connsiteY5" fmla="*/ 93003 h 1027599"/>
              <a:gd name="connsiteX6" fmla="*/ 2661609 w 2973552"/>
              <a:gd name="connsiteY6" fmla="*/ 50140 h 1027599"/>
              <a:gd name="connsiteX7" fmla="*/ 2606840 w 2973552"/>
              <a:gd name="connsiteY7" fmla="*/ 26328 h 1027599"/>
              <a:gd name="connsiteX8" fmla="*/ 2561596 w 2973552"/>
              <a:gd name="connsiteY8" fmla="*/ 26328 h 1027599"/>
              <a:gd name="connsiteX9" fmla="*/ 2530640 w 2973552"/>
              <a:gd name="connsiteY9" fmla="*/ 28709 h 1027599"/>
              <a:gd name="connsiteX10" fmla="*/ 2516352 w 2973552"/>
              <a:gd name="connsiteY10" fmla="*/ 28709 h 1027599"/>
              <a:gd name="connsiteX11" fmla="*/ 2494921 w 2973552"/>
              <a:gd name="connsiteY11" fmla="*/ 21565 h 1027599"/>
              <a:gd name="connsiteX12" fmla="*/ 2454440 w 2973552"/>
              <a:gd name="connsiteY12" fmla="*/ 35853 h 1027599"/>
              <a:gd name="connsiteX13" fmla="*/ 2428246 w 2973552"/>
              <a:gd name="connsiteY13" fmla="*/ 45378 h 1027599"/>
              <a:gd name="connsiteX14" fmla="*/ 2402052 w 2973552"/>
              <a:gd name="connsiteY14" fmla="*/ 45378 h 1027599"/>
              <a:gd name="connsiteX15" fmla="*/ 2373477 w 2973552"/>
              <a:gd name="connsiteY15" fmla="*/ 45378 h 1027599"/>
              <a:gd name="connsiteX16" fmla="*/ 2347284 w 2973552"/>
              <a:gd name="connsiteY16" fmla="*/ 45378 h 1027599"/>
              <a:gd name="connsiteX17" fmla="*/ 2332996 w 2973552"/>
              <a:gd name="connsiteY17" fmla="*/ 45378 h 1027599"/>
              <a:gd name="connsiteX18" fmla="*/ 2325852 w 2973552"/>
              <a:gd name="connsiteY18" fmla="*/ 45378 h 1027599"/>
              <a:gd name="connsiteX19" fmla="*/ 2297277 w 2973552"/>
              <a:gd name="connsiteY19" fmla="*/ 78715 h 1027599"/>
              <a:gd name="connsiteX20" fmla="*/ 2278227 w 2973552"/>
              <a:gd name="connsiteY20" fmla="*/ 114434 h 1027599"/>
              <a:gd name="connsiteX21" fmla="*/ 2237746 w 2973552"/>
              <a:gd name="connsiteY21" fmla="*/ 135865 h 1027599"/>
              <a:gd name="connsiteX22" fmla="*/ 2197265 w 2973552"/>
              <a:gd name="connsiteY22" fmla="*/ 190634 h 1027599"/>
              <a:gd name="connsiteX23" fmla="*/ 2168690 w 2973552"/>
              <a:gd name="connsiteY23" fmla="*/ 228734 h 1027599"/>
              <a:gd name="connsiteX24" fmla="*/ 2071059 w 2973552"/>
              <a:gd name="connsiteY24" fmla="*/ 312078 h 1027599"/>
              <a:gd name="connsiteX25" fmla="*/ 2018671 w 2973552"/>
              <a:gd name="connsiteY25" fmla="*/ 316840 h 1027599"/>
              <a:gd name="connsiteX26" fmla="*/ 1982952 w 2973552"/>
              <a:gd name="connsiteY26" fmla="*/ 309697 h 1027599"/>
              <a:gd name="connsiteX27" fmla="*/ 1894846 w 2973552"/>
              <a:gd name="connsiteY27" fmla="*/ 281122 h 1027599"/>
              <a:gd name="connsiteX28" fmla="*/ 1828171 w 2973552"/>
              <a:gd name="connsiteY28" fmla="*/ 281122 h 1027599"/>
              <a:gd name="connsiteX29" fmla="*/ 1773402 w 2973552"/>
              <a:gd name="connsiteY29" fmla="*/ 304934 h 1027599"/>
              <a:gd name="connsiteX30" fmla="*/ 1737684 w 2973552"/>
              <a:gd name="connsiteY30" fmla="*/ 319222 h 1027599"/>
              <a:gd name="connsiteX31" fmla="*/ 1711490 w 2973552"/>
              <a:gd name="connsiteY31" fmla="*/ 323984 h 1027599"/>
              <a:gd name="connsiteX32" fmla="*/ 1668627 w 2973552"/>
              <a:gd name="connsiteY32" fmla="*/ 331128 h 1027599"/>
              <a:gd name="connsiteX33" fmla="*/ 1628146 w 2973552"/>
              <a:gd name="connsiteY33" fmla="*/ 338272 h 1027599"/>
              <a:gd name="connsiteX34" fmla="*/ 1604334 w 2973552"/>
              <a:gd name="connsiteY34" fmla="*/ 357322 h 1027599"/>
              <a:gd name="connsiteX35" fmla="*/ 1587665 w 2973552"/>
              <a:gd name="connsiteY35" fmla="*/ 371609 h 1027599"/>
              <a:gd name="connsiteX36" fmla="*/ 1570996 w 2973552"/>
              <a:gd name="connsiteY36" fmla="*/ 376372 h 1027599"/>
              <a:gd name="connsiteX37" fmla="*/ 1528134 w 2973552"/>
              <a:gd name="connsiteY37" fmla="*/ 378753 h 1027599"/>
              <a:gd name="connsiteX38" fmla="*/ 1418596 w 2973552"/>
              <a:gd name="connsiteY38" fmla="*/ 414472 h 1027599"/>
              <a:gd name="connsiteX39" fmla="*/ 1397165 w 2973552"/>
              <a:gd name="connsiteY39" fmla="*/ 428759 h 1027599"/>
              <a:gd name="connsiteX40" fmla="*/ 1387640 w 2973552"/>
              <a:gd name="connsiteY40" fmla="*/ 443047 h 1027599"/>
              <a:gd name="connsiteX41" fmla="*/ 1313821 w 2973552"/>
              <a:gd name="connsiteY41" fmla="*/ 493053 h 1027599"/>
              <a:gd name="connsiteX42" fmla="*/ 1197140 w 2973552"/>
              <a:gd name="connsiteY42" fmla="*/ 559728 h 1027599"/>
              <a:gd name="connsiteX43" fmla="*/ 1139990 w 2973552"/>
              <a:gd name="connsiteY43" fmla="*/ 593065 h 1027599"/>
              <a:gd name="connsiteX44" fmla="*/ 1082840 w 2973552"/>
              <a:gd name="connsiteY44" fmla="*/ 621640 h 1027599"/>
              <a:gd name="connsiteX45" fmla="*/ 1042359 w 2973552"/>
              <a:gd name="connsiteY45" fmla="*/ 638309 h 1027599"/>
              <a:gd name="connsiteX46" fmla="*/ 985209 w 2973552"/>
              <a:gd name="connsiteY46" fmla="*/ 674028 h 1027599"/>
              <a:gd name="connsiteX47" fmla="*/ 892340 w 2973552"/>
              <a:gd name="connsiteY47" fmla="*/ 740703 h 1027599"/>
              <a:gd name="connsiteX48" fmla="*/ 818521 w 2973552"/>
              <a:gd name="connsiteY48" fmla="*/ 788328 h 1027599"/>
              <a:gd name="connsiteX49" fmla="*/ 766134 w 2973552"/>
              <a:gd name="connsiteY49" fmla="*/ 809759 h 1027599"/>
              <a:gd name="connsiteX50" fmla="*/ 737559 w 2973552"/>
              <a:gd name="connsiteY50" fmla="*/ 809759 h 1027599"/>
              <a:gd name="connsiteX51" fmla="*/ 701840 w 2973552"/>
              <a:gd name="connsiteY51" fmla="*/ 812140 h 1027599"/>
              <a:gd name="connsiteX52" fmla="*/ 611352 w 2973552"/>
              <a:gd name="connsiteY52" fmla="*/ 883578 h 1027599"/>
              <a:gd name="connsiteX53" fmla="*/ 530390 w 2973552"/>
              <a:gd name="connsiteY53" fmla="*/ 938347 h 1027599"/>
              <a:gd name="connsiteX54" fmla="*/ 416090 w 2973552"/>
              <a:gd name="connsiteY54" fmla="*/ 1021690 h 1027599"/>
              <a:gd name="connsiteX55" fmla="*/ 397040 w 2973552"/>
              <a:gd name="connsiteY55" fmla="*/ 1014547 h 1027599"/>
              <a:gd name="connsiteX56" fmla="*/ 368465 w 2973552"/>
              <a:gd name="connsiteY56" fmla="*/ 964540 h 1027599"/>
              <a:gd name="connsiteX57" fmla="*/ 349415 w 2973552"/>
              <a:gd name="connsiteY57" fmla="*/ 955015 h 1027599"/>
              <a:gd name="connsiteX58" fmla="*/ 304171 w 2973552"/>
              <a:gd name="connsiteY58" fmla="*/ 921678 h 1027599"/>
              <a:gd name="connsiteX59" fmla="*/ 287502 w 2973552"/>
              <a:gd name="connsiteY59" fmla="*/ 890722 h 1027599"/>
              <a:gd name="connsiteX60" fmla="*/ 275596 w 2973552"/>
              <a:gd name="connsiteY60" fmla="*/ 843097 h 1027599"/>
              <a:gd name="connsiteX61" fmla="*/ 263690 w 2973552"/>
              <a:gd name="connsiteY61" fmla="*/ 821665 h 1027599"/>
              <a:gd name="connsiteX62" fmla="*/ 235115 w 2973552"/>
              <a:gd name="connsiteY62" fmla="*/ 807378 h 1027599"/>
              <a:gd name="connsiteX63" fmla="*/ 208921 w 2973552"/>
              <a:gd name="connsiteY63" fmla="*/ 783565 h 1027599"/>
              <a:gd name="connsiteX64" fmla="*/ 189871 w 2973552"/>
              <a:gd name="connsiteY64" fmla="*/ 778803 h 1027599"/>
              <a:gd name="connsiteX65" fmla="*/ 170821 w 2973552"/>
              <a:gd name="connsiteY65" fmla="*/ 735940 h 1027599"/>
              <a:gd name="connsiteX66" fmla="*/ 144627 w 2973552"/>
              <a:gd name="connsiteY66" fmla="*/ 712128 h 1027599"/>
              <a:gd name="connsiteX67" fmla="*/ 132721 w 2973552"/>
              <a:gd name="connsiteY67" fmla="*/ 669265 h 1027599"/>
              <a:gd name="connsiteX68" fmla="*/ 101765 w 2973552"/>
              <a:gd name="connsiteY68" fmla="*/ 635928 h 1027599"/>
              <a:gd name="connsiteX69" fmla="*/ 80334 w 2973552"/>
              <a:gd name="connsiteY69" fmla="*/ 597828 h 1027599"/>
              <a:gd name="connsiteX70" fmla="*/ 75571 w 2973552"/>
              <a:gd name="connsiteY70" fmla="*/ 583540 h 1027599"/>
              <a:gd name="connsiteX71" fmla="*/ 32709 w 2973552"/>
              <a:gd name="connsiteY71" fmla="*/ 519247 h 1027599"/>
              <a:gd name="connsiteX72" fmla="*/ 13659 w 2973552"/>
              <a:gd name="connsiteY72" fmla="*/ 483528 h 1027599"/>
              <a:gd name="connsiteX73" fmla="*/ 247021 w 2973552"/>
              <a:gd name="connsiteY73" fmla="*/ 400184 h 1027599"/>
              <a:gd name="connsiteX74" fmla="*/ 244639 w 2973552"/>
              <a:gd name="connsiteY74" fmla="*/ 397803 h 1027599"/>
              <a:gd name="connsiteX0" fmla="*/ 2973552 w 2973552"/>
              <a:gd name="connsiteY0" fmla="*/ 12040 h 1027599"/>
              <a:gd name="connsiteX1" fmla="*/ 2916402 w 2973552"/>
              <a:gd name="connsiteY1" fmla="*/ 4897 h 1027599"/>
              <a:gd name="connsiteX2" fmla="*/ 2842584 w 2973552"/>
              <a:gd name="connsiteY2" fmla="*/ 76334 h 1027599"/>
              <a:gd name="connsiteX3" fmla="*/ 2833059 w 2973552"/>
              <a:gd name="connsiteY3" fmla="*/ 83478 h 1027599"/>
              <a:gd name="connsiteX4" fmla="*/ 2759240 w 2973552"/>
              <a:gd name="connsiteY4" fmla="*/ 121578 h 1027599"/>
              <a:gd name="connsiteX5" fmla="*/ 2735427 w 2973552"/>
              <a:gd name="connsiteY5" fmla="*/ 93003 h 1027599"/>
              <a:gd name="connsiteX6" fmla="*/ 2661609 w 2973552"/>
              <a:gd name="connsiteY6" fmla="*/ 50140 h 1027599"/>
              <a:gd name="connsiteX7" fmla="*/ 2606840 w 2973552"/>
              <a:gd name="connsiteY7" fmla="*/ 26328 h 1027599"/>
              <a:gd name="connsiteX8" fmla="*/ 2561596 w 2973552"/>
              <a:gd name="connsiteY8" fmla="*/ 26328 h 1027599"/>
              <a:gd name="connsiteX9" fmla="*/ 2530640 w 2973552"/>
              <a:gd name="connsiteY9" fmla="*/ 28709 h 1027599"/>
              <a:gd name="connsiteX10" fmla="*/ 2516352 w 2973552"/>
              <a:gd name="connsiteY10" fmla="*/ 28709 h 1027599"/>
              <a:gd name="connsiteX11" fmla="*/ 2494921 w 2973552"/>
              <a:gd name="connsiteY11" fmla="*/ 21565 h 1027599"/>
              <a:gd name="connsiteX12" fmla="*/ 2454440 w 2973552"/>
              <a:gd name="connsiteY12" fmla="*/ 35853 h 1027599"/>
              <a:gd name="connsiteX13" fmla="*/ 2428246 w 2973552"/>
              <a:gd name="connsiteY13" fmla="*/ 45378 h 1027599"/>
              <a:gd name="connsiteX14" fmla="*/ 2402052 w 2973552"/>
              <a:gd name="connsiteY14" fmla="*/ 45378 h 1027599"/>
              <a:gd name="connsiteX15" fmla="*/ 2373477 w 2973552"/>
              <a:gd name="connsiteY15" fmla="*/ 45378 h 1027599"/>
              <a:gd name="connsiteX16" fmla="*/ 2347284 w 2973552"/>
              <a:gd name="connsiteY16" fmla="*/ 45378 h 1027599"/>
              <a:gd name="connsiteX17" fmla="*/ 2332996 w 2973552"/>
              <a:gd name="connsiteY17" fmla="*/ 45378 h 1027599"/>
              <a:gd name="connsiteX18" fmla="*/ 2325852 w 2973552"/>
              <a:gd name="connsiteY18" fmla="*/ 45378 h 1027599"/>
              <a:gd name="connsiteX19" fmla="*/ 2297277 w 2973552"/>
              <a:gd name="connsiteY19" fmla="*/ 78715 h 1027599"/>
              <a:gd name="connsiteX20" fmla="*/ 2278227 w 2973552"/>
              <a:gd name="connsiteY20" fmla="*/ 114434 h 1027599"/>
              <a:gd name="connsiteX21" fmla="*/ 2237746 w 2973552"/>
              <a:gd name="connsiteY21" fmla="*/ 135865 h 1027599"/>
              <a:gd name="connsiteX22" fmla="*/ 2197265 w 2973552"/>
              <a:gd name="connsiteY22" fmla="*/ 190634 h 1027599"/>
              <a:gd name="connsiteX23" fmla="*/ 2168690 w 2973552"/>
              <a:gd name="connsiteY23" fmla="*/ 228734 h 1027599"/>
              <a:gd name="connsiteX24" fmla="*/ 2071059 w 2973552"/>
              <a:gd name="connsiteY24" fmla="*/ 312078 h 1027599"/>
              <a:gd name="connsiteX25" fmla="*/ 2018671 w 2973552"/>
              <a:gd name="connsiteY25" fmla="*/ 316840 h 1027599"/>
              <a:gd name="connsiteX26" fmla="*/ 1982952 w 2973552"/>
              <a:gd name="connsiteY26" fmla="*/ 309697 h 1027599"/>
              <a:gd name="connsiteX27" fmla="*/ 1894846 w 2973552"/>
              <a:gd name="connsiteY27" fmla="*/ 281122 h 1027599"/>
              <a:gd name="connsiteX28" fmla="*/ 1828171 w 2973552"/>
              <a:gd name="connsiteY28" fmla="*/ 281122 h 1027599"/>
              <a:gd name="connsiteX29" fmla="*/ 1773402 w 2973552"/>
              <a:gd name="connsiteY29" fmla="*/ 304934 h 1027599"/>
              <a:gd name="connsiteX30" fmla="*/ 1737684 w 2973552"/>
              <a:gd name="connsiteY30" fmla="*/ 319222 h 1027599"/>
              <a:gd name="connsiteX31" fmla="*/ 1711490 w 2973552"/>
              <a:gd name="connsiteY31" fmla="*/ 323984 h 1027599"/>
              <a:gd name="connsiteX32" fmla="*/ 1668627 w 2973552"/>
              <a:gd name="connsiteY32" fmla="*/ 331128 h 1027599"/>
              <a:gd name="connsiteX33" fmla="*/ 1628146 w 2973552"/>
              <a:gd name="connsiteY33" fmla="*/ 338272 h 1027599"/>
              <a:gd name="connsiteX34" fmla="*/ 1604334 w 2973552"/>
              <a:gd name="connsiteY34" fmla="*/ 357322 h 1027599"/>
              <a:gd name="connsiteX35" fmla="*/ 1587665 w 2973552"/>
              <a:gd name="connsiteY35" fmla="*/ 371609 h 1027599"/>
              <a:gd name="connsiteX36" fmla="*/ 1570996 w 2973552"/>
              <a:gd name="connsiteY36" fmla="*/ 376372 h 1027599"/>
              <a:gd name="connsiteX37" fmla="*/ 1528134 w 2973552"/>
              <a:gd name="connsiteY37" fmla="*/ 378753 h 1027599"/>
              <a:gd name="connsiteX38" fmla="*/ 1418596 w 2973552"/>
              <a:gd name="connsiteY38" fmla="*/ 414472 h 1027599"/>
              <a:gd name="connsiteX39" fmla="*/ 1397165 w 2973552"/>
              <a:gd name="connsiteY39" fmla="*/ 428759 h 1027599"/>
              <a:gd name="connsiteX40" fmla="*/ 1387640 w 2973552"/>
              <a:gd name="connsiteY40" fmla="*/ 443047 h 1027599"/>
              <a:gd name="connsiteX41" fmla="*/ 1313821 w 2973552"/>
              <a:gd name="connsiteY41" fmla="*/ 493053 h 1027599"/>
              <a:gd name="connsiteX42" fmla="*/ 1197140 w 2973552"/>
              <a:gd name="connsiteY42" fmla="*/ 559728 h 1027599"/>
              <a:gd name="connsiteX43" fmla="*/ 1139990 w 2973552"/>
              <a:gd name="connsiteY43" fmla="*/ 593065 h 1027599"/>
              <a:gd name="connsiteX44" fmla="*/ 1082840 w 2973552"/>
              <a:gd name="connsiteY44" fmla="*/ 621640 h 1027599"/>
              <a:gd name="connsiteX45" fmla="*/ 1042359 w 2973552"/>
              <a:gd name="connsiteY45" fmla="*/ 638309 h 1027599"/>
              <a:gd name="connsiteX46" fmla="*/ 985209 w 2973552"/>
              <a:gd name="connsiteY46" fmla="*/ 674028 h 1027599"/>
              <a:gd name="connsiteX47" fmla="*/ 892340 w 2973552"/>
              <a:gd name="connsiteY47" fmla="*/ 740703 h 1027599"/>
              <a:gd name="connsiteX48" fmla="*/ 818521 w 2973552"/>
              <a:gd name="connsiteY48" fmla="*/ 788328 h 1027599"/>
              <a:gd name="connsiteX49" fmla="*/ 766134 w 2973552"/>
              <a:gd name="connsiteY49" fmla="*/ 809759 h 1027599"/>
              <a:gd name="connsiteX50" fmla="*/ 737559 w 2973552"/>
              <a:gd name="connsiteY50" fmla="*/ 809759 h 1027599"/>
              <a:gd name="connsiteX51" fmla="*/ 701840 w 2973552"/>
              <a:gd name="connsiteY51" fmla="*/ 812140 h 1027599"/>
              <a:gd name="connsiteX52" fmla="*/ 611352 w 2973552"/>
              <a:gd name="connsiteY52" fmla="*/ 883578 h 1027599"/>
              <a:gd name="connsiteX53" fmla="*/ 530390 w 2973552"/>
              <a:gd name="connsiteY53" fmla="*/ 938347 h 1027599"/>
              <a:gd name="connsiteX54" fmla="*/ 416090 w 2973552"/>
              <a:gd name="connsiteY54" fmla="*/ 1021690 h 1027599"/>
              <a:gd name="connsiteX55" fmla="*/ 397040 w 2973552"/>
              <a:gd name="connsiteY55" fmla="*/ 1014547 h 1027599"/>
              <a:gd name="connsiteX56" fmla="*/ 368465 w 2973552"/>
              <a:gd name="connsiteY56" fmla="*/ 964540 h 1027599"/>
              <a:gd name="connsiteX57" fmla="*/ 349415 w 2973552"/>
              <a:gd name="connsiteY57" fmla="*/ 955015 h 1027599"/>
              <a:gd name="connsiteX58" fmla="*/ 304171 w 2973552"/>
              <a:gd name="connsiteY58" fmla="*/ 921678 h 1027599"/>
              <a:gd name="connsiteX59" fmla="*/ 287502 w 2973552"/>
              <a:gd name="connsiteY59" fmla="*/ 890722 h 1027599"/>
              <a:gd name="connsiteX60" fmla="*/ 275596 w 2973552"/>
              <a:gd name="connsiteY60" fmla="*/ 843097 h 1027599"/>
              <a:gd name="connsiteX61" fmla="*/ 263690 w 2973552"/>
              <a:gd name="connsiteY61" fmla="*/ 821665 h 1027599"/>
              <a:gd name="connsiteX62" fmla="*/ 235115 w 2973552"/>
              <a:gd name="connsiteY62" fmla="*/ 807378 h 1027599"/>
              <a:gd name="connsiteX63" fmla="*/ 208921 w 2973552"/>
              <a:gd name="connsiteY63" fmla="*/ 783565 h 1027599"/>
              <a:gd name="connsiteX64" fmla="*/ 189871 w 2973552"/>
              <a:gd name="connsiteY64" fmla="*/ 778803 h 1027599"/>
              <a:gd name="connsiteX65" fmla="*/ 170821 w 2973552"/>
              <a:gd name="connsiteY65" fmla="*/ 735940 h 1027599"/>
              <a:gd name="connsiteX66" fmla="*/ 144627 w 2973552"/>
              <a:gd name="connsiteY66" fmla="*/ 712128 h 1027599"/>
              <a:gd name="connsiteX67" fmla="*/ 132721 w 2973552"/>
              <a:gd name="connsiteY67" fmla="*/ 669265 h 1027599"/>
              <a:gd name="connsiteX68" fmla="*/ 101765 w 2973552"/>
              <a:gd name="connsiteY68" fmla="*/ 635928 h 1027599"/>
              <a:gd name="connsiteX69" fmla="*/ 80334 w 2973552"/>
              <a:gd name="connsiteY69" fmla="*/ 597828 h 1027599"/>
              <a:gd name="connsiteX70" fmla="*/ 75571 w 2973552"/>
              <a:gd name="connsiteY70" fmla="*/ 583540 h 1027599"/>
              <a:gd name="connsiteX71" fmla="*/ 32709 w 2973552"/>
              <a:gd name="connsiteY71" fmla="*/ 519247 h 1027599"/>
              <a:gd name="connsiteX72" fmla="*/ 13659 w 2973552"/>
              <a:gd name="connsiteY72" fmla="*/ 483528 h 1027599"/>
              <a:gd name="connsiteX73" fmla="*/ 247021 w 2973552"/>
              <a:gd name="connsiteY73" fmla="*/ 400184 h 1027599"/>
              <a:gd name="connsiteX74" fmla="*/ 158914 w 2973552"/>
              <a:gd name="connsiteY74" fmla="*/ 323984 h 1027599"/>
              <a:gd name="connsiteX0" fmla="*/ 2967242 w 2967242"/>
              <a:gd name="connsiteY0" fmla="*/ 12040 h 1027599"/>
              <a:gd name="connsiteX1" fmla="*/ 2910092 w 2967242"/>
              <a:gd name="connsiteY1" fmla="*/ 4897 h 1027599"/>
              <a:gd name="connsiteX2" fmla="*/ 2836274 w 2967242"/>
              <a:gd name="connsiteY2" fmla="*/ 76334 h 1027599"/>
              <a:gd name="connsiteX3" fmla="*/ 2826749 w 2967242"/>
              <a:gd name="connsiteY3" fmla="*/ 83478 h 1027599"/>
              <a:gd name="connsiteX4" fmla="*/ 2752930 w 2967242"/>
              <a:gd name="connsiteY4" fmla="*/ 121578 h 1027599"/>
              <a:gd name="connsiteX5" fmla="*/ 2729117 w 2967242"/>
              <a:gd name="connsiteY5" fmla="*/ 93003 h 1027599"/>
              <a:gd name="connsiteX6" fmla="*/ 2655299 w 2967242"/>
              <a:gd name="connsiteY6" fmla="*/ 50140 h 1027599"/>
              <a:gd name="connsiteX7" fmla="*/ 2600530 w 2967242"/>
              <a:gd name="connsiteY7" fmla="*/ 26328 h 1027599"/>
              <a:gd name="connsiteX8" fmla="*/ 2555286 w 2967242"/>
              <a:gd name="connsiteY8" fmla="*/ 26328 h 1027599"/>
              <a:gd name="connsiteX9" fmla="*/ 2524330 w 2967242"/>
              <a:gd name="connsiteY9" fmla="*/ 28709 h 1027599"/>
              <a:gd name="connsiteX10" fmla="*/ 2510042 w 2967242"/>
              <a:gd name="connsiteY10" fmla="*/ 28709 h 1027599"/>
              <a:gd name="connsiteX11" fmla="*/ 2488611 w 2967242"/>
              <a:gd name="connsiteY11" fmla="*/ 21565 h 1027599"/>
              <a:gd name="connsiteX12" fmla="*/ 2448130 w 2967242"/>
              <a:gd name="connsiteY12" fmla="*/ 35853 h 1027599"/>
              <a:gd name="connsiteX13" fmla="*/ 2421936 w 2967242"/>
              <a:gd name="connsiteY13" fmla="*/ 45378 h 1027599"/>
              <a:gd name="connsiteX14" fmla="*/ 2395742 w 2967242"/>
              <a:gd name="connsiteY14" fmla="*/ 45378 h 1027599"/>
              <a:gd name="connsiteX15" fmla="*/ 2367167 w 2967242"/>
              <a:gd name="connsiteY15" fmla="*/ 45378 h 1027599"/>
              <a:gd name="connsiteX16" fmla="*/ 2340974 w 2967242"/>
              <a:gd name="connsiteY16" fmla="*/ 45378 h 1027599"/>
              <a:gd name="connsiteX17" fmla="*/ 2326686 w 2967242"/>
              <a:gd name="connsiteY17" fmla="*/ 45378 h 1027599"/>
              <a:gd name="connsiteX18" fmla="*/ 2319542 w 2967242"/>
              <a:gd name="connsiteY18" fmla="*/ 45378 h 1027599"/>
              <a:gd name="connsiteX19" fmla="*/ 2290967 w 2967242"/>
              <a:gd name="connsiteY19" fmla="*/ 78715 h 1027599"/>
              <a:gd name="connsiteX20" fmla="*/ 2271917 w 2967242"/>
              <a:gd name="connsiteY20" fmla="*/ 114434 h 1027599"/>
              <a:gd name="connsiteX21" fmla="*/ 2231436 w 2967242"/>
              <a:gd name="connsiteY21" fmla="*/ 135865 h 1027599"/>
              <a:gd name="connsiteX22" fmla="*/ 2190955 w 2967242"/>
              <a:gd name="connsiteY22" fmla="*/ 190634 h 1027599"/>
              <a:gd name="connsiteX23" fmla="*/ 2162380 w 2967242"/>
              <a:gd name="connsiteY23" fmla="*/ 228734 h 1027599"/>
              <a:gd name="connsiteX24" fmla="*/ 2064749 w 2967242"/>
              <a:gd name="connsiteY24" fmla="*/ 312078 h 1027599"/>
              <a:gd name="connsiteX25" fmla="*/ 2012361 w 2967242"/>
              <a:gd name="connsiteY25" fmla="*/ 316840 h 1027599"/>
              <a:gd name="connsiteX26" fmla="*/ 1976642 w 2967242"/>
              <a:gd name="connsiteY26" fmla="*/ 309697 h 1027599"/>
              <a:gd name="connsiteX27" fmla="*/ 1888536 w 2967242"/>
              <a:gd name="connsiteY27" fmla="*/ 281122 h 1027599"/>
              <a:gd name="connsiteX28" fmla="*/ 1821861 w 2967242"/>
              <a:gd name="connsiteY28" fmla="*/ 281122 h 1027599"/>
              <a:gd name="connsiteX29" fmla="*/ 1767092 w 2967242"/>
              <a:gd name="connsiteY29" fmla="*/ 304934 h 1027599"/>
              <a:gd name="connsiteX30" fmla="*/ 1731374 w 2967242"/>
              <a:gd name="connsiteY30" fmla="*/ 319222 h 1027599"/>
              <a:gd name="connsiteX31" fmla="*/ 1705180 w 2967242"/>
              <a:gd name="connsiteY31" fmla="*/ 323984 h 1027599"/>
              <a:gd name="connsiteX32" fmla="*/ 1662317 w 2967242"/>
              <a:gd name="connsiteY32" fmla="*/ 331128 h 1027599"/>
              <a:gd name="connsiteX33" fmla="*/ 1621836 w 2967242"/>
              <a:gd name="connsiteY33" fmla="*/ 338272 h 1027599"/>
              <a:gd name="connsiteX34" fmla="*/ 1598024 w 2967242"/>
              <a:gd name="connsiteY34" fmla="*/ 357322 h 1027599"/>
              <a:gd name="connsiteX35" fmla="*/ 1581355 w 2967242"/>
              <a:gd name="connsiteY35" fmla="*/ 371609 h 1027599"/>
              <a:gd name="connsiteX36" fmla="*/ 1564686 w 2967242"/>
              <a:gd name="connsiteY36" fmla="*/ 376372 h 1027599"/>
              <a:gd name="connsiteX37" fmla="*/ 1521824 w 2967242"/>
              <a:gd name="connsiteY37" fmla="*/ 378753 h 1027599"/>
              <a:gd name="connsiteX38" fmla="*/ 1412286 w 2967242"/>
              <a:gd name="connsiteY38" fmla="*/ 414472 h 1027599"/>
              <a:gd name="connsiteX39" fmla="*/ 1390855 w 2967242"/>
              <a:gd name="connsiteY39" fmla="*/ 428759 h 1027599"/>
              <a:gd name="connsiteX40" fmla="*/ 1381330 w 2967242"/>
              <a:gd name="connsiteY40" fmla="*/ 443047 h 1027599"/>
              <a:gd name="connsiteX41" fmla="*/ 1307511 w 2967242"/>
              <a:gd name="connsiteY41" fmla="*/ 493053 h 1027599"/>
              <a:gd name="connsiteX42" fmla="*/ 1190830 w 2967242"/>
              <a:gd name="connsiteY42" fmla="*/ 559728 h 1027599"/>
              <a:gd name="connsiteX43" fmla="*/ 1133680 w 2967242"/>
              <a:gd name="connsiteY43" fmla="*/ 593065 h 1027599"/>
              <a:gd name="connsiteX44" fmla="*/ 1076530 w 2967242"/>
              <a:gd name="connsiteY44" fmla="*/ 621640 h 1027599"/>
              <a:gd name="connsiteX45" fmla="*/ 1036049 w 2967242"/>
              <a:gd name="connsiteY45" fmla="*/ 638309 h 1027599"/>
              <a:gd name="connsiteX46" fmla="*/ 978899 w 2967242"/>
              <a:gd name="connsiteY46" fmla="*/ 674028 h 1027599"/>
              <a:gd name="connsiteX47" fmla="*/ 886030 w 2967242"/>
              <a:gd name="connsiteY47" fmla="*/ 740703 h 1027599"/>
              <a:gd name="connsiteX48" fmla="*/ 812211 w 2967242"/>
              <a:gd name="connsiteY48" fmla="*/ 788328 h 1027599"/>
              <a:gd name="connsiteX49" fmla="*/ 759824 w 2967242"/>
              <a:gd name="connsiteY49" fmla="*/ 809759 h 1027599"/>
              <a:gd name="connsiteX50" fmla="*/ 731249 w 2967242"/>
              <a:gd name="connsiteY50" fmla="*/ 809759 h 1027599"/>
              <a:gd name="connsiteX51" fmla="*/ 695530 w 2967242"/>
              <a:gd name="connsiteY51" fmla="*/ 812140 h 1027599"/>
              <a:gd name="connsiteX52" fmla="*/ 605042 w 2967242"/>
              <a:gd name="connsiteY52" fmla="*/ 883578 h 1027599"/>
              <a:gd name="connsiteX53" fmla="*/ 524080 w 2967242"/>
              <a:gd name="connsiteY53" fmla="*/ 938347 h 1027599"/>
              <a:gd name="connsiteX54" fmla="*/ 409780 w 2967242"/>
              <a:gd name="connsiteY54" fmla="*/ 1021690 h 1027599"/>
              <a:gd name="connsiteX55" fmla="*/ 390730 w 2967242"/>
              <a:gd name="connsiteY55" fmla="*/ 1014547 h 1027599"/>
              <a:gd name="connsiteX56" fmla="*/ 362155 w 2967242"/>
              <a:gd name="connsiteY56" fmla="*/ 964540 h 1027599"/>
              <a:gd name="connsiteX57" fmla="*/ 343105 w 2967242"/>
              <a:gd name="connsiteY57" fmla="*/ 955015 h 1027599"/>
              <a:gd name="connsiteX58" fmla="*/ 297861 w 2967242"/>
              <a:gd name="connsiteY58" fmla="*/ 921678 h 1027599"/>
              <a:gd name="connsiteX59" fmla="*/ 281192 w 2967242"/>
              <a:gd name="connsiteY59" fmla="*/ 890722 h 1027599"/>
              <a:gd name="connsiteX60" fmla="*/ 269286 w 2967242"/>
              <a:gd name="connsiteY60" fmla="*/ 843097 h 1027599"/>
              <a:gd name="connsiteX61" fmla="*/ 257380 w 2967242"/>
              <a:gd name="connsiteY61" fmla="*/ 821665 h 1027599"/>
              <a:gd name="connsiteX62" fmla="*/ 228805 w 2967242"/>
              <a:gd name="connsiteY62" fmla="*/ 807378 h 1027599"/>
              <a:gd name="connsiteX63" fmla="*/ 202611 w 2967242"/>
              <a:gd name="connsiteY63" fmla="*/ 783565 h 1027599"/>
              <a:gd name="connsiteX64" fmla="*/ 183561 w 2967242"/>
              <a:gd name="connsiteY64" fmla="*/ 778803 h 1027599"/>
              <a:gd name="connsiteX65" fmla="*/ 164511 w 2967242"/>
              <a:gd name="connsiteY65" fmla="*/ 735940 h 1027599"/>
              <a:gd name="connsiteX66" fmla="*/ 138317 w 2967242"/>
              <a:gd name="connsiteY66" fmla="*/ 712128 h 1027599"/>
              <a:gd name="connsiteX67" fmla="*/ 126411 w 2967242"/>
              <a:gd name="connsiteY67" fmla="*/ 669265 h 1027599"/>
              <a:gd name="connsiteX68" fmla="*/ 95455 w 2967242"/>
              <a:gd name="connsiteY68" fmla="*/ 635928 h 1027599"/>
              <a:gd name="connsiteX69" fmla="*/ 74024 w 2967242"/>
              <a:gd name="connsiteY69" fmla="*/ 597828 h 1027599"/>
              <a:gd name="connsiteX70" fmla="*/ 69261 w 2967242"/>
              <a:gd name="connsiteY70" fmla="*/ 583540 h 1027599"/>
              <a:gd name="connsiteX71" fmla="*/ 26399 w 2967242"/>
              <a:gd name="connsiteY71" fmla="*/ 519247 h 1027599"/>
              <a:gd name="connsiteX72" fmla="*/ 7349 w 2967242"/>
              <a:gd name="connsiteY72" fmla="*/ 483528 h 1027599"/>
              <a:gd name="connsiteX73" fmla="*/ 152604 w 2967242"/>
              <a:gd name="connsiteY73" fmla="*/ 323984 h 1027599"/>
              <a:gd name="connsiteX0" fmla="*/ 2967242 w 2967242"/>
              <a:gd name="connsiteY0" fmla="*/ 12040 h 1027599"/>
              <a:gd name="connsiteX1" fmla="*/ 2910092 w 2967242"/>
              <a:gd name="connsiteY1" fmla="*/ 4897 h 1027599"/>
              <a:gd name="connsiteX2" fmla="*/ 2836274 w 2967242"/>
              <a:gd name="connsiteY2" fmla="*/ 76334 h 1027599"/>
              <a:gd name="connsiteX3" fmla="*/ 2826749 w 2967242"/>
              <a:gd name="connsiteY3" fmla="*/ 83478 h 1027599"/>
              <a:gd name="connsiteX4" fmla="*/ 2752930 w 2967242"/>
              <a:gd name="connsiteY4" fmla="*/ 121578 h 1027599"/>
              <a:gd name="connsiteX5" fmla="*/ 2729117 w 2967242"/>
              <a:gd name="connsiteY5" fmla="*/ 93003 h 1027599"/>
              <a:gd name="connsiteX6" fmla="*/ 2655299 w 2967242"/>
              <a:gd name="connsiteY6" fmla="*/ 50140 h 1027599"/>
              <a:gd name="connsiteX7" fmla="*/ 2600530 w 2967242"/>
              <a:gd name="connsiteY7" fmla="*/ 26328 h 1027599"/>
              <a:gd name="connsiteX8" fmla="*/ 2555286 w 2967242"/>
              <a:gd name="connsiteY8" fmla="*/ 26328 h 1027599"/>
              <a:gd name="connsiteX9" fmla="*/ 2524330 w 2967242"/>
              <a:gd name="connsiteY9" fmla="*/ 28709 h 1027599"/>
              <a:gd name="connsiteX10" fmla="*/ 2510042 w 2967242"/>
              <a:gd name="connsiteY10" fmla="*/ 28709 h 1027599"/>
              <a:gd name="connsiteX11" fmla="*/ 2488611 w 2967242"/>
              <a:gd name="connsiteY11" fmla="*/ 21565 h 1027599"/>
              <a:gd name="connsiteX12" fmla="*/ 2448130 w 2967242"/>
              <a:gd name="connsiteY12" fmla="*/ 35853 h 1027599"/>
              <a:gd name="connsiteX13" fmla="*/ 2421936 w 2967242"/>
              <a:gd name="connsiteY13" fmla="*/ 45378 h 1027599"/>
              <a:gd name="connsiteX14" fmla="*/ 2395742 w 2967242"/>
              <a:gd name="connsiteY14" fmla="*/ 45378 h 1027599"/>
              <a:gd name="connsiteX15" fmla="*/ 2367167 w 2967242"/>
              <a:gd name="connsiteY15" fmla="*/ 45378 h 1027599"/>
              <a:gd name="connsiteX16" fmla="*/ 2340974 w 2967242"/>
              <a:gd name="connsiteY16" fmla="*/ 45378 h 1027599"/>
              <a:gd name="connsiteX17" fmla="*/ 2326686 w 2967242"/>
              <a:gd name="connsiteY17" fmla="*/ 45378 h 1027599"/>
              <a:gd name="connsiteX18" fmla="*/ 2319542 w 2967242"/>
              <a:gd name="connsiteY18" fmla="*/ 45378 h 1027599"/>
              <a:gd name="connsiteX19" fmla="*/ 2290967 w 2967242"/>
              <a:gd name="connsiteY19" fmla="*/ 78715 h 1027599"/>
              <a:gd name="connsiteX20" fmla="*/ 2271917 w 2967242"/>
              <a:gd name="connsiteY20" fmla="*/ 114434 h 1027599"/>
              <a:gd name="connsiteX21" fmla="*/ 2231436 w 2967242"/>
              <a:gd name="connsiteY21" fmla="*/ 135865 h 1027599"/>
              <a:gd name="connsiteX22" fmla="*/ 2190955 w 2967242"/>
              <a:gd name="connsiteY22" fmla="*/ 190634 h 1027599"/>
              <a:gd name="connsiteX23" fmla="*/ 2162380 w 2967242"/>
              <a:gd name="connsiteY23" fmla="*/ 228734 h 1027599"/>
              <a:gd name="connsiteX24" fmla="*/ 2064749 w 2967242"/>
              <a:gd name="connsiteY24" fmla="*/ 312078 h 1027599"/>
              <a:gd name="connsiteX25" fmla="*/ 2012361 w 2967242"/>
              <a:gd name="connsiteY25" fmla="*/ 316840 h 1027599"/>
              <a:gd name="connsiteX26" fmla="*/ 1976642 w 2967242"/>
              <a:gd name="connsiteY26" fmla="*/ 309697 h 1027599"/>
              <a:gd name="connsiteX27" fmla="*/ 1888536 w 2967242"/>
              <a:gd name="connsiteY27" fmla="*/ 281122 h 1027599"/>
              <a:gd name="connsiteX28" fmla="*/ 1821861 w 2967242"/>
              <a:gd name="connsiteY28" fmla="*/ 281122 h 1027599"/>
              <a:gd name="connsiteX29" fmla="*/ 1767092 w 2967242"/>
              <a:gd name="connsiteY29" fmla="*/ 304934 h 1027599"/>
              <a:gd name="connsiteX30" fmla="*/ 1731374 w 2967242"/>
              <a:gd name="connsiteY30" fmla="*/ 319222 h 1027599"/>
              <a:gd name="connsiteX31" fmla="*/ 1705180 w 2967242"/>
              <a:gd name="connsiteY31" fmla="*/ 323984 h 1027599"/>
              <a:gd name="connsiteX32" fmla="*/ 1662317 w 2967242"/>
              <a:gd name="connsiteY32" fmla="*/ 331128 h 1027599"/>
              <a:gd name="connsiteX33" fmla="*/ 1621836 w 2967242"/>
              <a:gd name="connsiteY33" fmla="*/ 338272 h 1027599"/>
              <a:gd name="connsiteX34" fmla="*/ 1598024 w 2967242"/>
              <a:gd name="connsiteY34" fmla="*/ 357322 h 1027599"/>
              <a:gd name="connsiteX35" fmla="*/ 1581355 w 2967242"/>
              <a:gd name="connsiteY35" fmla="*/ 371609 h 1027599"/>
              <a:gd name="connsiteX36" fmla="*/ 1564686 w 2967242"/>
              <a:gd name="connsiteY36" fmla="*/ 376372 h 1027599"/>
              <a:gd name="connsiteX37" fmla="*/ 1521824 w 2967242"/>
              <a:gd name="connsiteY37" fmla="*/ 378753 h 1027599"/>
              <a:gd name="connsiteX38" fmla="*/ 1412286 w 2967242"/>
              <a:gd name="connsiteY38" fmla="*/ 414472 h 1027599"/>
              <a:gd name="connsiteX39" fmla="*/ 1390855 w 2967242"/>
              <a:gd name="connsiteY39" fmla="*/ 428759 h 1027599"/>
              <a:gd name="connsiteX40" fmla="*/ 1381330 w 2967242"/>
              <a:gd name="connsiteY40" fmla="*/ 443047 h 1027599"/>
              <a:gd name="connsiteX41" fmla="*/ 1307511 w 2967242"/>
              <a:gd name="connsiteY41" fmla="*/ 493053 h 1027599"/>
              <a:gd name="connsiteX42" fmla="*/ 1190830 w 2967242"/>
              <a:gd name="connsiteY42" fmla="*/ 559728 h 1027599"/>
              <a:gd name="connsiteX43" fmla="*/ 1133680 w 2967242"/>
              <a:gd name="connsiteY43" fmla="*/ 593065 h 1027599"/>
              <a:gd name="connsiteX44" fmla="*/ 1076530 w 2967242"/>
              <a:gd name="connsiteY44" fmla="*/ 621640 h 1027599"/>
              <a:gd name="connsiteX45" fmla="*/ 1036049 w 2967242"/>
              <a:gd name="connsiteY45" fmla="*/ 638309 h 1027599"/>
              <a:gd name="connsiteX46" fmla="*/ 978899 w 2967242"/>
              <a:gd name="connsiteY46" fmla="*/ 674028 h 1027599"/>
              <a:gd name="connsiteX47" fmla="*/ 886030 w 2967242"/>
              <a:gd name="connsiteY47" fmla="*/ 740703 h 1027599"/>
              <a:gd name="connsiteX48" fmla="*/ 812211 w 2967242"/>
              <a:gd name="connsiteY48" fmla="*/ 788328 h 1027599"/>
              <a:gd name="connsiteX49" fmla="*/ 759824 w 2967242"/>
              <a:gd name="connsiteY49" fmla="*/ 809759 h 1027599"/>
              <a:gd name="connsiteX50" fmla="*/ 731249 w 2967242"/>
              <a:gd name="connsiteY50" fmla="*/ 809759 h 1027599"/>
              <a:gd name="connsiteX51" fmla="*/ 695530 w 2967242"/>
              <a:gd name="connsiteY51" fmla="*/ 812140 h 1027599"/>
              <a:gd name="connsiteX52" fmla="*/ 605042 w 2967242"/>
              <a:gd name="connsiteY52" fmla="*/ 883578 h 1027599"/>
              <a:gd name="connsiteX53" fmla="*/ 524080 w 2967242"/>
              <a:gd name="connsiteY53" fmla="*/ 938347 h 1027599"/>
              <a:gd name="connsiteX54" fmla="*/ 409780 w 2967242"/>
              <a:gd name="connsiteY54" fmla="*/ 1021690 h 1027599"/>
              <a:gd name="connsiteX55" fmla="*/ 390730 w 2967242"/>
              <a:gd name="connsiteY55" fmla="*/ 1014547 h 1027599"/>
              <a:gd name="connsiteX56" fmla="*/ 362155 w 2967242"/>
              <a:gd name="connsiteY56" fmla="*/ 964540 h 1027599"/>
              <a:gd name="connsiteX57" fmla="*/ 343105 w 2967242"/>
              <a:gd name="connsiteY57" fmla="*/ 955015 h 1027599"/>
              <a:gd name="connsiteX58" fmla="*/ 297861 w 2967242"/>
              <a:gd name="connsiteY58" fmla="*/ 921678 h 1027599"/>
              <a:gd name="connsiteX59" fmla="*/ 281192 w 2967242"/>
              <a:gd name="connsiteY59" fmla="*/ 890722 h 1027599"/>
              <a:gd name="connsiteX60" fmla="*/ 269286 w 2967242"/>
              <a:gd name="connsiteY60" fmla="*/ 843097 h 1027599"/>
              <a:gd name="connsiteX61" fmla="*/ 257380 w 2967242"/>
              <a:gd name="connsiteY61" fmla="*/ 821665 h 1027599"/>
              <a:gd name="connsiteX62" fmla="*/ 228805 w 2967242"/>
              <a:gd name="connsiteY62" fmla="*/ 807378 h 1027599"/>
              <a:gd name="connsiteX63" fmla="*/ 202611 w 2967242"/>
              <a:gd name="connsiteY63" fmla="*/ 783565 h 1027599"/>
              <a:gd name="connsiteX64" fmla="*/ 183561 w 2967242"/>
              <a:gd name="connsiteY64" fmla="*/ 778803 h 1027599"/>
              <a:gd name="connsiteX65" fmla="*/ 164511 w 2967242"/>
              <a:gd name="connsiteY65" fmla="*/ 735940 h 1027599"/>
              <a:gd name="connsiteX66" fmla="*/ 138317 w 2967242"/>
              <a:gd name="connsiteY66" fmla="*/ 712128 h 1027599"/>
              <a:gd name="connsiteX67" fmla="*/ 126411 w 2967242"/>
              <a:gd name="connsiteY67" fmla="*/ 669265 h 1027599"/>
              <a:gd name="connsiteX68" fmla="*/ 95455 w 2967242"/>
              <a:gd name="connsiteY68" fmla="*/ 635928 h 1027599"/>
              <a:gd name="connsiteX69" fmla="*/ 74024 w 2967242"/>
              <a:gd name="connsiteY69" fmla="*/ 597828 h 1027599"/>
              <a:gd name="connsiteX70" fmla="*/ 69261 w 2967242"/>
              <a:gd name="connsiteY70" fmla="*/ 583540 h 1027599"/>
              <a:gd name="connsiteX71" fmla="*/ 26399 w 2967242"/>
              <a:gd name="connsiteY71" fmla="*/ 519247 h 1027599"/>
              <a:gd name="connsiteX72" fmla="*/ 7349 w 2967242"/>
              <a:gd name="connsiteY72" fmla="*/ 483528 h 1027599"/>
              <a:gd name="connsiteX0" fmla="*/ 2969317 w 2969317"/>
              <a:gd name="connsiteY0" fmla="*/ 12040 h 1027599"/>
              <a:gd name="connsiteX1" fmla="*/ 2912167 w 2969317"/>
              <a:gd name="connsiteY1" fmla="*/ 4897 h 1027599"/>
              <a:gd name="connsiteX2" fmla="*/ 2838349 w 2969317"/>
              <a:gd name="connsiteY2" fmla="*/ 76334 h 1027599"/>
              <a:gd name="connsiteX3" fmla="*/ 2828824 w 2969317"/>
              <a:gd name="connsiteY3" fmla="*/ 83478 h 1027599"/>
              <a:gd name="connsiteX4" fmla="*/ 2755005 w 2969317"/>
              <a:gd name="connsiteY4" fmla="*/ 121578 h 1027599"/>
              <a:gd name="connsiteX5" fmla="*/ 2731192 w 2969317"/>
              <a:gd name="connsiteY5" fmla="*/ 93003 h 1027599"/>
              <a:gd name="connsiteX6" fmla="*/ 2657374 w 2969317"/>
              <a:gd name="connsiteY6" fmla="*/ 50140 h 1027599"/>
              <a:gd name="connsiteX7" fmla="*/ 2602605 w 2969317"/>
              <a:gd name="connsiteY7" fmla="*/ 26328 h 1027599"/>
              <a:gd name="connsiteX8" fmla="*/ 2557361 w 2969317"/>
              <a:gd name="connsiteY8" fmla="*/ 26328 h 1027599"/>
              <a:gd name="connsiteX9" fmla="*/ 2526405 w 2969317"/>
              <a:gd name="connsiteY9" fmla="*/ 28709 h 1027599"/>
              <a:gd name="connsiteX10" fmla="*/ 2512117 w 2969317"/>
              <a:gd name="connsiteY10" fmla="*/ 28709 h 1027599"/>
              <a:gd name="connsiteX11" fmla="*/ 2490686 w 2969317"/>
              <a:gd name="connsiteY11" fmla="*/ 21565 h 1027599"/>
              <a:gd name="connsiteX12" fmla="*/ 2450205 w 2969317"/>
              <a:gd name="connsiteY12" fmla="*/ 35853 h 1027599"/>
              <a:gd name="connsiteX13" fmla="*/ 2424011 w 2969317"/>
              <a:gd name="connsiteY13" fmla="*/ 45378 h 1027599"/>
              <a:gd name="connsiteX14" fmla="*/ 2397817 w 2969317"/>
              <a:gd name="connsiteY14" fmla="*/ 45378 h 1027599"/>
              <a:gd name="connsiteX15" fmla="*/ 2369242 w 2969317"/>
              <a:gd name="connsiteY15" fmla="*/ 45378 h 1027599"/>
              <a:gd name="connsiteX16" fmla="*/ 2343049 w 2969317"/>
              <a:gd name="connsiteY16" fmla="*/ 45378 h 1027599"/>
              <a:gd name="connsiteX17" fmla="*/ 2328761 w 2969317"/>
              <a:gd name="connsiteY17" fmla="*/ 45378 h 1027599"/>
              <a:gd name="connsiteX18" fmla="*/ 2321617 w 2969317"/>
              <a:gd name="connsiteY18" fmla="*/ 45378 h 1027599"/>
              <a:gd name="connsiteX19" fmla="*/ 2293042 w 2969317"/>
              <a:gd name="connsiteY19" fmla="*/ 78715 h 1027599"/>
              <a:gd name="connsiteX20" fmla="*/ 2273992 w 2969317"/>
              <a:gd name="connsiteY20" fmla="*/ 114434 h 1027599"/>
              <a:gd name="connsiteX21" fmla="*/ 2233511 w 2969317"/>
              <a:gd name="connsiteY21" fmla="*/ 135865 h 1027599"/>
              <a:gd name="connsiteX22" fmla="*/ 2193030 w 2969317"/>
              <a:gd name="connsiteY22" fmla="*/ 190634 h 1027599"/>
              <a:gd name="connsiteX23" fmla="*/ 2164455 w 2969317"/>
              <a:gd name="connsiteY23" fmla="*/ 228734 h 1027599"/>
              <a:gd name="connsiteX24" fmla="*/ 2066824 w 2969317"/>
              <a:gd name="connsiteY24" fmla="*/ 312078 h 1027599"/>
              <a:gd name="connsiteX25" fmla="*/ 2014436 w 2969317"/>
              <a:gd name="connsiteY25" fmla="*/ 316840 h 1027599"/>
              <a:gd name="connsiteX26" fmla="*/ 1978717 w 2969317"/>
              <a:gd name="connsiteY26" fmla="*/ 309697 h 1027599"/>
              <a:gd name="connsiteX27" fmla="*/ 1890611 w 2969317"/>
              <a:gd name="connsiteY27" fmla="*/ 281122 h 1027599"/>
              <a:gd name="connsiteX28" fmla="*/ 1823936 w 2969317"/>
              <a:gd name="connsiteY28" fmla="*/ 281122 h 1027599"/>
              <a:gd name="connsiteX29" fmla="*/ 1769167 w 2969317"/>
              <a:gd name="connsiteY29" fmla="*/ 304934 h 1027599"/>
              <a:gd name="connsiteX30" fmla="*/ 1733449 w 2969317"/>
              <a:gd name="connsiteY30" fmla="*/ 319222 h 1027599"/>
              <a:gd name="connsiteX31" fmla="*/ 1707255 w 2969317"/>
              <a:gd name="connsiteY31" fmla="*/ 323984 h 1027599"/>
              <a:gd name="connsiteX32" fmla="*/ 1664392 w 2969317"/>
              <a:gd name="connsiteY32" fmla="*/ 331128 h 1027599"/>
              <a:gd name="connsiteX33" fmla="*/ 1623911 w 2969317"/>
              <a:gd name="connsiteY33" fmla="*/ 338272 h 1027599"/>
              <a:gd name="connsiteX34" fmla="*/ 1600099 w 2969317"/>
              <a:gd name="connsiteY34" fmla="*/ 357322 h 1027599"/>
              <a:gd name="connsiteX35" fmla="*/ 1583430 w 2969317"/>
              <a:gd name="connsiteY35" fmla="*/ 371609 h 1027599"/>
              <a:gd name="connsiteX36" fmla="*/ 1566761 w 2969317"/>
              <a:gd name="connsiteY36" fmla="*/ 376372 h 1027599"/>
              <a:gd name="connsiteX37" fmla="*/ 1523899 w 2969317"/>
              <a:gd name="connsiteY37" fmla="*/ 378753 h 1027599"/>
              <a:gd name="connsiteX38" fmla="*/ 1414361 w 2969317"/>
              <a:gd name="connsiteY38" fmla="*/ 414472 h 1027599"/>
              <a:gd name="connsiteX39" fmla="*/ 1392930 w 2969317"/>
              <a:gd name="connsiteY39" fmla="*/ 428759 h 1027599"/>
              <a:gd name="connsiteX40" fmla="*/ 1383405 w 2969317"/>
              <a:gd name="connsiteY40" fmla="*/ 443047 h 1027599"/>
              <a:gd name="connsiteX41" fmla="*/ 1309586 w 2969317"/>
              <a:gd name="connsiteY41" fmla="*/ 493053 h 1027599"/>
              <a:gd name="connsiteX42" fmla="*/ 1192905 w 2969317"/>
              <a:gd name="connsiteY42" fmla="*/ 559728 h 1027599"/>
              <a:gd name="connsiteX43" fmla="*/ 1135755 w 2969317"/>
              <a:gd name="connsiteY43" fmla="*/ 593065 h 1027599"/>
              <a:gd name="connsiteX44" fmla="*/ 1078605 w 2969317"/>
              <a:gd name="connsiteY44" fmla="*/ 621640 h 1027599"/>
              <a:gd name="connsiteX45" fmla="*/ 1038124 w 2969317"/>
              <a:gd name="connsiteY45" fmla="*/ 638309 h 1027599"/>
              <a:gd name="connsiteX46" fmla="*/ 980974 w 2969317"/>
              <a:gd name="connsiteY46" fmla="*/ 674028 h 1027599"/>
              <a:gd name="connsiteX47" fmla="*/ 888105 w 2969317"/>
              <a:gd name="connsiteY47" fmla="*/ 740703 h 1027599"/>
              <a:gd name="connsiteX48" fmla="*/ 814286 w 2969317"/>
              <a:gd name="connsiteY48" fmla="*/ 788328 h 1027599"/>
              <a:gd name="connsiteX49" fmla="*/ 761899 w 2969317"/>
              <a:gd name="connsiteY49" fmla="*/ 809759 h 1027599"/>
              <a:gd name="connsiteX50" fmla="*/ 733324 w 2969317"/>
              <a:gd name="connsiteY50" fmla="*/ 809759 h 1027599"/>
              <a:gd name="connsiteX51" fmla="*/ 697605 w 2969317"/>
              <a:gd name="connsiteY51" fmla="*/ 812140 h 1027599"/>
              <a:gd name="connsiteX52" fmla="*/ 607117 w 2969317"/>
              <a:gd name="connsiteY52" fmla="*/ 883578 h 1027599"/>
              <a:gd name="connsiteX53" fmla="*/ 526155 w 2969317"/>
              <a:gd name="connsiteY53" fmla="*/ 938347 h 1027599"/>
              <a:gd name="connsiteX54" fmla="*/ 411855 w 2969317"/>
              <a:gd name="connsiteY54" fmla="*/ 1021690 h 1027599"/>
              <a:gd name="connsiteX55" fmla="*/ 392805 w 2969317"/>
              <a:gd name="connsiteY55" fmla="*/ 1014547 h 1027599"/>
              <a:gd name="connsiteX56" fmla="*/ 364230 w 2969317"/>
              <a:gd name="connsiteY56" fmla="*/ 964540 h 1027599"/>
              <a:gd name="connsiteX57" fmla="*/ 345180 w 2969317"/>
              <a:gd name="connsiteY57" fmla="*/ 955015 h 1027599"/>
              <a:gd name="connsiteX58" fmla="*/ 299936 w 2969317"/>
              <a:gd name="connsiteY58" fmla="*/ 921678 h 1027599"/>
              <a:gd name="connsiteX59" fmla="*/ 283267 w 2969317"/>
              <a:gd name="connsiteY59" fmla="*/ 890722 h 1027599"/>
              <a:gd name="connsiteX60" fmla="*/ 271361 w 2969317"/>
              <a:gd name="connsiteY60" fmla="*/ 843097 h 1027599"/>
              <a:gd name="connsiteX61" fmla="*/ 259455 w 2969317"/>
              <a:gd name="connsiteY61" fmla="*/ 821665 h 1027599"/>
              <a:gd name="connsiteX62" fmla="*/ 230880 w 2969317"/>
              <a:gd name="connsiteY62" fmla="*/ 807378 h 1027599"/>
              <a:gd name="connsiteX63" fmla="*/ 204686 w 2969317"/>
              <a:gd name="connsiteY63" fmla="*/ 783565 h 1027599"/>
              <a:gd name="connsiteX64" fmla="*/ 185636 w 2969317"/>
              <a:gd name="connsiteY64" fmla="*/ 778803 h 1027599"/>
              <a:gd name="connsiteX65" fmla="*/ 166586 w 2969317"/>
              <a:gd name="connsiteY65" fmla="*/ 735940 h 1027599"/>
              <a:gd name="connsiteX66" fmla="*/ 140392 w 2969317"/>
              <a:gd name="connsiteY66" fmla="*/ 712128 h 1027599"/>
              <a:gd name="connsiteX67" fmla="*/ 128486 w 2969317"/>
              <a:gd name="connsiteY67" fmla="*/ 669265 h 1027599"/>
              <a:gd name="connsiteX68" fmla="*/ 97530 w 2969317"/>
              <a:gd name="connsiteY68" fmla="*/ 635928 h 1027599"/>
              <a:gd name="connsiteX69" fmla="*/ 76099 w 2969317"/>
              <a:gd name="connsiteY69" fmla="*/ 597828 h 1027599"/>
              <a:gd name="connsiteX70" fmla="*/ 71336 w 2969317"/>
              <a:gd name="connsiteY70" fmla="*/ 583540 h 1027599"/>
              <a:gd name="connsiteX71" fmla="*/ 28474 w 2969317"/>
              <a:gd name="connsiteY71" fmla="*/ 519247 h 1027599"/>
              <a:gd name="connsiteX72" fmla="*/ 7043 w 2969317"/>
              <a:gd name="connsiteY72" fmla="*/ 412090 h 1027599"/>
              <a:gd name="connsiteX0" fmla="*/ 2986607 w 2986607"/>
              <a:gd name="connsiteY0" fmla="*/ 12040 h 1027599"/>
              <a:gd name="connsiteX1" fmla="*/ 2929457 w 2986607"/>
              <a:gd name="connsiteY1" fmla="*/ 4897 h 1027599"/>
              <a:gd name="connsiteX2" fmla="*/ 2855639 w 2986607"/>
              <a:gd name="connsiteY2" fmla="*/ 76334 h 1027599"/>
              <a:gd name="connsiteX3" fmla="*/ 2846114 w 2986607"/>
              <a:gd name="connsiteY3" fmla="*/ 83478 h 1027599"/>
              <a:gd name="connsiteX4" fmla="*/ 2772295 w 2986607"/>
              <a:gd name="connsiteY4" fmla="*/ 121578 h 1027599"/>
              <a:gd name="connsiteX5" fmla="*/ 2748482 w 2986607"/>
              <a:gd name="connsiteY5" fmla="*/ 93003 h 1027599"/>
              <a:gd name="connsiteX6" fmla="*/ 2674664 w 2986607"/>
              <a:gd name="connsiteY6" fmla="*/ 50140 h 1027599"/>
              <a:gd name="connsiteX7" fmla="*/ 2619895 w 2986607"/>
              <a:gd name="connsiteY7" fmla="*/ 26328 h 1027599"/>
              <a:gd name="connsiteX8" fmla="*/ 2574651 w 2986607"/>
              <a:gd name="connsiteY8" fmla="*/ 26328 h 1027599"/>
              <a:gd name="connsiteX9" fmla="*/ 2543695 w 2986607"/>
              <a:gd name="connsiteY9" fmla="*/ 28709 h 1027599"/>
              <a:gd name="connsiteX10" fmla="*/ 2529407 w 2986607"/>
              <a:gd name="connsiteY10" fmla="*/ 28709 h 1027599"/>
              <a:gd name="connsiteX11" fmla="*/ 2507976 w 2986607"/>
              <a:gd name="connsiteY11" fmla="*/ 21565 h 1027599"/>
              <a:gd name="connsiteX12" fmla="*/ 2467495 w 2986607"/>
              <a:gd name="connsiteY12" fmla="*/ 35853 h 1027599"/>
              <a:gd name="connsiteX13" fmla="*/ 2441301 w 2986607"/>
              <a:gd name="connsiteY13" fmla="*/ 45378 h 1027599"/>
              <a:gd name="connsiteX14" fmla="*/ 2415107 w 2986607"/>
              <a:gd name="connsiteY14" fmla="*/ 45378 h 1027599"/>
              <a:gd name="connsiteX15" fmla="*/ 2386532 w 2986607"/>
              <a:gd name="connsiteY15" fmla="*/ 45378 h 1027599"/>
              <a:gd name="connsiteX16" fmla="*/ 2360339 w 2986607"/>
              <a:gd name="connsiteY16" fmla="*/ 45378 h 1027599"/>
              <a:gd name="connsiteX17" fmla="*/ 2346051 w 2986607"/>
              <a:gd name="connsiteY17" fmla="*/ 45378 h 1027599"/>
              <a:gd name="connsiteX18" fmla="*/ 2338907 w 2986607"/>
              <a:gd name="connsiteY18" fmla="*/ 45378 h 1027599"/>
              <a:gd name="connsiteX19" fmla="*/ 2310332 w 2986607"/>
              <a:gd name="connsiteY19" fmla="*/ 78715 h 1027599"/>
              <a:gd name="connsiteX20" fmla="*/ 2291282 w 2986607"/>
              <a:gd name="connsiteY20" fmla="*/ 114434 h 1027599"/>
              <a:gd name="connsiteX21" fmla="*/ 2250801 w 2986607"/>
              <a:gd name="connsiteY21" fmla="*/ 135865 h 1027599"/>
              <a:gd name="connsiteX22" fmla="*/ 2210320 w 2986607"/>
              <a:gd name="connsiteY22" fmla="*/ 190634 h 1027599"/>
              <a:gd name="connsiteX23" fmla="*/ 2181745 w 2986607"/>
              <a:gd name="connsiteY23" fmla="*/ 228734 h 1027599"/>
              <a:gd name="connsiteX24" fmla="*/ 2084114 w 2986607"/>
              <a:gd name="connsiteY24" fmla="*/ 312078 h 1027599"/>
              <a:gd name="connsiteX25" fmla="*/ 2031726 w 2986607"/>
              <a:gd name="connsiteY25" fmla="*/ 316840 h 1027599"/>
              <a:gd name="connsiteX26" fmla="*/ 1996007 w 2986607"/>
              <a:gd name="connsiteY26" fmla="*/ 309697 h 1027599"/>
              <a:gd name="connsiteX27" fmla="*/ 1907901 w 2986607"/>
              <a:gd name="connsiteY27" fmla="*/ 281122 h 1027599"/>
              <a:gd name="connsiteX28" fmla="*/ 1841226 w 2986607"/>
              <a:gd name="connsiteY28" fmla="*/ 281122 h 1027599"/>
              <a:gd name="connsiteX29" fmla="*/ 1786457 w 2986607"/>
              <a:gd name="connsiteY29" fmla="*/ 304934 h 1027599"/>
              <a:gd name="connsiteX30" fmla="*/ 1750739 w 2986607"/>
              <a:gd name="connsiteY30" fmla="*/ 319222 h 1027599"/>
              <a:gd name="connsiteX31" fmla="*/ 1724545 w 2986607"/>
              <a:gd name="connsiteY31" fmla="*/ 323984 h 1027599"/>
              <a:gd name="connsiteX32" fmla="*/ 1681682 w 2986607"/>
              <a:gd name="connsiteY32" fmla="*/ 331128 h 1027599"/>
              <a:gd name="connsiteX33" fmla="*/ 1641201 w 2986607"/>
              <a:gd name="connsiteY33" fmla="*/ 338272 h 1027599"/>
              <a:gd name="connsiteX34" fmla="*/ 1617389 w 2986607"/>
              <a:gd name="connsiteY34" fmla="*/ 357322 h 1027599"/>
              <a:gd name="connsiteX35" fmla="*/ 1600720 w 2986607"/>
              <a:gd name="connsiteY35" fmla="*/ 371609 h 1027599"/>
              <a:gd name="connsiteX36" fmla="*/ 1584051 w 2986607"/>
              <a:gd name="connsiteY36" fmla="*/ 376372 h 1027599"/>
              <a:gd name="connsiteX37" fmla="*/ 1541189 w 2986607"/>
              <a:gd name="connsiteY37" fmla="*/ 378753 h 1027599"/>
              <a:gd name="connsiteX38" fmla="*/ 1431651 w 2986607"/>
              <a:gd name="connsiteY38" fmla="*/ 414472 h 1027599"/>
              <a:gd name="connsiteX39" fmla="*/ 1410220 w 2986607"/>
              <a:gd name="connsiteY39" fmla="*/ 428759 h 1027599"/>
              <a:gd name="connsiteX40" fmla="*/ 1400695 w 2986607"/>
              <a:gd name="connsiteY40" fmla="*/ 443047 h 1027599"/>
              <a:gd name="connsiteX41" fmla="*/ 1326876 w 2986607"/>
              <a:gd name="connsiteY41" fmla="*/ 493053 h 1027599"/>
              <a:gd name="connsiteX42" fmla="*/ 1210195 w 2986607"/>
              <a:gd name="connsiteY42" fmla="*/ 559728 h 1027599"/>
              <a:gd name="connsiteX43" fmla="*/ 1153045 w 2986607"/>
              <a:gd name="connsiteY43" fmla="*/ 593065 h 1027599"/>
              <a:gd name="connsiteX44" fmla="*/ 1095895 w 2986607"/>
              <a:gd name="connsiteY44" fmla="*/ 621640 h 1027599"/>
              <a:gd name="connsiteX45" fmla="*/ 1055414 w 2986607"/>
              <a:gd name="connsiteY45" fmla="*/ 638309 h 1027599"/>
              <a:gd name="connsiteX46" fmla="*/ 998264 w 2986607"/>
              <a:gd name="connsiteY46" fmla="*/ 674028 h 1027599"/>
              <a:gd name="connsiteX47" fmla="*/ 905395 w 2986607"/>
              <a:gd name="connsiteY47" fmla="*/ 740703 h 1027599"/>
              <a:gd name="connsiteX48" fmla="*/ 831576 w 2986607"/>
              <a:gd name="connsiteY48" fmla="*/ 788328 h 1027599"/>
              <a:gd name="connsiteX49" fmla="*/ 779189 w 2986607"/>
              <a:gd name="connsiteY49" fmla="*/ 809759 h 1027599"/>
              <a:gd name="connsiteX50" fmla="*/ 750614 w 2986607"/>
              <a:gd name="connsiteY50" fmla="*/ 809759 h 1027599"/>
              <a:gd name="connsiteX51" fmla="*/ 714895 w 2986607"/>
              <a:gd name="connsiteY51" fmla="*/ 812140 h 1027599"/>
              <a:gd name="connsiteX52" fmla="*/ 624407 w 2986607"/>
              <a:gd name="connsiteY52" fmla="*/ 883578 h 1027599"/>
              <a:gd name="connsiteX53" fmla="*/ 543445 w 2986607"/>
              <a:gd name="connsiteY53" fmla="*/ 938347 h 1027599"/>
              <a:gd name="connsiteX54" fmla="*/ 429145 w 2986607"/>
              <a:gd name="connsiteY54" fmla="*/ 1021690 h 1027599"/>
              <a:gd name="connsiteX55" fmla="*/ 410095 w 2986607"/>
              <a:gd name="connsiteY55" fmla="*/ 1014547 h 1027599"/>
              <a:gd name="connsiteX56" fmla="*/ 381520 w 2986607"/>
              <a:gd name="connsiteY56" fmla="*/ 964540 h 1027599"/>
              <a:gd name="connsiteX57" fmla="*/ 362470 w 2986607"/>
              <a:gd name="connsiteY57" fmla="*/ 955015 h 1027599"/>
              <a:gd name="connsiteX58" fmla="*/ 317226 w 2986607"/>
              <a:gd name="connsiteY58" fmla="*/ 921678 h 1027599"/>
              <a:gd name="connsiteX59" fmla="*/ 300557 w 2986607"/>
              <a:gd name="connsiteY59" fmla="*/ 890722 h 1027599"/>
              <a:gd name="connsiteX60" fmla="*/ 288651 w 2986607"/>
              <a:gd name="connsiteY60" fmla="*/ 843097 h 1027599"/>
              <a:gd name="connsiteX61" fmla="*/ 276745 w 2986607"/>
              <a:gd name="connsiteY61" fmla="*/ 821665 h 1027599"/>
              <a:gd name="connsiteX62" fmla="*/ 248170 w 2986607"/>
              <a:gd name="connsiteY62" fmla="*/ 807378 h 1027599"/>
              <a:gd name="connsiteX63" fmla="*/ 221976 w 2986607"/>
              <a:gd name="connsiteY63" fmla="*/ 783565 h 1027599"/>
              <a:gd name="connsiteX64" fmla="*/ 202926 w 2986607"/>
              <a:gd name="connsiteY64" fmla="*/ 778803 h 1027599"/>
              <a:gd name="connsiteX65" fmla="*/ 183876 w 2986607"/>
              <a:gd name="connsiteY65" fmla="*/ 735940 h 1027599"/>
              <a:gd name="connsiteX66" fmla="*/ 157682 w 2986607"/>
              <a:gd name="connsiteY66" fmla="*/ 712128 h 1027599"/>
              <a:gd name="connsiteX67" fmla="*/ 145776 w 2986607"/>
              <a:gd name="connsiteY67" fmla="*/ 669265 h 1027599"/>
              <a:gd name="connsiteX68" fmla="*/ 114820 w 2986607"/>
              <a:gd name="connsiteY68" fmla="*/ 635928 h 1027599"/>
              <a:gd name="connsiteX69" fmla="*/ 93389 w 2986607"/>
              <a:gd name="connsiteY69" fmla="*/ 597828 h 1027599"/>
              <a:gd name="connsiteX70" fmla="*/ 88626 w 2986607"/>
              <a:gd name="connsiteY70" fmla="*/ 583540 h 1027599"/>
              <a:gd name="connsiteX71" fmla="*/ 45764 w 2986607"/>
              <a:gd name="connsiteY71" fmla="*/ 519247 h 1027599"/>
              <a:gd name="connsiteX72" fmla="*/ 5283 w 2986607"/>
              <a:gd name="connsiteY72" fmla="*/ 445428 h 1027599"/>
              <a:gd name="connsiteX0" fmla="*/ 2961186 w 2961186"/>
              <a:gd name="connsiteY0" fmla="*/ 12040 h 1027599"/>
              <a:gd name="connsiteX1" fmla="*/ 2904036 w 2961186"/>
              <a:gd name="connsiteY1" fmla="*/ 4897 h 1027599"/>
              <a:gd name="connsiteX2" fmla="*/ 2830218 w 2961186"/>
              <a:gd name="connsiteY2" fmla="*/ 76334 h 1027599"/>
              <a:gd name="connsiteX3" fmla="*/ 2820693 w 2961186"/>
              <a:gd name="connsiteY3" fmla="*/ 83478 h 1027599"/>
              <a:gd name="connsiteX4" fmla="*/ 2746874 w 2961186"/>
              <a:gd name="connsiteY4" fmla="*/ 121578 h 1027599"/>
              <a:gd name="connsiteX5" fmla="*/ 2723061 w 2961186"/>
              <a:gd name="connsiteY5" fmla="*/ 93003 h 1027599"/>
              <a:gd name="connsiteX6" fmla="*/ 2649243 w 2961186"/>
              <a:gd name="connsiteY6" fmla="*/ 50140 h 1027599"/>
              <a:gd name="connsiteX7" fmla="*/ 2594474 w 2961186"/>
              <a:gd name="connsiteY7" fmla="*/ 26328 h 1027599"/>
              <a:gd name="connsiteX8" fmla="*/ 2549230 w 2961186"/>
              <a:gd name="connsiteY8" fmla="*/ 26328 h 1027599"/>
              <a:gd name="connsiteX9" fmla="*/ 2518274 w 2961186"/>
              <a:gd name="connsiteY9" fmla="*/ 28709 h 1027599"/>
              <a:gd name="connsiteX10" fmla="*/ 2503986 w 2961186"/>
              <a:gd name="connsiteY10" fmla="*/ 28709 h 1027599"/>
              <a:gd name="connsiteX11" fmla="*/ 2482555 w 2961186"/>
              <a:gd name="connsiteY11" fmla="*/ 21565 h 1027599"/>
              <a:gd name="connsiteX12" fmla="*/ 2442074 w 2961186"/>
              <a:gd name="connsiteY12" fmla="*/ 35853 h 1027599"/>
              <a:gd name="connsiteX13" fmla="*/ 2415880 w 2961186"/>
              <a:gd name="connsiteY13" fmla="*/ 45378 h 1027599"/>
              <a:gd name="connsiteX14" fmla="*/ 2389686 w 2961186"/>
              <a:gd name="connsiteY14" fmla="*/ 45378 h 1027599"/>
              <a:gd name="connsiteX15" fmla="*/ 2361111 w 2961186"/>
              <a:gd name="connsiteY15" fmla="*/ 45378 h 1027599"/>
              <a:gd name="connsiteX16" fmla="*/ 2334918 w 2961186"/>
              <a:gd name="connsiteY16" fmla="*/ 45378 h 1027599"/>
              <a:gd name="connsiteX17" fmla="*/ 2320630 w 2961186"/>
              <a:gd name="connsiteY17" fmla="*/ 45378 h 1027599"/>
              <a:gd name="connsiteX18" fmla="*/ 2313486 w 2961186"/>
              <a:gd name="connsiteY18" fmla="*/ 45378 h 1027599"/>
              <a:gd name="connsiteX19" fmla="*/ 2284911 w 2961186"/>
              <a:gd name="connsiteY19" fmla="*/ 78715 h 1027599"/>
              <a:gd name="connsiteX20" fmla="*/ 2265861 w 2961186"/>
              <a:gd name="connsiteY20" fmla="*/ 114434 h 1027599"/>
              <a:gd name="connsiteX21" fmla="*/ 2225380 w 2961186"/>
              <a:gd name="connsiteY21" fmla="*/ 135865 h 1027599"/>
              <a:gd name="connsiteX22" fmla="*/ 2184899 w 2961186"/>
              <a:gd name="connsiteY22" fmla="*/ 190634 h 1027599"/>
              <a:gd name="connsiteX23" fmla="*/ 2156324 w 2961186"/>
              <a:gd name="connsiteY23" fmla="*/ 228734 h 1027599"/>
              <a:gd name="connsiteX24" fmla="*/ 2058693 w 2961186"/>
              <a:gd name="connsiteY24" fmla="*/ 312078 h 1027599"/>
              <a:gd name="connsiteX25" fmla="*/ 2006305 w 2961186"/>
              <a:gd name="connsiteY25" fmla="*/ 316840 h 1027599"/>
              <a:gd name="connsiteX26" fmla="*/ 1970586 w 2961186"/>
              <a:gd name="connsiteY26" fmla="*/ 309697 h 1027599"/>
              <a:gd name="connsiteX27" fmla="*/ 1882480 w 2961186"/>
              <a:gd name="connsiteY27" fmla="*/ 281122 h 1027599"/>
              <a:gd name="connsiteX28" fmla="*/ 1815805 w 2961186"/>
              <a:gd name="connsiteY28" fmla="*/ 281122 h 1027599"/>
              <a:gd name="connsiteX29" fmla="*/ 1761036 w 2961186"/>
              <a:gd name="connsiteY29" fmla="*/ 304934 h 1027599"/>
              <a:gd name="connsiteX30" fmla="*/ 1725318 w 2961186"/>
              <a:gd name="connsiteY30" fmla="*/ 319222 h 1027599"/>
              <a:gd name="connsiteX31" fmla="*/ 1699124 w 2961186"/>
              <a:gd name="connsiteY31" fmla="*/ 323984 h 1027599"/>
              <a:gd name="connsiteX32" fmla="*/ 1656261 w 2961186"/>
              <a:gd name="connsiteY32" fmla="*/ 331128 h 1027599"/>
              <a:gd name="connsiteX33" fmla="*/ 1615780 w 2961186"/>
              <a:gd name="connsiteY33" fmla="*/ 338272 h 1027599"/>
              <a:gd name="connsiteX34" fmla="*/ 1591968 w 2961186"/>
              <a:gd name="connsiteY34" fmla="*/ 357322 h 1027599"/>
              <a:gd name="connsiteX35" fmla="*/ 1575299 w 2961186"/>
              <a:gd name="connsiteY35" fmla="*/ 371609 h 1027599"/>
              <a:gd name="connsiteX36" fmla="*/ 1558630 w 2961186"/>
              <a:gd name="connsiteY36" fmla="*/ 376372 h 1027599"/>
              <a:gd name="connsiteX37" fmla="*/ 1515768 w 2961186"/>
              <a:gd name="connsiteY37" fmla="*/ 378753 h 1027599"/>
              <a:gd name="connsiteX38" fmla="*/ 1406230 w 2961186"/>
              <a:gd name="connsiteY38" fmla="*/ 414472 h 1027599"/>
              <a:gd name="connsiteX39" fmla="*/ 1384799 w 2961186"/>
              <a:gd name="connsiteY39" fmla="*/ 428759 h 1027599"/>
              <a:gd name="connsiteX40" fmla="*/ 1375274 w 2961186"/>
              <a:gd name="connsiteY40" fmla="*/ 443047 h 1027599"/>
              <a:gd name="connsiteX41" fmla="*/ 1301455 w 2961186"/>
              <a:gd name="connsiteY41" fmla="*/ 493053 h 1027599"/>
              <a:gd name="connsiteX42" fmla="*/ 1184774 w 2961186"/>
              <a:gd name="connsiteY42" fmla="*/ 559728 h 1027599"/>
              <a:gd name="connsiteX43" fmla="*/ 1127624 w 2961186"/>
              <a:gd name="connsiteY43" fmla="*/ 593065 h 1027599"/>
              <a:gd name="connsiteX44" fmla="*/ 1070474 w 2961186"/>
              <a:gd name="connsiteY44" fmla="*/ 621640 h 1027599"/>
              <a:gd name="connsiteX45" fmla="*/ 1029993 w 2961186"/>
              <a:gd name="connsiteY45" fmla="*/ 638309 h 1027599"/>
              <a:gd name="connsiteX46" fmla="*/ 972843 w 2961186"/>
              <a:gd name="connsiteY46" fmla="*/ 674028 h 1027599"/>
              <a:gd name="connsiteX47" fmla="*/ 879974 w 2961186"/>
              <a:gd name="connsiteY47" fmla="*/ 740703 h 1027599"/>
              <a:gd name="connsiteX48" fmla="*/ 806155 w 2961186"/>
              <a:gd name="connsiteY48" fmla="*/ 788328 h 1027599"/>
              <a:gd name="connsiteX49" fmla="*/ 753768 w 2961186"/>
              <a:gd name="connsiteY49" fmla="*/ 809759 h 1027599"/>
              <a:gd name="connsiteX50" fmla="*/ 725193 w 2961186"/>
              <a:gd name="connsiteY50" fmla="*/ 809759 h 1027599"/>
              <a:gd name="connsiteX51" fmla="*/ 689474 w 2961186"/>
              <a:gd name="connsiteY51" fmla="*/ 812140 h 1027599"/>
              <a:gd name="connsiteX52" fmla="*/ 598986 w 2961186"/>
              <a:gd name="connsiteY52" fmla="*/ 883578 h 1027599"/>
              <a:gd name="connsiteX53" fmla="*/ 518024 w 2961186"/>
              <a:gd name="connsiteY53" fmla="*/ 938347 h 1027599"/>
              <a:gd name="connsiteX54" fmla="*/ 403724 w 2961186"/>
              <a:gd name="connsiteY54" fmla="*/ 1021690 h 1027599"/>
              <a:gd name="connsiteX55" fmla="*/ 384674 w 2961186"/>
              <a:gd name="connsiteY55" fmla="*/ 1014547 h 1027599"/>
              <a:gd name="connsiteX56" fmla="*/ 356099 w 2961186"/>
              <a:gd name="connsiteY56" fmla="*/ 964540 h 1027599"/>
              <a:gd name="connsiteX57" fmla="*/ 337049 w 2961186"/>
              <a:gd name="connsiteY57" fmla="*/ 955015 h 1027599"/>
              <a:gd name="connsiteX58" fmla="*/ 291805 w 2961186"/>
              <a:gd name="connsiteY58" fmla="*/ 921678 h 1027599"/>
              <a:gd name="connsiteX59" fmla="*/ 275136 w 2961186"/>
              <a:gd name="connsiteY59" fmla="*/ 890722 h 1027599"/>
              <a:gd name="connsiteX60" fmla="*/ 263230 w 2961186"/>
              <a:gd name="connsiteY60" fmla="*/ 843097 h 1027599"/>
              <a:gd name="connsiteX61" fmla="*/ 251324 w 2961186"/>
              <a:gd name="connsiteY61" fmla="*/ 821665 h 1027599"/>
              <a:gd name="connsiteX62" fmla="*/ 222749 w 2961186"/>
              <a:gd name="connsiteY62" fmla="*/ 807378 h 1027599"/>
              <a:gd name="connsiteX63" fmla="*/ 196555 w 2961186"/>
              <a:gd name="connsiteY63" fmla="*/ 783565 h 1027599"/>
              <a:gd name="connsiteX64" fmla="*/ 177505 w 2961186"/>
              <a:gd name="connsiteY64" fmla="*/ 778803 h 1027599"/>
              <a:gd name="connsiteX65" fmla="*/ 158455 w 2961186"/>
              <a:gd name="connsiteY65" fmla="*/ 735940 h 1027599"/>
              <a:gd name="connsiteX66" fmla="*/ 132261 w 2961186"/>
              <a:gd name="connsiteY66" fmla="*/ 712128 h 1027599"/>
              <a:gd name="connsiteX67" fmla="*/ 120355 w 2961186"/>
              <a:gd name="connsiteY67" fmla="*/ 669265 h 1027599"/>
              <a:gd name="connsiteX68" fmla="*/ 89399 w 2961186"/>
              <a:gd name="connsiteY68" fmla="*/ 635928 h 1027599"/>
              <a:gd name="connsiteX69" fmla="*/ 67968 w 2961186"/>
              <a:gd name="connsiteY69" fmla="*/ 597828 h 1027599"/>
              <a:gd name="connsiteX70" fmla="*/ 63205 w 2961186"/>
              <a:gd name="connsiteY70" fmla="*/ 583540 h 1027599"/>
              <a:gd name="connsiteX71" fmla="*/ 20343 w 2961186"/>
              <a:gd name="connsiteY71" fmla="*/ 519247 h 1027599"/>
              <a:gd name="connsiteX72" fmla="*/ 8437 w 2961186"/>
              <a:gd name="connsiteY72" fmla="*/ 474003 h 1027599"/>
              <a:gd name="connsiteX0" fmla="*/ 2940843 w 2940843"/>
              <a:gd name="connsiteY0" fmla="*/ 12040 h 1027599"/>
              <a:gd name="connsiteX1" fmla="*/ 2883693 w 2940843"/>
              <a:gd name="connsiteY1" fmla="*/ 4897 h 1027599"/>
              <a:gd name="connsiteX2" fmla="*/ 2809875 w 2940843"/>
              <a:gd name="connsiteY2" fmla="*/ 76334 h 1027599"/>
              <a:gd name="connsiteX3" fmla="*/ 2800350 w 2940843"/>
              <a:gd name="connsiteY3" fmla="*/ 83478 h 1027599"/>
              <a:gd name="connsiteX4" fmla="*/ 2726531 w 2940843"/>
              <a:gd name="connsiteY4" fmla="*/ 121578 h 1027599"/>
              <a:gd name="connsiteX5" fmla="*/ 2702718 w 2940843"/>
              <a:gd name="connsiteY5" fmla="*/ 93003 h 1027599"/>
              <a:gd name="connsiteX6" fmla="*/ 2628900 w 2940843"/>
              <a:gd name="connsiteY6" fmla="*/ 50140 h 1027599"/>
              <a:gd name="connsiteX7" fmla="*/ 2574131 w 2940843"/>
              <a:gd name="connsiteY7" fmla="*/ 26328 h 1027599"/>
              <a:gd name="connsiteX8" fmla="*/ 2528887 w 2940843"/>
              <a:gd name="connsiteY8" fmla="*/ 26328 h 1027599"/>
              <a:gd name="connsiteX9" fmla="*/ 2497931 w 2940843"/>
              <a:gd name="connsiteY9" fmla="*/ 28709 h 1027599"/>
              <a:gd name="connsiteX10" fmla="*/ 2483643 w 2940843"/>
              <a:gd name="connsiteY10" fmla="*/ 28709 h 1027599"/>
              <a:gd name="connsiteX11" fmla="*/ 2462212 w 2940843"/>
              <a:gd name="connsiteY11" fmla="*/ 21565 h 1027599"/>
              <a:gd name="connsiteX12" fmla="*/ 2421731 w 2940843"/>
              <a:gd name="connsiteY12" fmla="*/ 35853 h 1027599"/>
              <a:gd name="connsiteX13" fmla="*/ 2395537 w 2940843"/>
              <a:gd name="connsiteY13" fmla="*/ 45378 h 1027599"/>
              <a:gd name="connsiteX14" fmla="*/ 2369343 w 2940843"/>
              <a:gd name="connsiteY14" fmla="*/ 45378 h 1027599"/>
              <a:gd name="connsiteX15" fmla="*/ 2340768 w 2940843"/>
              <a:gd name="connsiteY15" fmla="*/ 45378 h 1027599"/>
              <a:gd name="connsiteX16" fmla="*/ 2314575 w 2940843"/>
              <a:gd name="connsiteY16" fmla="*/ 45378 h 1027599"/>
              <a:gd name="connsiteX17" fmla="*/ 2300287 w 2940843"/>
              <a:gd name="connsiteY17" fmla="*/ 45378 h 1027599"/>
              <a:gd name="connsiteX18" fmla="*/ 2293143 w 2940843"/>
              <a:gd name="connsiteY18" fmla="*/ 45378 h 1027599"/>
              <a:gd name="connsiteX19" fmla="*/ 2264568 w 2940843"/>
              <a:gd name="connsiteY19" fmla="*/ 78715 h 1027599"/>
              <a:gd name="connsiteX20" fmla="*/ 2245518 w 2940843"/>
              <a:gd name="connsiteY20" fmla="*/ 114434 h 1027599"/>
              <a:gd name="connsiteX21" fmla="*/ 2205037 w 2940843"/>
              <a:gd name="connsiteY21" fmla="*/ 135865 h 1027599"/>
              <a:gd name="connsiteX22" fmla="*/ 2164556 w 2940843"/>
              <a:gd name="connsiteY22" fmla="*/ 190634 h 1027599"/>
              <a:gd name="connsiteX23" fmla="*/ 2135981 w 2940843"/>
              <a:gd name="connsiteY23" fmla="*/ 228734 h 1027599"/>
              <a:gd name="connsiteX24" fmla="*/ 2038350 w 2940843"/>
              <a:gd name="connsiteY24" fmla="*/ 312078 h 1027599"/>
              <a:gd name="connsiteX25" fmla="*/ 1985962 w 2940843"/>
              <a:gd name="connsiteY25" fmla="*/ 316840 h 1027599"/>
              <a:gd name="connsiteX26" fmla="*/ 1950243 w 2940843"/>
              <a:gd name="connsiteY26" fmla="*/ 309697 h 1027599"/>
              <a:gd name="connsiteX27" fmla="*/ 1862137 w 2940843"/>
              <a:gd name="connsiteY27" fmla="*/ 281122 h 1027599"/>
              <a:gd name="connsiteX28" fmla="*/ 1795462 w 2940843"/>
              <a:gd name="connsiteY28" fmla="*/ 281122 h 1027599"/>
              <a:gd name="connsiteX29" fmla="*/ 1740693 w 2940843"/>
              <a:gd name="connsiteY29" fmla="*/ 304934 h 1027599"/>
              <a:gd name="connsiteX30" fmla="*/ 1704975 w 2940843"/>
              <a:gd name="connsiteY30" fmla="*/ 319222 h 1027599"/>
              <a:gd name="connsiteX31" fmla="*/ 1678781 w 2940843"/>
              <a:gd name="connsiteY31" fmla="*/ 323984 h 1027599"/>
              <a:gd name="connsiteX32" fmla="*/ 1635918 w 2940843"/>
              <a:gd name="connsiteY32" fmla="*/ 331128 h 1027599"/>
              <a:gd name="connsiteX33" fmla="*/ 1595437 w 2940843"/>
              <a:gd name="connsiteY33" fmla="*/ 338272 h 1027599"/>
              <a:gd name="connsiteX34" fmla="*/ 1571625 w 2940843"/>
              <a:gd name="connsiteY34" fmla="*/ 357322 h 1027599"/>
              <a:gd name="connsiteX35" fmla="*/ 1554956 w 2940843"/>
              <a:gd name="connsiteY35" fmla="*/ 371609 h 1027599"/>
              <a:gd name="connsiteX36" fmla="*/ 1538287 w 2940843"/>
              <a:gd name="connsiteY36" fmla="*/ 376372 h 1027599"/>
              <a:gd name="connsiteX37" fmla="*/ 1495425 w 2940843"/>
              <a:gd name="connsiteY37" fmla="*/ 378753 h 1027599"/>
              <a:gd name="connsiteX38" fmla="*/ 1385887 w 2940843"/>
              <a:gd name="connsiteY38" fmla="*/ 414472 h 1027599"/>
              <a:gd name="connsiteX39" fmla="*/ 1364456 w 2940843"/>
              <a:gd name="connsiteY39" fmla="*/ 428759 h 1027599"/>
              <a:gd name="connsiteX40" fmla="*/ 1354931 w 2940843"/>
              <a:gd name="connsiteY40" fmla="*/ 443047 h 1027599"/>
              <a:gd name="connsiteX41" fmla="*/ 1281112 w 2940843"/>
              <a:gd name="connsiteY41" fmla="*/ 493053 h 1027599"/>
              <a:gd name="connsiteX42" fmla="*/ 1164431 w 2940843"/>
              <a:gd name="connsiteY42" fmla="*/ 559728 h 1027599"/>
              <a:gd name="connsiteX43" fmla="*/ 1107281 w 2940843"/>
              <a:gd name="connsiteY43" fmla="*/ 593065 h 1027599"/>
              <a:gd name="connsiteX44" fmla="*/ 1050131 w 2940843"/>
              <a:gd name="connsiteY44" fmla="*/ 621640 h 1027599"/>
              <a:gd name="connsiteX45" fmla="*/ 1009650 w 2940843"/>
              <a:gd name="connsiteY45" fmla="*/ 638309 h 1027599"/>
              <a:gd name="connsiteX46" fmla="*/ 952500 w 2940843"/>
              <a:gd name="connsiteY46" fmla="*/ 674028 h 1027599"/>
              <a:gd name="connsiteX47" fmla="*/ 859631 w 2940843"/>
              <a:gd name="connsiteY47" fmla="*/ 740703 h 1027599"/>
              <a:gd name="connsiteX48" fmla="*/ 785812 w 2940843"/>
              <a:gd name="connsiteY48" fmla="*/ 788328 h 1027599"/>
              <a:gd name="connsiteX49" fmla="*/ 733425 w 2940843"/>
              <a:gd name="connsiteY49" fmla="*/ 809759 h 1027599"/>
              <a:gd name="connsiteX50" fmla="*/ 704850 w 2940843"/>
              <a:gd name="connsiteY50" fmla="*/ 809759 h 1027599"/>
              <a:gd name="connsiteX51" fmla="*/ 669131 w 2940843"/>
              <a:gd name="connsiteY51" fmla="*/ 812140 h 1027599"/>
              <a:gd name="connsiteX52" fmla="*/ 578643 w 2940843"/>
              <a:gd name="connsiteY52" fmla="*/ 883578 h 1027599"/>
              <a:gd name="connsiteX53" fmla="*/ 497681 w 2940843"/>
              <a:gd name="connsiteY53" fmla="*/ 938347 h 1027599"/>
              <a:gd name="connsiteX54" fmla="*/ 383381 w 2940843"/>
              <a:gd name="connsiteY54" fmla="*/ 1021690 h 1027599"/>
              <a:gd name="connsiteX55" fmla="*/ 364331 w 2940843"/>
              <a:gd name="connsiteY55" fmla="*/ 1014547 h 1027599"/>
              <a:gd name="connsiteX56" fmla="*/ 335756 w 2940843"/>
              <a:gd name="connsiteY56" fmla="*/ 964540 h 1027599"/>
              <a:gd name="connsiteX57" fmla="*/ 316706 w 2940843"/>
              <a:gd name="connsiteY57" fmla="*/ 955015 h 1027599"/>
              <a:gd name="connsiteX58" fmla="*/ 271462 w 2940843"/>
              <a:gd name="connsiteY58" fmla="*/ 921678 h 1027599"/>
              <a:gd name="connsiteX59" fmla="*/ 254793 w 2940843"/>
              <a:gd name="connsiteY59" fmla="*/ 890722 h 1027599"/>
              <a:gd name="connsiteX60" fmla="*/ 242887 w 2940843"/>
              <a:gd name="connsiteY60" fmla="*/ 843097 h 1027599"/>
              <a:gd name="connsiteX61" fmla="*/ 230981 w 2940843"/>
              <a:gd name="connsiteY61" fmla="*/ 821665 h 1027599"/>
              <a:gd name="connsiteX62" fmla="*/ 202406 w 2940843"/>
              <a:gd name="connsiteY62" fmla="*/ 807378 h 1027599"/>
              <a:gd name="connsiteX63" fmla="*/ 176212 w 2940843"/>
              <a:gd name="connsiteY63" fmla="*/ 783565 h 1027599"/>
              <a:gd name="connsiteX64" fmla="*/ 157162 w 2940843"/>
              <a:gd name="connsiteY64" fmla="*/ 778803 h 1027599"/>
              <a:gd name="connsiteX65" fmla="*/ 138112 w 2940843"/>
              <a:gd name="connsiteY65" fmla="*/ 735940 h 1027599"/>
              <a:gd name="connsiteX66" fmla="*/ 111918 w 2940843"/>
              <a:gd name="connsiteY66" fmla="*/ 712128 h 1027599"/>
              <a:gd name="connsiteX67" fmla="*/ 100012 w 2940843"/>
              <a:gd name="connsiteY67" fmla="*/ 669265 h 1027599"/>
              <a:gd name="connsiteX68" fmla="*/ 69056 w 2940843"/>
              <a:gd name="connsiteY68" fmla="*/ 635928 h 1027599"/>
              <a:gd name="connsiteX69" fmla="*/ 47625 w 2940843"/>
              <a:gd name="connsiteY69" fmla="*/ 597828 h 1027599"/>
              <a:gd name="connsiteX70" fmla="*/ 42862 w 2940843"/>
              <a:gd name="connsiteY70" fmla="*/ 583540 h 1027599"/>
              <a:gd name="connsiteX71" fmla="*/ 0 w 2940843"/>
              <a:gd name="connsiteY71" fmla="*/ 519247 h 1027599"/>
              <a:gd name="connsiteX0" fmla="*/ 2944797 w 2944797"/>
              <a:gd name="connsiteY0" fmla="*/ 12040 h 1027599"/>
              <a:gd name="connsiteX1" fmla="*/ 2887647 w 2944797"/>
              <a:gd name="connsiteY1" fmla="*/ 4897 h 1027599"/>
              <a:gd name="connsiteX2" fmla="*/ 2813829 w 2944797"/>
              <a:gd name="connsiteY2" fmla="*/ 76334 h 1027599"/>
              <a:gd name="connsiteX3" fmla="*/ 2804304 w 2944797"/>
              <a:gd name="connsiteY3" fmla="*/ 83478 h 1027599"/>
              <a:gd name="connsiteX4" fmla="*/ 2730485 w 2944797"/>
              <a:gd name="connsiteY4" fmla="*/ 121578 h 1027599"/>
              <a:gd name="connsiteX5" fmla="*/ 2706672 w 2944797"/>
              <a:gd name="connsiteY5" fmla="*/ 93003 h 1027599"/>
              <a:gd name="connsiteX6" fmla="*/ 2632854 w 2944797"/>
              <a:gd name="connsiteY6" fmla="*/ 50140 h 1027599"/>
              <a:gd name="connsiteX7" fmla="*/ 2578085 w 2944797"/>
              <a:gd name="connsiteY7" fmla="*/ 26328 h 1027599"/>
              <a:gd name="connsiteX8" fmla="*/ 2532841 w 2944797"/>
              <a:gd name="connsiteY8" fmla="*/ 26328 h 1027599"/>
              <a:gd name="connsiteX9" fmla="*/ 2501885 w 2944797"/>
              <a:gd name="connsiteY9" fmla="*/ 28709 h 1027599"/>
              <a:gd name="connsiteX10" fmla="*/ 2487597 w 2944797"/>
              <a:gd name="connsiteY10" fmla="*/ 28709 h 1027599"/>
              <a:gd name="connsiteX11" fmla="*/ 2466166 w 2944797"/>
              <a:gd name="connsiteY11" fmla="*/ 21565 h 1027599"/>
              <a:gd name="connsiteX12" fmla="*/ 2425685 w 2944797"/>
              <a:gd name="connsiteY12" fmla="*/ 35853 h 1027599"/>
              <a:gd name="connsiteX13" fmla="*/ 2399491 w 2944797"/>
              <a:gd name="connsiteY13" fmla="*/ 45378 h 1027599"/>
              <a:gd name="connsiteX14" fmla="*/ 2373297 w 2944797"/>
              <a:gd name="connsiteY14" fmla="*/ 45378 h 1027599"/>
              <a:gd name="connsiteX15" fmla="*/ 2344722 w 2944797"/>
              <a:gd name="connsiteY15" fmla="*/ 45378 h 1027599"/>
              <a:gd name="connsiteX16" fmla="*/ 2318529 w 2944797"/>
              <a:gd name="connsiteY16" fmla="*/ 45378 h 1027599"/>
              <a:gd name="connsiteX17" fmla="*/ 2304241 w 2944797"/>
              <a:gd name="connsiteY17" fmla="*/ 45378 h 1027599"/>
              <a:gd name="connsiteX18" fmla="*/ 2297097 w 2944797"/>
              <a:gd name="connsiteY18" fmla="*/ 45378 h 1027599"/>
              <a:gd name="connsiteX19" fmla="*/ 2268522 w 2944797"/>
              <a:gd name="connsiteY19" fmla="*/ 78715 h 1027599"/>
              <a:gd name="connsiteX20" fmla="*/ 2249472 w 2944797"/>
              <a:gd name="connsiteY20" fmla="*/ 114434 h 1027599"/>
              <a:gd name="connsiteX21" fmla="*/ 2208991 w 2944797"/>
              <a:gd name="connsiteY21" fmla="*/ 135865 h 1027599"/>
              <a:gd name="connsiteX22" fmla="*/ 2168510 w 2944797"/>
              <a:gd name="connsiteY22" fmla="*/ 190634 h 1027599"/>
              <a:gd name="connsiteX23" fmla="*/ 2139935 w 2944797"/>
              <a:gd name="connsiteY23" fmla="*/ 228734 h 1027599"/>
              <a:gd name="connsiteX24" fmla="*/ 2042304 w 2944797"/>
              <a:gd name="connsiteY24" fmla="*/ 312078 h 1027599"/>
              <a:gd name="connsiteX25" fmla="*/ 1989916 w 2944797"/>
              <a:gd name="connsiteY25" fmla="*/ 316840 h 1027599"/>
              <a:gd name="connsiteX26" fmla="*/ 1954197 w 2944797"/>
              <a:gd name="connsiteY26" fmla="*/ 309697 h 1027599"/>
              <a:gd name="connsiteX27" fmla="*/ 1866091 w 2944797"/>
              <a:gd name="connsiteY27" fmla="*/ 281122 h 1027599"/>
              <a:gd name="connsiteX28" fmla="*/ 1799416 w 2944797"/>
              <a:gd name="connsiteY28" fmla="*/ 281122 h 1027599"/>
              <a:gd name="connsiteX29" fmla="*/ 1744647 w 2944797"/>
              <a:gd name="connsiteY29" fmla="*/ 304934 h 1027599"/>
              <a:gd name="connsiteX30" fmla="*/ 1708929 w 2944797"/>
              <a:gd name="connsiteY30" fmla="*/ 319222 h 1027599"/>
              <a:gd name="connsiteX31" fmla="*/ 1682735 w 2944797"/>
              <a:gd name="connsiteY31" fmla="*/ 323984 h 1027599"/>
              <a:gd name="connsiteX32" fmla="*/ 1639872 w 2944797"/>
              <a:gd name="connsiteY32" fmla="*/ 331128 h 1027599"/>
              <a:gd name="connsiteX33" fmla="*/ 1599391 w 2944797"/>
              <a:gd name="connsiteY33" fmla="*/ 338272 h 1027599"/>
              <a:gd name="connsiteX34" fmla="*/ 1575579 w 2944797"/>
              <a:gd name="connsiteY34" fmla="*/ 357322 h 1027599"/>
              <a:gd name="connsiteX35" fmla="*/ 1558910 w 2944797"/>
              <a:gd name="connsiteY35" fmla="*/ 371609 h 1027599"/>
              <a:gd name="connsiteX36" fmla="*/ 1542241 w 2944797"/>
              <a:gd name="connsiteY36" fmla="*/ 376372 h 1027599"/>
              <a:gd name="connsiteX37" fmla="*/ 1499379 w 2944797"/>
              <a:gd name="connsiteY37" fmla="*/ 378753 h 1027599"/>
              <a:gd name="connsiteX38" fmla="*/ 1389841 w 2944797"/>
              <a:gd name="connsiteY38" fmla="*/ 414472 h 1027599"/>
              <a:gd name="connsiteX39" fmla="*/ 1368410 w 2944797"/>
              <a:gd name="connsiteY39" fmla="*/ 428759 h 1027599"/>
              <a:gd name="connsiteX40" fmla="*/ 1358885 w 2944797"/>
              <a:gd name="connsiteY40" fmla="*/ 443047 h 1027599"/>
              <a:gd name="connsiteX41" fmla="*/ 1285066 w 2944797"/>
              <a:gd name="connsiteY41" fmla="*/ 493053 h 1027599"/>
              <a:gd name="connsiteX42" fmla="*/ 1168385 w 2944797"/>
              <a:gd name="connsiteY42" fmla="*/ 559728 h 1027599"/>
              <a:gd name="connsiteX43" fmla="*/ 1111235 w 2944797"/>
              <a:gd name="connsiteY43" fmla="*/ 593065 h 1027599"/>
              <a:gd name="connsiteX44" fmla="*/ 1054085 w 2944797"/>
              <a:gd name="connsiteY44" fmla="*/ 621640 h 1027599"/>
              <a:gd name="connsiteX45" fmla="*/ 1013604 w 2944797"/>
              <a:gd name="connsiteY45" fmla="*/ 638309 h 1027599"/>
              <a:gd name="connsiteX46" fmla="*/ 956454 w 2944797"/>
              <a:gd name="connsiteY46" fmla="*/ 674028 h 1027599"/>
              <a:gd name="connsiteX47" fmla="*/ 863585 w 2944797"/>
              <a:gd name="connsiteY47" fmla="*/ 740703 h 1027599"/>
              <a:gd name="connsiteX48" fmla="*/ 789766 w 2944797"/>
              <a:gd name="connsiteY48" fmla="*/ 788328 h 1027599"/>
              <a:gd name="connsiteX49" fmla="*/ 737379 w 2944797"/>
              <a:gd name="connsiteY49" fmla="*/ 809759 h 1027599"/>
              <a:gd name="connsiteX50" fmla="*/ 708804 w 2944797"/>
              <a:gd name="connsiteY50" fmla="*/ 809759 h 1027599"/>
              <a:gd name="connsiteX51" fmla="*/ 673085 w 2944797"/>
              <a:gd name="connsiteY51" fmla="*/ 812140 h 1027599"/>
              <a:gd name="connsiteX52" fmla="*/ 582597 w 2944797"/>
              <a:gd name="connsiteY52" fmla="*/ 883578 h 1027599"/>
              <a:gd name="connsiteX53" fmla="*/ 501635 w 2944797"/>
              <a:gd name="connsiteY53" fmla="*/ 938347 h 1027599"/>
              <a:gd name="connsiteX54" fmla="*/ 387335 w 2944797"/>
              <a:gd name="connsiteY54" fmla="*/ 1021690 h 1027599"/>
              <a:gd name="connsiteX55" fmla="*/ 368285 w 2944797"/>
              <a:gd name="connsiteY55" fmla="*/ 1014547 h 1027599"/>
              <a:gd name="connsiteX56" fmla="*/ 339710 w 2944797"/>
              <a:gd name="connsiteY56" fmla="*/ 964540 h 1027599"/>
              <a:gd name="connsiteX57" fmla="*/ 320660 w 2944797"/>
              <a:gd name="connsiteY57" fmla="*/ 955015 h 1027599"/>
              <a:gd name="connsiteX58" fmla="*/ 275416 w 2944797"/>
              <a:gd name="connsiteY58" fmla="*/ 921678 h 1027599"/>
              <a:gd name="connsiteX59" fmla="*/ 258747 w 2944797"/>
              <a:gd name="connsiteY59" fmla="*/ 890722 h 1027599"/>
              <a:gd name="connsiteX60" fmla="*/ 246841 w 2944797"/>
              <a:gd name="connsiteY60" fmla="*/ 843097 h 1027599"/>
              <a:gd name="connsiteX61" fmla="*/ 234935 w 2944797"/>
              <a:gd name="connsiteY61" fmla="*/ 821665 h 1027599"/>
              <a:gd name="connsiteX62" fmla="*/ 206360 w 2944797"/>
              <a:gd name="connsiteY62" fmla="*/ 807378 h 1027599"/>
              <a:gd name="connsiteX63" fmla="*/ 180166 w 2944797"/>
              <a:gd name="connsiteY63" fmla="*/ 783565 h 1027599"/>
              <a:gd name="connsiteX64" fmla="*/ 161116 w 2944797"/>
              <a:gd name="connsiteY64" fmla="*/ 778803 h 1027599"/>
              <a:gd name="connsiteX65" fmla="*/ 142066 w 2944797"/>
              <a:gd name="connsiteY65" fmla="*/ 735940 h 1027599"/>
              <a:gd name="connsiteX66" fmla="*/ 115872 w 2944797"/>
              <a:gd name="connsiteY66" fmla="*/ 712128 h 1027599"/>
              <a:gd name="connsiteX67" fmla="*/ 103966 w 2944797"/>
              <a:gd name="connsiteY67" fmla="*/ 669265 h 1027599"/>
              <a:gd name="connsiteX68" fmla="*/ 73010 w 2944797"/>
              <a:gd name="connsiteY68" fmla="*/ 635928 h 1027599"/>
              <a:gd name="connsiteX69" fmla="*/ 51579 w 2944797"/>
              <a:gd name="connsiteY69" fmla="*/ 597828 h 1027599"/>
              <a:gd name="connsiteX70" fmla="*/ 46816 w 2944797"/>
              <a:gd name="connsiteY70" fmla="*/ 583540 h 1027599"/>
              <a:gd name="connsiteX71" fmla="*/ 3954 w 2944797"/>
              <a:gd name="connsiteY71" fmla="*/ 519247 h 1027599"/>
              <a:gd name="connsiteX72" fmla="*/ 1571 w 2944797"/>
              <a:gd name="connsiteY72" fmla="*/ 514484 h 1027599"/>
              <a:gd name="connsiteX0" fmla="*/ 2983707 w 2983707"/>
              <a:gd name="connsiteY0" fmla="*/ 12040 h 1027599"/>
              <a:gd name="connsiteX1" fmla="*/ 2926557 w 2983707"/>
              <a:gd name="connsiteY1" fmla="*/ 4897 h 1027599"/>
              <a:gd name="connsiteX2" fmla="*/ 2852739 w 2983707"/>
              <a:gd name="connsiteY2" fmla="*/ 76334 h 1027599"/>
              <a:gd name="connsiteX3" fmla="*/ 2843214 w 2983707"/>
              <a:gd name="connsiteY3" fmla="*/ 83478 h 1027599"/>
              <a:gd name="connsiteX4" fmla="*/ 2769395 w 2983707"/>
              <a:gd name="connsiteY4" fmla="*/ 121578 h 1027599"/>
              <a:gd name="connsiteX5" fmla="*/ 2745582 w 2983707"/>
              <a:gd name="connsiteY5" fmla="*/ 93003 h 1027599"/>
              <a:gd name="connsiteX6" fmla="*/ 2671764 w 2983707"/>
              <a:gd name="connsiteY6" fmla="*/ 50140 h 1027599"/>
              <a:gd name="connsiteX7" fmla="*/ 2616995 w 2983707"/>
              <a:gd name="connsiteY7" fmla="*/ 26328 h 1027599"/>
              <a:gd name="connsiteX8" fmla="*/ 2571751 w 2983707"/>
              <a:gd name="connsiteY8" fmla="*/ 26328 h 1027599"/>
              <a:gd name="connsiteX9" fmla="*/ 2540795 w 2983707"/>
              <a:gd name="connsiteY9" fmla="*/ 28709 h 1027599"/>
              <a:gd name="connsiteX10" fmla="*/ 2526507 w 2983707"/>
              <a:gd name="connsiteY10" fmla="*/ 28709 h 1027599"/>
              <a:gd name="connsiteX11" fmla="*/ 2505076 w 2983707"/>
              <a:gd name="connsiteY11" fmla="*/ 21565 h 1027599"/>
              <a:gd name="connsiteX12" fmla="*/ 2464595 w 2983707"/>
              <a:gd name="connsiteY12" fmla="*/ 35853 h 1027599"/>
              <a:gd name="connsiteX13" fmla="*/ 2438401 w 2983707"/>
              <a:gd name="connsiteY13" fmla="*/ 45378 h 1027599"/>
              <a:gd name="connsiteX14" fmla="*/ 2412207 w 2983707"/>
              <a:gd name="connsiteY14" fmla="*/ 45378 h 1027599"/>
              <a:gd name="connsiteX15" fmla="*/ 2383632 w 2983707"/>
              <a:gd name="connsiteY15" fmla="*/ 45378 h 1027599"/>
              <a:gd name="connsiteX16" fmla="*/ 2357439 w 2983707"/>
              <a:gd name="connsiteY16" fmla="*/ 45378 h 1027599"/>
              <a:gd name="connsiteX17" fmla="*/ 2343151 w 2983707"/>
              <a:gd name="connsiteY17" fmla="*/ 45378 h 1027599"/>
              <a:gd name="connsiteX18" fmla="*/ 2336007 w 2983707"/>
              <a:gd name="connsiteY18" fmla="*/ 45378 h 1027599"/>
              <a:gd name="connsiteX19" fmla="*/ 2307432 w 2983707"/>
              <a:gd name="connsiteY19" fmla="*/ 78715 h 1027599"/>
              <a:gd name="connsiteX20" fmla="*/ 2288382 w 2983707"/>
              <a:gd name="connsiteY20" fmla="*/ 114434 h 1027599"/>
              <a:gd name="connsiteX21" fmla="*/ 2247901 w 2983707"/>
              <a:gd name="connsiteY21" fmla="*/ 135865 h 1027599"/>
              <a:gd name="connsiteX22" fmla="*/ 2207420 w 2983707"/>
              <a:gd name="connsiteY22" fmla="*/ 190634 h 1027599"/>
              <a:gd name="connsiteX23" fmla="*/ 2178845 w 2983707"/>
              <a:gd name="connsiteY23" fmla="*/ 228734 h 1027599"/>
              <a:gd name="connsiteX24" fmla="*/ 2081214 w 2983707"/>
              <a:gd name="connsiteY24" fmla="*/ 312078 h 1027599"/>
              <a:gd name="connsiteX25" fmla="*/ 2028826 w 2983707"/>
              <a:gd name="connsiteY25" fmla="*/ 316840 h 1027599"/>
              <a:gd name="connsiteX26" fmla="*/ 1993107 w 2983707"/>
              <a:gd name="connsiteY26" fmla="*/ 309697 h 1027599"/>
              <a:gd name="connsiteX27" fmla="*/ 1905001 w 2983707"/>
              <a:gd name="connsiteY27" fmla="*/ 281122 h 1027599"/>
              <a:gd name="connsiteX28" fmla="*/ 1838326 w 2983707"/>
              <a:gd name="connsiteY28" fmla="*/ 281122 h 1027599"/>
              <a:gd name="connsiteX29" fmla="*/ 1783557 w 2983707"/>
              <a:gd name="connsiteY29" fmla="*/ 304934 h 1027599"/>
              <a:gd name="connsiteX30" fmla="*/ 1747839 w 2983707"/>
              <a:gd name="connsiteY30" fmla="*/ 319222 h 1027599"/>
              <a:gd name="connsiteX31" fmla="*/ 1721645 w 2983707"/>
              <a:gd name="connsiteY31" fmla="*/ 323984 h 1027599"/>
              <a:gd name="connsiteX32" fmla="*/ 1678782 w 2983707"/>
              <a:gd name="connsiteY32" fmla="*/ 331128 h 1027599"/>
              <a:gd name="connsiteX33" fmla="*/ 1638301 w 2983707"/>
              <a:gd name="connsiteY33" fmla="*/ 338272 h 1027599"/>
              <a:gd name="connsiteX34" fmla="*/ 1614489 w 2983707"/>
              <a:gd name="connsiteY34" fmla="*/ 357322 h 1027599"/>
              <a:gd name="connsiteX35" fmla="*/ 1597820 w 2983707"/>
              <a:gd name="connsiteY35" fmla="*/ 371609 h 1027599"/>
              <a:gd name="connsiteX36" fmla="*/ 1581151 w 2983707"/>
              <a:gd name="connsiteY36" fmla="*/ 376372 h 1027599"/>
              <a:gd name="connsiteX37" fmla="*/ 1538289 w 2983707"/>
              <a:gd name="connsiteY37" fmla="*/ 378753 h 1027599"/>
              <a:gd name="connsiteX38" fmla="*/ 1428751 w 2983707"/>
              <a:gd name="connsiteY38" fmla="*/ 414472 h 1027599"/>
              <a:gd name="connsiteX39" fmla="*/ 1407320 w 2983707"/>
              <a:gd name="connsiteY39" fmla="*/ 428759 h 1027599"/>
              <a:gd name="connsiteX40" fmla="*/ 1397795 w 2983707"/>
              <a:gd name="connsiteY40" fmla="*/ 443047 h 1027599"/>
              <a:gd name="connsiteX41" fmla="*/ 1323976 w 2983707"/>
              <a:gd name="connsiteY41" fmla="*/ 493053 h 1027599"/>
              <a:gd name="connsiteX42" fmla="*/ 1207295 w 2983707"/>
              <a:gd name="connsiteY42" fmla="*/ 559728 h 1027599"/>
              <a:gd name="connsiteX43" fmla="*/ 1150145 w 2983707"/>
              <a:gd name="connsiteY43" fmla="*/ 593065 h 1027599"/>
              <a:gd name="connsiteX44" fmla="*/ 1092995 w 2983707"/>
              <a:gd name="connsiteY44" fmla="*/ 621640 h 1027599"/>
              <a:gd name="connsiteX45" fmla="*/ 1052514 w 2983707"/>
              <a:gd name="connsiteY45" fmla="*/ 638309 h 1027599"/>
              <a:gd name="connsiteX46" fmla="*/ 995364 w 2983707"/>
              <a:gd name="connsiteY46" fmla="*/ 674028 h 1027599"/>
              <a:gd name="connsiteX47" fmla="*/ 902495 w 2983707"/>
              <a:gd name="connsiteY47" fmla="*/ 740703 h 1027599"/>
              <a:gd name="connsiteX48" fmla="*/ 828676 w 2983707"/>
              <a:gd name="connsiteY48" fmla="*/ 788328 h 1027599"/>
              <a:gd name="connsiteX49" fmla="*/ 776289 w 2983707"/>
              <a:gd name="connsiteY49" fmla="*/ 809759 h 1027599"/>
              <a:gd name="connsiteX50" fmla="*/ 747714 w 2983707"/>
              <a:gd name="connsiteY50" fmla="*/ 809759 h 1027599"/>
              <a:gd name="connsiteX51" fmla="*/ 711995 w 2983707"/>
              <a:gd name="connsiteY51" fmla="*/ 812140 h 1027599"/>
              <a:gd name="connsiteX52" fmla="*/ 621507 w 2983707"/>
              <a:gd name="connsiteY52" fmla="*/ 883578 h 1027599"/>
              <a:gd name="connsiteX53" fmla="*/ 540545 w 2983707"/>
              <a:gd name="connsiteY53" fmla="*/ 938347 h 1027599"/>
              <a:gd name="connsiteX54" fmla="*/ 426245 w 2983707"/>
              <a:gd name="connsiteY54" fmla="*/ 1021690 h 1027599"/>
              <a:gd name="connsiteX55" fmla="*/ 407195 w 2983707"/>
              <a:gd name="connsiteY55" fmla="*/ 1014547 h 1027599"/>
              <a:gd name="connsiteX56" fmla="*/ 378620 w 2983707"/>
              <a:gd name="connsiteY56" fmla="*/ 964540 h 1027599"/>
              <a:gd name="connsiteX57" fmla="*/ 359570 w 2983707"/>
              <a:gd name="connsiteY57" fmla="*/ 955015 h 1027599"/>
              <a:gd name="connsiteX58" fmla="*/ 314326 w 2983707"/>
              <a:gd name="connsiteY58" fmla="*/ 921678 h 1027599"/>
              <a:gd name="connsiteX59" fmla="*/ 297657 w 2983707"/>
              <a:gd name="connsiteY59" fmla="*/ 890722 h 1027599"/>
              <a:gd name="connsiteX60" fmla="*/ 285751 w 2983707"/>
              <a:gd name="connsiteY60" fmla="*/ 843097 h 1027599"/>
              <a:gd name="connsiteX61" fmla="*/ 273845 w 2983707"/>
              <a:gd name="connsiteY61" fmla="*/ 821665 h 1027599"/>
              <a:gd name="connsiteX62" fmla="*/ 245270 w 2983707"/>
              <a:gd name="connsiteY62" fmla="*/ 807378 h 1027599"/>
              <a:gd name="connsiteX63" fmla="*/ 219076 w 2983707"/>
              <a:gd name="connsiteY63" fmla="*/ 783565 h 1027599"/>
              <a:gd name="connsiteX64" fmla="*/ 200026 w 2983707"/>
              <a:gd name="connsiteY64" fmla="*/ 778803 h 1027599"/>
              <a:gd name="connsiteX65" fmla="*/ 180976 w 2983707"/>
              <a:gd name="connsiteY65" fmla="*/ 735940 h 1027599"/>
              <a:gd name="connsiteX66" fmla="*/ 154782 w 2983707"/>
              <a:gd name="connsiteY66" fmla="*/ 712128 h 1027599"/>
              <a:gd name="connsiteX67" fmla="*/ 142876 w 2983707"/>
              <a:gd name="connsiteY67" fmla="*/ 669265 h 1027599"/>
              <a:gd name="connsiteX68" fmla="*/ 111920 w 2983707"/>
              <a:gd name="connsiteY68" fmla="*/ 635928 h 1027599"/>
              <a:gd name="connsiteX69" fmla="*/ 90489 w 2983707"/>
              <a:gd name="connsiteY69" fmla="*/ 597828 h 1027599"/>
              <a:gd name="connsiteX70" fmla="*/ 85726 w 2983707"/>
              <a:gd name="connsiteY70" fmla="*/ 583540 h 1027599"/>
              <a:gd name="connsiteX71" fmla="*/ 42864 w 2983707"/>
              <a:gd name="connsiteY71" fmla="*/ 519247 h 1027599"/>
              <a:gd name="connsiteX72" fmla="*/ 0 w 2983707"/>
              <a:gd name="connsiteY72" fmla="*/ 431141 h 1027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2983707" h="1027599">
                <a:moveTo>
                  <a:pt x="2983707" y="12040"/>
                </a:moveTo>
                <a:cubicBezTo>
                  <a:pt x="2966046" y="3110"/>
                  <a:pt x="2948385" y="-5819"/>
                  <a:pt x="2926557" y="4897"/>
                </a:cubicBezTo>
                <a:cubicBezTo>
                  <a:pt x="2904729" y="15613"/>
                  <a:pt x="2866629" y="63237"/>
                  <a:pt x="2852739" y="76334"/>
                </a:cubicBezTo>
                <a:cubicBezTo>
                  <a:pt x="2838849" y="89431"/>
                  <a:pt x="2857105" y="75937"/>
                  <a:pt x="2843214" y="83478"/>
                </a:cubicBezTo>
                <a:cubicBezTo>
                  <a:pt x="2829323" y="91019"/>
                  <a:pt x="2785667" y="119991"/>
                  <a:pt x="2769395" y="121578"/>
                </a:cubicBezTo>
                <a:cubicBezTo>
                  <a:pt x="2753123" y="123166"/>
                  <a:pt x="2761854" y="104909"/>
                  <a:pt x="2745582" y="93003"/>
                </a:cubicBezTo>
                <a:cubicBezTo>
                  <a:pt x="2729310" y="81097"/>
                  <a:pt x="2693195" y="61253"/>
                  <a:pt x="2671764" y="50140"/>
                </a:cubicBezTo>
                <a:cubicBezTo>
                  <a:pt x="2650333" y="39027"/>
                  <a:pt x="2633664" y="30297"/>
                  <a:pt x="2616995" y="26328"/>
                </a:cubicBezTo>
                <a:cubicBezTo>
                  <a:pt x="2600326" y="22359"/>
                  <a:pt x="2584451" y="25931"/>
                  <a:pt x="2571751" y="26328"/>
                </a:cubicBezTo>
                <a:cubicBezTo>
                  <a:pt x="2559051" y="26725"/>
                  <a:pt x="2548336" y="28312"/>
                  <a:pt x="2540795" y="28709"/>
                </a:cubicBezTo>
                <a:cubicBezTo>
                  <a:pt x="2533254" y="29106"/>
                  <a:pt x="2532460" y="29900"/>
                  <a:pt x="2526507" y="28709"/>
                </a:cubicBezTo>
                <a:cubicBezTo>
                  <a:pt x="2520554" y="27518"/>
                  <a:pt x="2515395" y="20374"/>
                  <a:pt x="2505076" y="21565"/>
                </a:cubicBezTo>
                <a:cubicBezTo>
                  <a:pt x="2494757" y="22756"/>
                  <a:pt x="2464595" y="35853"/>
                  <a:pt x="2464595" y="35853"/>
                </a:cubicBezTo>
                <a:cubicBezTo>
                  <a:pt x="2453483" y="39822"/>
                  <a:pt x="2447132" y="43790"/>
                  <a:pt x="2438401" y="45378"/>
                </a:cubicBezTo>
                <a:cubicBezTo>
                  <a:pt x="2429670" y="46966"/>
                  <a:pt x="2412207" y="45378"/>
                  <a:pt x="2412207" y="45378"/>
                </a:cubicBezTo>
                <a:lnTo>
                  <a:pt x="2383632" y="45378"/>
                </a:lnTo>
                <a:lnTo>
                  <a:pt x="2357439" y="45378"/>
                </a:lnTo>
                <a:lnTo>
                  <a:pt x="2343151" y="45378"/>
                </a:lnTo>
                <a:cubicBezTo>
                  <a:pt x="2339579" y="45378"/>
                  <a:pt x="2341960" y="39822"/>
                  <a:pt x="2336007" y="45378"/>
                </a:cubicBezTo>
                <a:cubicBezTo>
                  <a:pt x="2330054" y="50934"/>
                  <a:pt x="2315369" y="67206"/>
                  <a:pt x="2307432" y="78715"/>
                </a:cubicBezTo>
                <a:cubicBezTo>
                  <a:pt x="2299494" y="90224"/>
                  <a:pt x="2298304" y="104909"/>
                  <a:pt x="2288382" y="114434"/>
                </a:cubicBezTo>
                <a:cubicBezTo>
                  <a:pt x="2278460" y="123959"/>
                  <a:pt x="2261395" y="123165"/>
                  <a:pt x="2247901" y="135865"/>
                </a:cubicBezTo>
                <a:cubicBezTo>
                  <a:pt x="2234407" y="148565"/>
                  <a:pt x="2218929" y="175156"/>
                  <a:pt x="2207420" y="190634"/>
                </a:cubicBezTo>
                <a:cubicBezTo>
                  <a:pt x="2195911" y="206112"/>
                  <a:pt x="2199879" y="208493"/>
                  <a:pt x="2178845" y="228734"/>
                </a:cubicBezTo>
                <a:cubicBezTo>
                  <a:pt x="2157811" y="248975"/>
                  <a:pt x="2106217" y="297394"/>
                  <a:pt x="2081214" y="312078"/>
                </a:cubicBezTo>
                <a:cubicBezTo>
                  <a:pt x="2056211" y="326762"/>
                  <a:pt x="2043510" y="317237"/>
                  <a:pt x="2028826" y="316840"/>
                </a:cubicBezTo>
                <a:cubicBezTo>
                  <a:pt x="2014142" y="316443"/>
                  <a:pt x="2013744" y="315650"/>
                  <a:pt x="1993107" y="309697"/>
                </a:cubicBezTo>
                <a:cubicBezTo>
                  <a:pt x="1972469" y="303744"/>
                  <a:pt x="1930798" y="285884"/>
                  <a:pt x="1905001" y="281122"/>
                </a:cubicBezTo>
                <a:cubicBezTo>
                  <a:pt x="1879204" y="276360"/>
                  <a:pt x="1858567" y="277153"/>
                  <a:pt x="1838326" y="281122"/>
                </a:cubicBezTo>
                <a:cubicBezTo>
                  <a:pt x="1818085" y="285091"/>
                  <a:pt x="1798638" y="298584"/>
                  <a:pt x="1783557" y="304934"/>
                </a:cubicBezTo>
                <a:cubicBezTo>
                  <a:pt x="1768476" y="311284"/>
                  <a:pt x="1758158" y="316047"/>
                  <a:pt x="1747839" y="319222"/>
                </a:cubicBezTo>
                <a:cubicBezTo>
                  <a:pt x="1737520" y="322397"/>
                  <a:pt x="1721645" y="323984"/>
                  <a:pt x="1721645" y="323984"/>
                </a:cubicBezTo>
                <a:lnTo>
                  <a:pt x="1678782" y="331128"/>
                </a:lnTo>
                <a:cubicBezTo>
                  <a:pt x="1664891" y="333509"/>
                  <a:pt x="1649016" y="333906"/>
                  <a:pt x="1638301" y="338272"/>
                </a:cubicBezTo>
                <a:cubicBezTo>
                  <a:pt x="1627586" y="342638"/>
                  <a:pt x="1621236" y="351766"/>
                  <a:pt x="1614489" y="357322"/>
                </a:cubicBezTo>
                <a:cubicBezTo>
                  <a:pt x="1607742" y="362878"/>
                  <a:pt x="1603376" y="368434"/>
                  <a:pt x="1597820" y="371609"/>
                </a:cubicBezTo>
                <a:cubicBezTo>
                  <a:pt x="1592264" y="374784"/>
                  <a:pt x="1591073" y="375181"/>
                  <a:pt x="1581151" y="376372"/>
                </a:cubicBezTo>
                <a:cubicBezTo>
                  <a:pt x="1571229" y="377563"/>
                  <a:pt x="1563689" y="372403"/>
                  <a:pt x="1538289" y="378753"/>
                </a:cubicBezTo>
                <a:cubicBezTo>
                  <a:pt x="1512889" y="385103"/>
                  <a:pt x="1450579" y="406138"/>
                  <a:pt x="1428751" y="414472"/>
                </a:cubicBezTo>
                <a:cubicBezTo>
                  <a:pt x="1406923" y="422806"/>
                  <a:pt x="1412479" y="423997"/>
                  <a:pt x="1407320" y="428759"/>
                </a:cubicBezTo>
                <a:cubicBezTo>
                  <a:pt x="1402161" y="433522"/>
                  <a:pt x="1411686" y="432331"/>
                  <a:pt x="1397795" y="443047"/>
                </a:cubicBezTo>
                <a:cubicBezTo>
                  <a:pt x="1383904" y="453763"/>
                  <a:pt x="1355726" y="473606"/>
                  <a:pt x="1323976" y="493053"/>
                </a:cubicBezTo>
                <a:cubicBezTo>
                  <a:pt x="1292226" y="512500"/>
                  <a:pt x="1207295" y="559728"/>
                  <a:pt x="1207295" y="559728"/>
                </a:cubicBezTo>
                <a:cubicBezTo>
                  <a:pt x="1178323" y="576397"/>
                  <a:pt x="1169195" y="582746"/>
                  <a:pt x="1150145" y="593065"/>
                </a:cubicBezTo>
                <a:cubicBezTo>
                  <a:pt x="1131095" y="603384"/>
                  <a:pt x="1109267" y="614099"/>
                  <a:pt x="1092995" y="621640"/>
                </a:cubicBezTo>
                <a:cubicBezTo>
                  <a:pt x="1076723" y="629181"/>
                  <a:pt x="1068786" y="629578"/>
                  <a:pt x="1052514" y="638309"/>
                </a:cubicBezTo>
                <a:cubicBezTo>
                  <a:pt x="1036242" y="647040"/>
                  <a:pt x="1020367" y="656962"/>
                  <a:pt x="995364" y="674028"/>
                </a:cubicBezTo>
                <a:cubicBezTo>
                  <a:pt x="970361" y="691094"/>
                  <a:pt x="930276" y="721653"/>
                  <a:pt x="902495" y="740703"/>
                </a:cubicBezTo>
                <a:cubicBezTo>
                  <a:pt x="874714" y="759753"/>
                  <a:pt x="849710" y="776819"/>
                  <a:pt x="828676" y="788328"/>
                </a:cubicBezTo>
                <a:cubicBezTo>
                  <a:pt x="807642" y="799837"/>
                  <a:pt x="789783" y="806187"/>
                  <a:pt x="776289" y="809759"/>
                </a:cubicBezTo>
                <a:cubicBezTo>
                  <a:pt x="762795" y="813331"/>
                  <a:pt x="758430" y="809362"/>
                  <a:pt x="747714" y="809759"/>
                </a:cubicBezTo>
                <a:cubicBezTo>
                  <a:pt x="736998" y="810156"/>
                  <a:pt x="733029" y="799837"/>
                  <a:pt x="711995" y="812140"/>
                </a:cubicBezTo>
                <a:cubicBezTo>
                  <a:pt x="690961" y="824443"/>
                  <a:pt x="650082" y="862544"/>
                  <a:pt x="621507" y="883578"/>
                </a:cubicBezTo>
                <a:cubicBezTo>
                  <a:pt x="592932" y="904612"/>
                  <a:pt x="573089" y="915328"/>
                  <a:pt x="540545" y="938347"/>
                </a:cubicBezTo>
                <a:cubicBezTo>
                  <a:pt x="508001" y="961366"/>
                  <a:pt x="448470" y="1008990"/>
                  <a:pt x="426245" y="1021690"/>
                </a:cubicBezTo>
                <a:cubicBezTo>
                  <a:pt x="404020" y="1034390"/>
                  <a:pt x="415132" y="1024072"/>
                  <a:pt x="407195" y="1014547"/>
                </a:cubicBezTo>
                <a:cubicBezTo>
                  <a:pt x="399258" y="1005022"/>
                  <a:pt x="386557" y="974462"/>
                  <a:pt x="378620" y="964540"/>
                </a:cubicBezTo>
                <a:cubicBezTo>
                  <a:pt x="370682" y="954618"/>
                  <a:pt x="370286" y="962159"/>
                  <a:pt x="359570" y="955015"/>
                </a:cubicBezTo>
                <a:cubicBezTo>
                  <a:pt x="348854" y="947871"/>
                  <a:pt x="324645" y="932393"/>
                  <a:pt x="314326" y="921678"/>
                </a:cubicBezTo>
                <a:cubicBezTo>
                  <a:pt x="304007" y="910963"/>
                  <a:pt x="302419" y="903819"/>
                  <a:pt x="297657" y="890722"/>
                </a:cubicBezTo>
                <a:cubicBezTo>
                  <a:pt x="292895" y="877625"/>
                  <a:pt x="289720" y="854606"/>
                  <a:pt x="285751" y="843097"/>
                </a:cubicBezTo>
                <a:cubicBezTo>
                  <a:pt x="281782" y="831588"/>
                  <a:pt x="280592" y="827618"/>
                  <a:pt x="273845" y="821665"/>
                </a:cubicBezTo>
                <a:cubicBezTo>
                  <a:pt x="267098" y="815712"/>
                  <a:pt x="254398" y="813728"/>
                  <a:pt x="245270" y="807378"/>
                </a:cubicBezTo>
                <a:cubicBezTo>
                  <a:pt x="236142" y="801028"/>
                  <a:pt x="226617" y="788327"/>
                  <a:pt x="219076" y="783565"/>
                </a:cubicBezTo>
                <a:cubicBezTo>
                  <a:pt x="211535" y="778803"/>
                  <a:pt x="206376" y="786740"/>
                  <a:pt x="200026" y="778803"/>
                </a:cubicBezTo>
                <a:cubicBezTo>
                  <a:pt x="193676" y="770866"/>
                  <a:pt x="188517" y="747053"/>
                  <a:pt x="180976" y="735940"/>
                </a:cubicBezTo>
                <a:cubicBezTo>
                  <a:pt x="173435" y="724828"/>
                  <a:pt x="161132" y="723240"/>
                  <a:pt x="154782" y="712128"/>
                </a:cubicBezTo>
                <a:cubicBezTo>
                  <a:pt x="148432" y="701016"/>
                  <a:pt x="150020" y="681965"/>
                  <a:pt x="142876" y="669265"/>
                </a:cubicBezTo>
                <a:cubicBezTo>
                  <a:pt x="135732" y="656565"/>
                  <a:pt x="120651" y="647834"/>
                  <a:pt x="111920" y="635928"/>
                </a:cubicBezTo>
                <a:cubicBezTo>
                  <a:pt x="103189" y="624022"/>
                  <a:pt x="94855" y="606559"/>
                  <a:pt x="90489" y="597828"/>
                </a:cubicBezTo>
                <a:cubicBezTo>
                  <a:pt x="86123" y="589097"/>
                  <a:pt x="93663" y="596637"/>
                  <a:pt x="85726" y="583540"/>
                </a:cubicBezTo>
                <a:cubicBezTo>
                  <a:pt x="77789" y="570443"/>
                  <a:pt x="57152" y="544647"/>
                  <a:pt x="42864" y="519247"/>
                </a:cubicBezTo>
                <a:cubicBezTo>
                  <a:pt x="28576" y="493847"/>
                  <a:pt x="496" y="432133"/>
                  <a:pt x="0" y="431141"/>
                </a:cubicBezTo>
              </a:path>
            </a:pathLst>
          </a:custGeom>
          <a:ln w="158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0" name="Rectangle 44"/>
          <p:cNvSpPr>
            <a:spLocks noChangeArrowheads="1"/>
          </p:cNvSpPr>
          <p:nvPr/>
        </p:nvSpPr>
        <p:spPr bwMode="auto">
          <a:xfrm>
            <a:off x="1133085" y="5688724"/>
            <a:ext cx="1858973" cy="76827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87782" tIns="144000" rIns="87782" bIns="43891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452438" indent="-1270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charset="0"/>
              </a:rPr>
              <a:t>Условные обозначения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ru-RU" altLang="ru-RU" sz="200" dirty="0" smtClean="0">
              <a:solidFill>
                <a:schemeClr val="tx1">
                  <a:lumMod val="65000"/>
                  <a:lumOff val="35000"/>
                </a:schemeClr>
              </a:solidFill>
              <a:latin typeface="Franklin Gothic Medium Cond" pitchFamily="34" charset="0"/>
              <a:cs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ru-RU" altLang="ru-RU" sz="1000" dirty="0" smtClean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cs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charset="0"/>
              </a:rPr>
              <a:t>Существующий платный участок – 211 км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charset="0"/>
              </a:rPr>
              <a:t>Внедрение платности в 2018 году – 471 км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charset="0"/>
              </a:rPr>
              <a:t>Внедрение платности в </a:t>
            </a:r>
            <a:r>
              <a:rPr lang="ru-RU" alt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charset="0"/>
              </a:rPr>
              <a:t>2020 году – 6 </a:t>
            </a:r>
            <a:r>
              <a:rPr lang="ru-RU" altLang="ru-RU" sz="1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charset="0"/>
              </a:rPr>
              <a:t>тыс.км</a:t>
            </a:r>
            <a:endParaRPr lang="ru-RU" altLang="ru-RU" sz="10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cs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charset="0"/>
              </a:rPr>
              <a:t>Внедрение платности </a:t>
            </a:r>
            <a:r>
              <a:rPr lang="ru-RU" alt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charset="0"/>
              </a:rPr>
              <a:t>до 2025 года – 5 </a:t>
            </a:r>
            <a:r>
              <a:rPr lang="ru-RU" altLang="ru-RU" sz="1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charset="0"/>
              </a:rPr>
              <a:t>тыс.км</a:t>
            </a:r>
            <a:endParaRPr lang="ru-RU" altLang="ru-RU" sz="10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281" name="Line 45"/>
          <p:cNvSpPr>
            <a:spLocks noChangeShapeType="1"/>
          </p:cNvSpPr>
          <p:nvPr/>
        </p:nvSpPr>
        <p:spPr bwMode="auto">
          <a:xfrm>
            <a:off x="661929" y="6508600"/>
            <a:ext cx="360000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82" name="Line 45"/>
          <p:cNvSpPr>
            <a:spLocks noChangeShapeType="1"/>
          </p:cNvSpPr>
          <p:nvPr/>
        </p:nvSpPr>
        <p:spPr bwMode="auto">
          <a:xfrm>
            <a:off x="658557" y="6355111"/>
            <a:ext cx="360000" cy="0"/>
          </a:xfrm>
          <a:prstGeom prst="line">
            <a:avLst/>
          </a:prstGeom>
          <a:noFill/>
          <a:ln w="63500">
            <a:solidFill>
              <a:srgbClr val="00B0F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83" name="Line 45"/>
          <p:cNvSpPr>
            <a:spLocks noChangeShapeType="1"/>
          </p:cNvSpPr>
          <p:nvPr/>
        </p:nvSpPr>
        <p:spPr bwMode="auto">
          <a:xfrm>
            <a:off x="659296" y="6210407"/>
            <a:ext cx="360000" cy="0"/>
          </a:xfrm>
          <a:prstGeom prst="line">
            <a:avLst/>
          </a:prstGeom>
          <a:noFill/>
          <a:ln w="63500">
            <a:solidFill>
              <a:srgbClr val="00B05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4" name="Полилиния 23"/>
          <p:cNvSpPr/>
          <p:nvPr/>
        </p:nvSpPr>
        <p:spPr>
          <a:xfrm>
            <a:off x="7091363" y="4460081"/>
            <a:ext cx="223837" cy="367567"/>
          </a:xfrm>
          <a:custGeom>
            <a:avLst/>
            <a:gdLst>
              <a:gd name="connsiteX0" fmla="*/ 223837 w 223837"/>
              <a:gd name="connsiteY0" fmla="*/ 0 h 367567"/>
              <a:gd name="connsiteX1" fmla="*/ 214312 w 223837"/>
              <a:gd name="connsiteY1" fmla="*/ 66675 h 367567"/>
              <a:gd name="connsiteX2" fmla="*/ 214312 w 223837"/>
              <a:gd name="connsiteY2" fmla="*/ 95250 h 367567"/>
              <a:gd name="connsiteX3" fmla="*/ 197643 w 223837"/>
              <a:gd name="connsiteY3" fmla="*/ 123825 h 367567"/>
              <a:gd name="connsiteX4" fmla="*/ 197643 w 223837"/>
              <a:gd name="connsiteY4" fmla="*/ 152400 h 367567"/>
              <a:gd name="connsiteX5" fmla="*/ 209550 w 223837"/>
              <a:gd name="connsiteY5" fmla="*/ 176213 h 367567"/>
              <a:gd name="connsiteX6" fmla="*/ 209550 w 223837"/>
              <a:gd name="connsiteY6" fmla="*/ 195263 h 367567"/>
              <a:gd name="connsiteX7" fmla="*/ 166687 w 223837"/>
              <a:gd name="connsiteY7" fmla="*/ 223838 h 367567"/>
              <a:gd name="connsiteX8" fmla="*/ 142875 w 223837"/>
              <a:gd name="connsiteY8" fmla="*/ 254794 h 367567"/>
              <a:gd name="connsiteX9" fmla="*/ 128587 w 223837"/>
              <a:gd name="connsiteY9" fmla="*/ 285750 h 367567"/>
              <a:gd name="connsiteX10" fmla="*/ 121443 w 223837"/>
              <a:gd name="connsiteY10" fmla="*/ 309563 h 367567"/>
              <a:gd name="connsiteX11" fmla="*/ 107156 w 223837"/>
              <a:gd name="connsiteY11" fmla="*/ 330994 h 367567"/>
              <a:gd name="connsiteX12" fmla="*/ 38100 w 223837"/>
              <a:gd name="connsiteY12" fmla="*/ 340519 h 367567"/>
              <a:gd name="connsiteX13" fmla="*/ 11906 w 223837"/>
              <a:gd name="connsiteY13" fmla="*/ 364332 h 367567"/>
              <a:gd name="connsiteX14" fmla="*/ 0 w 223837"/>
              <a:gd name="connsiteY14" fmla="*/ 366713 h 36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3837" h="367567">
                <a:moveTo>
                  <a:pt x="223837" y="0"/>
                </a:moveTo>
                <a:cubicBezTo>
                  <a:pt x="219868" y="25400"/>
                  <a:pt x="215899" y="50800"/>
                  <a:pt x="214312" y="66675"/>
                </a:cubicBezTo>
                <a:cubicBezTo>
                  <a:pt x="212724" y="82550"/>
                  <a:pt x="217090" y="85725"/>
                  <a:pt x="214312" y="95250"/>
                </a:cubicBezTo>
                <a:cubicBezTo>
                  <a:pt x="211534" y="104775"/>
                  <a:pt x="200421" y="114300"/>
                  <a:pt x="197643" y="123825"/>
                </a:cubicBezTo>
                <a:cubicBezTo>
                  <a:pt x="194865" y="133350"/>
                  <a:pt x="195659" y="143669"/>
                  <a:pt x="197643" y="152400"/>
                </a:cubicBezTo>
                <a:cubicBezTo>
                  <a:pt x="199627" y="161131"/>
                  <a:pt x="207566" y="169069"/>
                  <a:pt x="209550" y="176213"/>
                </a:cubicBezTo>
                <a:cubicBezTo>
                  <a:pt x="211534" y="183357"/>
                  <a:pt x="216694" y="187326"/>
                  <a:pt x="209550" y="195263"/>
                </a:cubicBezTo>
                <a:cubicBezTo>
                  <a:pt x="202406" y="203201"/>
                  <a:pt x="177799" y="213916"/>
                  <a:pt x="166687" y="223838"/>
                </a:cubicBezTo>
                <a:cubicBezTo>
                  <a:pt x="155574" y="233760"/>
                  <a:pt x="149225" y="244475"/>
                  <a:pt x="142875" y="254794"/>
                </a:cubicBezTo>
                <a:cubicBezTo>
                  <a:pt x="136525" y="265113"/>
                  <a:pt x="132159" y="276622"/>
                  <a:pt x="128587" y="285750"/>
                </a:cubicBezTo>
                <a:cubicBezTo>
                  <a:pt x="125015" y="294878"/>
                  <a:pt x="125015" y="302022"/>
                  <a:pt x="121443" y="309563"/>
                </a:cubicBezTo>
                <a:cubicBezTo>
                  <a:pt x="117871" y="317104"/>
                  <a:pt x="121046" y="325835"/>
                  <a:pt x="107156" y="330994"/>
                </a:cubicBezTo>
                <a:cubicBezTo>
                  <a:pt x="93266" y="336153"/>
                  <a:pt x="53975" y="334963"/>
                  <a:pt x="38100" y="340519"/>
                </a:cubicBezTo>
                <a:cubicBezTo>
                  <a:pt x="22225" y="346075"/>
                  <a:pt x="18256" y="359966"/>
                  <a:pt x="11906" y="364332"/>
                </a:cubicBezTo>
                <a:cubicBezTo>
                  <a:pt x="5556" y="368698"/>
                  <a:pt x="2778" y="367705"/>
                  <a:pt x="0" y="366713"/>
                </a:cubicBezTo>
              </a:path>
            </a:pathLst>
          </a:custGeom>
          <a:ln w="762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7" name="Полилиния 286"/>
          <p:cNvSpPr/>
          <p:nvPr/>
        </p:nvSpPr>
        <p:spPr>
          <a:xfrm>
            <a:off x="7091379" y="4455335"/>
            <a:ext cx="223837" cy="367567"/>
          </a:xfrm>
          <a:custGeom>
            <a:avLst/>
            <a:gdLst>
              <a:gd name="connsiteX0" fmla="*/ 223837 w 223837"/>
              <a:gd name="connsiteY0" fmla="*/ 0 h 367567"/>
              <a:gd name="connsiteX1" fmla="*/ 214312 w 223837"/>
              <a:gd name="connsiteY1" fmla="*/ 66675 h 367567"/>
              <a:gd name="connsiteX2" fmla="*/ 214312 w 223837"/>
              <a:gd name="connsiteY2" fmla="*/ 95250 h 367567"/>
              <a:gd name="connsiteX3" fmla="*/ 197643 w 223837"/>
              <a:gd name="connsiteY3" fmla="*/ 123825 h 367567"/>
              <a:gd name="connsiteX4" fmla="*/ 197643 w 223837"/>
              <a:gd name="connsiteY4" fmla="*/ 152400 h 367567"/>
              <a:gd name="connsiteX5" fmla="*/ 209550 w 223837"/>
              <a:gd name="connsiteY5" fmla="*/ 176213 h 367567"/>
              <a:gd name="connsiteX6" fmla="*/ 209550 w 223837"/>
              <a:gd name="connsiteY6" fmla="*/ 195263 h 367567"/>
              <a:gd name="connsiteX7" fmla="*/ 166687 w 223837"/>
              <a:gd name="connsiteY7" fmla="*/ 223838 h 367567"/>
              <a:gd name="connsiteX8" fmla="*/ 142875 w 223837"/>
              <a:gd name="connsiteY8" fmla="*/ 254794 h 367567"/>
              <a:gd name="connsiteX9" fmla="*/ 128587 w 223837"/>
              <a:gd name="connsiteY9" fmla="*/ 285750 h 367567"/>
              <a:gd name="connsiteX10" fmla="*/ 121443 w 223837"/>
              <a:gd name="connsiteY10" fmla="*/ 309563 h 367567"/>
              <a:gd name="connsiteX11" fmla="*/ 107156 w 223837"/>
              <a:gd name="connsiteY11" fmla="*/ 330994 h 367567"/>
              <a:gd name="connsiteX12" fmla="*/ 38100 w 223837"/>
              <a:gd name="connsiteY12" fmla="*/ 340519 h 367567"/>
              <a:gd name="connsiteX13" fmla="*/ 11906 w 223837"/>
              <a:gd name="connsiteY13" fmla="*/ 364332 h 367567"/>
              <a:gd name="connsiteX14" fmla="*/ 0 w 223837"/>
              <a:gd name="connsiteY14" fmla="*/ 366713 h 36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3837" h="367567">
                <a:moveTo>
                  <a:pt x="223837" y="0"/>
                </a:moveTo>
                <a:cubicBezTo>
                  <a:pt x="219868" y="25400"/>
                  <a:pt x="215899" y="50800"/>
                  <a:pt x="214312" y="66675"/>
                </a:cubicBezTo>
                <a:cubicBezTo>
                  <a:pt x="212724" y="82550"/>
                  <a:pt x="217090" y="85725"/>
                  <a:pt x="214312" y="95250"/>
                </a:cubicBezTo>
                <a:cubicBezTo>
                  <a:pt x="211534" y="104775"/>
                  <a:pt x="200421" y="114300"/>
                  <a:pt x="197643" y="123825"/>
                </a:cubicBezTo>
                <a:cubicBezTo>
                  <a:pt x="194865" y="133350"/>
                  <a:pt x="195659" y="143669"/>
                  <a:pt x="197643" y="152400"/>
                </a:cubicBezTo>
                <a:cubicBezTo>
                  <a:pt x="199627" y="161131"/>
                  <a:pt x="207566" y="169069"/>
                  <a:pt x="209550" y="176213"/>
                </a:cubicBezTo>
                <a:cubicBezTo>
                  <a:pt x="211534" y="183357"/>
                  <a:pt x="216694" y="187326"/>
                  <a:pt x="209550" y="195263"/>
                </a:cubicBezTo>
                <a:cubicBezTo>
                  <a:pt x="202406" y="203201"/>
                  <a:pt x="177799" y="213916"/>
                  <a:pt x="166687" y="223838"/>
                </a:cubicBezTo>
                <a:cubicBezTo>
                  <a:pt x="155574" y="233760"/>
                  <a:pt x="149225" y="244475"/>
                  <a:pt x="142875" y="254794"/>
                </a:cubicBezTo>
                <a:cubicBezTo>
                  <a:pt x="136525" y="265113"/>
                  <a:pt x="132159" y="276622"/>
                  <a:pt x="128587" y="285750"/>
                </a:cubicBezTo>
                <a:cubicBezTo>
                  <a:pt x="125015" y="294878"/>
                  <a:pt x="125015" y="302022"/>
                  <a:pt x="121443" y="309563"/>
                </a:cubicBezTo>
                <a:cubicBezTo>
                  <a:pt x="117871" y="317104"/>
                  <a:pt x="121046" y="325835"/>
                  <a:pt x="107156" y="330994"/>
                </a:cubicBezTo>
                <a:cubicBezTo>
                  <a:pt x="93266" y="336153"/>
                  <a:pt x="53975" y="334963"/>
                  <a:pt x="38100" y="340519"/>
                </a:cubicBezTo>
                <a:cubicBezTo>
                  <a:pt x="22225" y="346075"/>
                  <a:pt x="18256" y="359966"/>
                  <a:pt x="11906" y="364332"/>
                </a:cubicBezTo>
                <a:cubicBezTo>
                  <a:pt x="5556" y="368698"/>
                  <a:pt x="2778" y="367705"/>
                  <a:pt x="0" y="366713"/>
                </a:cubicBezTo>
              </a:path>
            </a:pathLst>
          </a:cu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9" name="Полилиния 288"/>
          <p:cNvSpPr/>
          <p:nvPr/>
        </p:nvSpPr>
        <p:spPr>
          <a:xfrm>
            <a:off x="7081855" y="4443430"/>
            <a:ext cx="212067" cy="367567"/>
          </a:xfrm>
          <a:custGeom>
            <a:avLst/>
            <a:gdLst>
              <a:gd name="connsiteX0" fmla="*/ 223837 w 223837"/>
              <a:gd name="connsiteY0" fmla="*/ 0 h 367567"/>
              <a:gd name="connsiteX1" fmla="*/ 214312 w 223837"/>
              <a:gd name="connsiteY1" fmla="*/ 66675 h 367567"/>
              <a:gd name="connsiteX2" fmla="*/ 214312 w 223837"/>
              <a:gd name="connsiteY2" fmla="*/ 95250 h 367567"/>
              <a:gd name="connsiteX3" fmla="*/ 197643 w 223837"/>
              <a:gd name="connsiteY3" fmla="*/ 123825 h 367567"/>
              <a:gd name="connsiteX4" fmla="*/ 197643 w 223837"/>
              <a:gd name="connsiteY4" fmla="*/ 152400 h 367567"/>
              <a:gd name="connsiteX5" fmla="*/ 209550 w 223837"/>
              <a:gd name="connsiteY5" fmla="*/ 176213 h 367567"/>
              <a:gd name="connsiteX6" fmla="*/ 209550 w 223837"/>
              <a:gd name="connsiteY6" fmla="*/ 195263 h 367567"/>
              <a:gd name="connsiteX7" fmla="*/ 166687 w 223837"/>
              <a:gd name="connsiteY7" fmla="*/ 223838 h 367567"/>
              <a:gd name="connsiteX8" fmla="*/ 142875 w 223837"/>
              <a:gd name="connsiteY8" fmla="*/ 254794 h 367567"/>
              <a:gd name="connsiteX9" fmla="*/ 128587 w 223837"/>
              <a:gd name="connsiteY9" fmla="*/ 285750 h 367567"/>
              <a:gd name="connsiteX10" fmla="*/ 121443 w 223837"/>
              <a:gd name="connsiteY10" fmla="*/ 309563 h 367567"/>
              <a:gd name="connsiteX11" fmla="*/ 107156 w 223837"/>
              <a:gd name="connsiteY11" fmla="*/ 330994 h 367567"/>
              <a:gd name="connsiteX12" fmla="*/ 38100 w 223837"/>
              <a:gd name="connsiteY12" fmla="*/ 340519 h 367567"/>
              <a:gd name="connsiteX13" fmla="*/ 11906 w 223837"/>
              <a:gd name="connsiteY13" fmla="*/ 364332 h 367567"/>
              <a:gd name="connsiteX14" fmla="*/ 0 w 223837"/>
              <a:gd name="connsiteY14" fmla="*/ 366713 h 36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3837" h="367567">
                <a:moveTo>
                  <a:pt x="223837" y="0"/>
                </a:moveTo>
                <a:cubicBezTo>
                  <a:pt x="219868" y="25400"/>
                  <a:pt x="215899" y="50800"/>
                  <a:pt x="214312" y="66675"/>
                </a:cubicBezTo>
                <a:cubicBezTo>
                  <a:pt x="212724" y="82550"/>
                  <a:pt x="217090" y="85725"/>
                  <a:pt x="214312" y="95250"/>
                </a:cubicBezTo>
                <a:cubicBezTo>
                  <a:pt x="211534" y="104775"/>
                  <a:pt x="200421" y="114300"/>
                  <a:pt x="197643" y="123825"/>
                </a:cubicBezTo>
                <a:cubicBezTo>
                  <a:pt x="194865" y="133350"/>
                  <a:pt x="195659" y="143669"/>
                  <a:pt x="197643" y="152400"/>
                </a:cubicBezTo>
                <a:cubicBezTo>
                  <a:pt x="199627" y="161131"/>
                  <a:pt x="207566" y="169069"/>
                  <a:pt x="209550" y="176213"/>
                </a:cubicBezTo>
                <a:cubicBezTo>
                  <a:pt x="211534" y="183357"/>
                  <a:pt x="216694" y="187326"/>
                  <a:pt x="209550" y="195263"/>
                </a:cubicBezTo>
                <a:cubicBezTo>
                  <a:pt x="202406" y="203201"/>
                  <a:pt x="177799" y="213916"/>
                  <a:pt x="166687" y="223838"/>
                </a:cubicBezTo>
                <a:cubicBezTo>
                  <a:pt x="155574" y="233760"/>
                  <a:pt x="149225" y="244475"/>
                  <a:pt x="142875" y="254794"/>
                </a:cubicBezTo>
                <a:cubicBezTo>
                  <a:pt x="136525" y="265113"/>
                  <a:pt x="132159" y="276622"/>
                  <a:pt x="128587" y="285750"/>
                </a:cubicBezTo>
                <a:cubicBezTo>
                  <a:pt x="125015" y="294878"/>
                  <a:pt x="125015" y="302022"/>
                  <a:pt x="121443" y="309563"/>
                </a:cubicBezTo>
                <a:cubicBezTo>
                  <a:pt x="117871" y="317104"/>
                  <a:pt x="121046" y="325835"/>
                  <a:pt x="107156" y="330994"/>
                </a:cubicBezTo>
                <a:cubicBezTo>
                  <a:pt x="93266" y="336153"/>
                  <a:pt x="53975" y="334963"/>
                  <a:pt x="38100" y="340519"/>
                </a:cubicBezTo>
                <a:cubicBezTo>
                  <a:pt x="22225" y="346075"/>
                  <a:pt x="18256" y="359966"/>
                  <a:pt x="11906" y="364332"/>
                </a:cubicBezTo>
                <a:cubicBezTo>
                  <a:pt x="5556" y="368698"/>
                  <a:pt x="2778" y="367705"/>
                  <a:pt x="0" y="366713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0" name="Полилиния 289"/>
          <p:cNvSpPr/>
          <p:nvPr/>
        </p:nvSpPr>
        <p:spPr>
          <a:xfrm>
            <a:off x="7122348" y="4467256"/>
            <a:ext cx="212067" cy="367567"/>
          </a:xfrm>
          <a:custGeom>
            <a:avLst/>
            <a:gdLst>
              <a:gd name="connsiteX0" fmla="*/ 223837 w 223837"/>
              <a:gd name="connsiteY0" fmla="*/ 0 h 367567"/>
              <a:gd name="connsiteX1" fmla="*/ 214312 w 223837"/>
              <a:gd name="connsiteY1" fmla="*/ 66675 h 367567"/>
              <a:gd name="connsiteX2" fmla="*/ 214312 w 223837"/>
              <a:gd name="connsiteY2" fmla="*/ 95250 h 367567"/>
              <a:gd name="connsiteX3" fmla="*/ 197643 w 223837"/>
              <a:gd name="connsiteY3" fmla="*/ 123825 h 367567"/>
              <a:gd name="connsiteX4" fmla="*/ 197643 w 223837"/>
              <a:gd name="connsiteY4" fmla="*/ 152400 h 367567"/>
              <a:gd name="connsiteX5" fmla="*/ 209550 w 223837"/>
              <a:gd name="connsiteY5" fmla="*/ 176213 h 367567"/>
              <a:gd name="connsiteX6" fmla="*/ 209550 w 223837"/>
              <a:gd name="connsiteY6" fmla="*/ 195263 h 367567"/>
              <a:gd name="connsiteX7" fmla="*/ 166687 w 223837"/>
              <a:gd name="connsiteY7" fmla="*/ 223838 h 367567"/>
              <a:gd name="connsiteX8" fmla="*/ 142875 w 223837"/>
              <a:gd name="connsiteY8" fmla="*/ 254794 h 367567"/>
              <a:gd name="connsiteX9" fmla="*/ 128587 w 223837"/>
              <a:gd name="connsiteY9" fmla="*/ 285750 h 367567"/>
              <a:gd name="connsiteX10" fmla="*/ 121443 w 223837"/>
              <a:gd name="connsiteY10" fmla="*/ 309563 h 367567"/>
              <a:gd name="connsiteX11" fmla="*/ 107156 w 223837"/>
              <a:gd name="connsiteY11" fmla="*/ 330994 h 367567"/>
              <a:gd name="connsiteX12" fmla="*/ 38100 w 223837"/>
              <a:gd name="connsiteY12" fmla="*/ 340519 h 367567"/>
              <a:gd name="connsiteX13" fmla="*/ 11906 w 223837"/>
              <a:gd name="connsiteY13" fmla="*/ 364332 h 367567"/>
              <a:gd name="connsiteX14" fmla="*/ 0 w 223837"/>
              <a:gd name="connsiteY14" fmla="*/ 366713 h 36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3837" h="367567">
                <a:moveTo>
                  <a:pt x="223837" y="0"/>
                </a:moveTo>
                <a:cubicBezTo>
                  <a:pt x="219868" y="25400"/>
                  <a:pt x="215899" y="50800"/>
                  <a:pt x="214312" y="66675"/>
                </a:cubicBezTo>
                <a:cubicBezTo>
                  <a:pt x="212724" y="82550"/>
                  <a:pt x="217090" y="85725"/>
                  <a:pt x="214312" y="95250"/>
                </a:cubicBezTo>
                <a:cubicBezTo>
                  <a:pt x="211534" y="104775"/>
                  <a:pt x="200421" y="114300"/>
                  <a:pt x="197643" y="123825"/>
                </a:cubicBezTo>
                <a:cubicBezTo>
                  <a:pt x="194865" y="133350"/>
                  <a:pt x="195659" y="143669"/>
                  <a:pt x="197643" y="152400"/>
                </a:cubicBezTo>
                <a:cubicBezTo>
                  <a:pt x="199627" y="161131"/>
                  <a:pt x="207566" y="169069"/>
                  <a:pt x="209550" y="176213"/>
                </a:cubicBezTo>
                <a:cubicBezTo>
                  <a:pt x="211534" y="183357"/>
                  <a:pt x="216694" y="187326"/>
                  <a:pt x="209550" y="195263"/>
                </a:cubicBezTo>
                <a:cubicBezTo>
                  <a:pt x="202406" y="203201"/>
                  <a:pt x="177799" y="213916"/>
                  <a:pt x="166687" y="223838"/>
                </a:cubicBezTo>
                <a:cubicBezTo>
                  <a:pt x="155574" y="233760"/>
                  <a:pt x="149225" y="244475"/>
                  <a:pt x="142875" y="254794"/>
                </a:cubicBezTo>
                <a:cubicBezTo>
                  <a:pt x="136525" y="265113"/>
                  <a:pt x="132159" y="276622"/>
                  <a:pt x="128587" y="285750"/>
                </a:cubicBezTo>
                <a:cubicBezTo>
                  <a:pt x="125015" y="294878"/>
                  <a:pt x="125015" y="302022"/>
                  <a:pt x="121443" y="309563"/>
                </a:cubicBezTo>
                <a:cubicBezTo>
                  <a:pt x="117871" y="317104"/>
                  <a:pt x="121046" y="325835"/>
                  <a:pt x="107156" y="330994"/>
                </a:cubicBezTo>
                <a:cubicBezTo>
                  <a:pt x="93266" y="336153"/>
                  <a:pt x="53975" y="334963"/>
                  <a:pt x="38100" y="340519"/>
                </a:cubicBezTo>
                <a:cubicBezTo>
                  <a:pt x="22225" y="346075"/>
                  <a:pt x="18256" y="359966"/>
                  <a:pt x="11906" y="364332"/>
                </a:cubicBezTo>
                <a:cubicBezTo>
                  <a:pt x="5556" y="368698"/>
                  <a:pt x="2778" y="367705"/>
                  <a:pt x="0" y="366713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олилиния 41"/>
          <p:cNvSpPr/>
          <p:nvPr/>
        </p:nvSpPr>
        <p:spPr>
          <a:xfrm>
            <a:off x="7098261" y="4575531"/>
            <a:ext cx="803002" cy="473087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292" name="Полилиния 291"/>
          <p:cNvSpPr/>
          <p:nvPr/>
        </p:nvSpPr>
        <p:spPr>
          <a:xfrm>
            <a:off x="7093515" y="4575547"/>
            <a:ext cx="803002" cy="473087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noFill/>
          <a:ln w="6350"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Блок-схема: узел 170"/>
          <p:cNvSpPr/>
          <p:nvPr/>
        </p:nvSpPr>
        <p:spPr>
          <a:xfrm>
            <a:off x="7866684" y="4538157"/>
            <a:ext cx="74333" cy="7065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олилиния 26"/>
          <p:cNvSpPr/>
          <p:nvPr/>
        </p:nvSpPr>
        <p:spPr>
          <a:xfrm>
            <a:off x="7088981" y="4824413"/>
            <a:ext cx="17586" cy="214312"/>
          </a:xfrm>
          <a:custGeom>
            <a:avLst/>
            <a:gdLst>
              <a:gd name="connsiteX0" fmla="*/ 0 w 17586"/>
              <a:gd name="connsiteY0" fmla="*/ 0 h 214312"/>
              <a:gd name="connsiteX1" fmla="*/ 16669 w 17586"/>
              <a:gd name="connsiteY1" fmla="*/ 76200 h 214312"/>
              <a:gd name="connsiteX2" fmla="*/ 14288 w 17586"/>
              <a:gd name="connsiteY2" fmla="*/ 114300 h 214312"/>
              <a:gd name="connsiteX3" fmla="*/ 4763 w 17586"/>
              <a:gd name="connsiteY3" fmla="*/ 154781 h 214312"/>
              <a:gd name="connsiteX4" fmla="*/ 4763 w 17586"/>
              <a:gd name="connsiteY4" fmla="*/ 192881 h 214312"/>
              <a:gd name="connsiteX5" fmla="*/ 9525 w 17586"/>
              <a:gd name="connsiteY5" fmla="*/ 214312 h 21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86" h="214312">
                <a:moveTo>
                  <a:pt x="0" y="0"/>
                </a:moveTo>
                <a:cubicBezTo>
                  <a:pt x="7144" y="28575"/>
                  <a:pt x="14288" y="57150"/>
                  <a:pt x="16669" y="76200"/>
                </a:cubicBezTo>
                <a:cubicBezTo>
                  <a:pt x="19050" y="95250"/>
                  <a:pt x="16272" y="101203"/>
                  <a:pt x="14288" y="114300"/>
                </a:cubicBezTo>
                <a:cubicBezTo>
                  <a:pt x="12304" y="127397"/>
                  <a:pt x="6350" y="141684"/>
                  <a:pt x="4763" y="154781"/>
                </a:cubicBezTo>
                <a:cubicBezTo>
                  <a:pt x="3176" y="167878"/>
                  <a:pt x="3969" y="182959"/>
                  <a:pt x="4763" y="192881"/>
                </a:cubicBezTo>
                <a:cubicBezTo>
                  <a:pt x="5557" y="202803"/>
                  <a:pt x="7541" y="208557"/>
                  <a:pt x="9525" y="214312"/>
                </a:cubicBezTo>
              </a:path>
            </a:pathLst>
          </a:cu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3" name="Полилиния 292"/>
          <p:cNvSpPr/>
          <p:nvPr/>
        </p:nvSpPr>
        <p:spPr>
          <a:xfrm>
            <a:off x="7088997" y="4826810"/>
            <a:ext cx="17586" cy="214312"/>
          </a:xfrm>
          <a:custGeom>
            <a:avLst/>
            <a:gdLst>
              <a:gd name="connsiteX0" fmla="*/ 0 w 17586"/>
              <a:gd name="connsiteY0" fmla="*/ 0 h 214312"/>
              <a:gd name="connsiteX1" fmla="*/ 16669 w 17586"/>
              <a:gd name="connsiteY1" fmla="*/ 76200 h 214312"/>
              <a:gd name="connsiteX2" fmla="*/ 14288 w 17586"/>
              <a:gd name="connsiteY2" fmla="*/ 114300 h 214312"/>
              <a:gd name="connsiteX3" fmla="*/ 4763 w 17586"/>
              <a:gd name="connsiteY3" fmla="*/ 154781 h 214312"/>
              <a:gd name="connsiteX4" fmla="*/ 4763 w 17586"/>
              <a:gd name="connsiteY4" fmla="*/ 192881 h 214312"/>
              <a:gd name="connsiteX5" fmla="*/ 9525 w 17586"/>
              <a:gd name="connsiteY5" fmla="*/ 214312 h 21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86" h="214312">
                <a:moveTo>
                  <a:pt x="0" y="0"/>
                </a:moveTo>
                <a:cubicBezTo>
                  <a:pt x="7144" y="28575"/>
                  <a:pt x="14288" y="57150"/>
                  <a:pt x="16669" y="76200"/>
                </a:cubicBezTo>
                <a:cubicBezTo>
                  <a:pt x="19050" y="95250"/>
                  <a:pt x="16272" y="101203"/>
                  <a:pt x="14288" y="114300"/>
                </a:cubicBezTo>
                <a:cubicBezTo>
                  <a:pt x="12304" y="127397"/>
                  <a:pt x="6350" y="141684"/>
                  <a:pt x="4763" y="154781"/>
                </a:cubicBezTo>
                <a:cubicBezTo>
                  <a:pt x="3176" y="167878"/>
                  <a:pt x="3969" y="182959"/>
                  <a:pt x="4763" y="192881"/>
                </a:cubicBezTo>
                <a:cubicBezTo>
                  <a:pt x="5557" y="202803"/>
                  <a:pt x="7541" y="208557"/>
                  <a:pt x="9525" y="214312"/>
                </a:cubicBezTo>
              </a:path>
            </a:pathLst>
          </a:cu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4" name="Полилиния 293"/>
          <p:cNvSpPr/>
          <p:nvPr/>
        </p:nvSpPr>
        <p:spPr>
          <a:xfrm>
            <a:off x="7069949" y="4831572"/>
            <a:ext cx="17586" cy="214312"/>
          </a:xfrm>
          <a:custGeom>
            <a:avLst/>
            <a:gdLst>
              <a:gd name="connsiteX0" fmla="*/ 0 w 17586"/>
              <a:gd name="connsiteY0" fmla="*/ 0 h 214312"/>
              <a:gd name="connsiteX1" fmla="*/ 16669 w 17586"/>
              <a:gd name="connsiteY1" fmla="*/ 76200 h 214312"/>
              <a:gd name="connsiteX2" fmla="*/ 14288 w 17586"/>
              <a:gd name="connsiteY2" fmla="*/ 114300 h 214312"/>
              <a:gd name="connsiteX3" fmla="*/ 4763 w 17586"/>
              <a:gd name="connsiteY3" fmla="*/ 154781 h 214312"/>
              <a:gd name="connsiteX4" fmla="*/ 4763 w 17586"/>
              <a:gd name="connsiteY4" fmla="*/ 192881 h 214312"/>
              <a:gd name="connsiteX5" fmla="*/ 9525 w 17586"/>
              <a:gd name="connsiteY5" fmla="*/ 214312 h 21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86" h="214312">
                <a:moveTo>
                  <a:pt x="0" y="0"/>
                </a:moveTo>
                <a:cubicBezTo>
                  <a:pt x="7144" y="28575"/>
                  <a:pt x="14288" y="57150"/>
                  <a:pt x="16669" y="76200"/>
                </a:cubicBezTo>
                <a:cubicBezTo>
                  <a:pt x="19050" y="95250"/>
                  <a:pt x="16272" y="101203"/>
                  <a:pt x="14288" y="114300"/>
                </a:cubicBezTo>
                <a:cubicBezTo>
                  <a:pt x="12304" y="127397"/>
                  <a:pt x="6350" y="141684"/>
                  <a:pt x="4763" y="154781"/>
                </a:cubicBezTo>
                <a:cubicBezTo>
                  <a:pt x="3176" y="167878"/>
                  <a:pt x="3969" y="182959"/>
                  <a:pt x="4763" y="192881"/>
                </a:cubicBezTo>
                <a:cubicBezTo>
                  <a:pt x="5557" y="202803"/>
                  <a:pt x="7541" y="208557"/>
                  <a:pt x="9525" y="214312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5" name="Полилиния 294"/>
          <p:cNvSpPr/>
          <p:nvPr/>
        </p:nvSpPr>
        <p:spPr>
          <a:xfrm>
            <a:off x="7110442" y="4829207"/>
            <a:ext cx="17586" cy="214312"/>
          </a:xfrm>
          <a:custGeom>
            <a:avLst/>
            <a:gdLst>
              <a:gd name="connsiteX0" fmla="*/ 0 w 17586"/>
              <a:gd name="connsiteY0" fmla="*/ 0 h 214312"/>
              <a:gd name="connsiteX1" fmla="*/ 16669 w 17586"/>
              <a:gd name="connsiteY1" fmla="*/ 76200 h 214312"/>
              <a:gd name="connsiteX2" fmla="*/ 14288 w 17586"/>
              <a:gd name="connsiteY2" fmla="*/ 114300 h 214312"/>
              <a:gd name="connsiteX3" fmla="*/ 4763 w 17586"/>
              <a:gd name="connsiteY3" fmla="*/ 154781 h 214312"/>
              <a:gd name="connsiteX4" fmla="*/ 4763 w 17586"/>
              <a:gd name="connsiteY4" fmla="*/ 192881 h 214312"/>
              <a:gd name="connsiteX5" fmla="*/ 9525 w 17586"/>
              <a:gd name="connsiteY5" fmla="*/ 214312 h 21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86" h="214312">
                <a:moveTo>
                  <a:pt x="0" y="0"/>
                </a:moveTo>
                <a:cubicBezTo>
                  <a:pt x="7144" y="28575"/>
                  <a:pt x="14288" y="57150"/>
                  <a:pt x="16669" y="76200"/>
                </a:cubicBezTo>
                <a:cubicBezTo>
                  <a:pt x="19050" y="95250"/>
                  <a:pt x="16272" y="101203"/>
                  <a:pt x="14288" y="114300"/>
                </a:cubicBezTo>
                <a:cubicBezTo>
                  <a:pt x="12304" y="127397"/>
                  <a:pt x="6350" y="141684"/>
                  <a:pt x="4763" y="154781"/>
                </a:cubicBezTo>
                <a:cubicBezTo>
                  <a:pt x="3176" y="167878"/>
                  <a:pt x="3969" y="182959"/>
                  <a:pt x="4763" y="192881"/>
                </a:cubicBezTo>
                <a:cubicBezTo>
                  <a:pt x="5557" y="202803"/>
                  <a:pt x="7541" y="208557"/>
                  <a:pt x="9525" y="214312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олилиния 27"/>
          <p:cNvSpPr/>
          <p:nvPr/>
        </p:nvSpPr>
        <p:spPr>
          <a:xfrm>
            <a:off x="6919913" y="4799384"/>
            <a:ext cx="157162" cy="53604"/>
          </a:xfrm>
          <a:custGeom>
            <a:avLst/>
            <a:gdLst>
              <a:gd name="connsiteX0" fmla="*/ 0 w 157162"/>
              <a:gd name="connsiteY0" fmla="*/ 53604 h 53604"/>
              <a:gd name="connsiteX1" fmla="*/ 73818 w 157162"/>
              <a:gd name="connsiteY1" fmla="*/ 5979 h 53604"/>
              <a:gd name="connsiteX2" fmla="*/ 97631 w 157162"/>
              <a:gd name="connsiteY2" fmla="*/ 1216 h 53604"/>
              <a:gd name="connsiteX3" fmla="*/ 126206 w 157162"/>
              <a:gd name="connsiteY3" fmla="*/ 10741 h 53604"/>
              <a:gd name="connsiteX4" fmla="*/ 157162 w 157162"/>
              <a:gd name="connsiteY4" fmla="*/ 20266 h 53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162" h="53604">
                <a:moveTo>
                  <a:pt x="0" y="53604"/>
                </a:moveTo>
                <a:cubicBezTo>
                  <a:pt x="28773" y="34157"/>
                  <a:pt x="57546" y="14710"/>
                  <a:pt x="73818" y="5979"/>
                </a:cubicBezTo>
                <a:cubicBezTo>
                  <a:pt x="90090" y="-2752"/>
                  <a:pt x="88900" y="422"/>
                  <a:pt x="97631" y="1216"/>
                </a:cubicBezTo>
                <a:cubicBezTo>
                  <a:pt x="106362" y="2010"/>
                  <a:pt x="116284" y="7566"/>
                  <a:pt x="126206" y="10741"/>
                </a:cubicBezTo>
                <a:cubicBezTo>
                  <a:pt x="136128" y="13916"/>
                  <a:pt x="146645" y="17091"/>
                  <a:pt x="157162" y="20266"/>
                </a:cubicBezTo>
              </a:path>
            </a:pathLst>
          </a:cu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6" name="Полилиния 295"/>
          <p:cNvSpPr/>
          <p:nvPr/>
        </p:nvSpPr>
        <p:spPr>
          <a:xfrm>
            <a:off x="6919929" y="4797019"/>
            <a:ext cx="157162" cy="53604"/>
          </a:xfrm>
          <a:custGeom>
            <a:avLst/>
            <a:gdLst>
              <a:gd name="connsiteX0" fmla="*/ 0 w 157162"/>
              <a:gd name="connsiteY0" fmla="*/ 53604 h 53604"/>
              <a:gd name="connsiteX1" fmla="*/ 73818 w 157162"/>
              <a:gd name="connsiteY1" fmla="*/ 5979 h 53604"/>
              <a:gd name="connsiteX2" fmla="*/ 97631 w 157162"/>
              <a:gd name="connsiteY2" fmla="*/ 1216 h 53604"/>
              <a:gd name="connsiteX3" fmla="*/ 126206 w 157162"/>
              <a:gd name="connsiteY3" fmla="*/ 10741 h 53604"/>
              <a:gd name="connsiteX4" fmla="*/ 157162 w 157162"/>
              <a:gd name="connsiteY4" fmla="*/ 20266 h 53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162" h="53604">
                <a:moveTo>
                  <a:pt x="0" y="53604"/>
                </a:moveTo>
                <a:cubicBezTo>
                  <a:pt x="28773" y="34157"/>
                  <a:pt x="57546" y="14710"/>
                  <a:pt x="73818" y="5979"/>
                </a:cubicBezTo>
                <a:cubicBezTo>
                  <a:pt x="90090" y="-2752"/>
                  <a:pt x="88900" y="422"/>
                  <a:pt x="97631" y="1216"/>
                </a:cubicBezTo>
                <a:cubicBezTo>
                  <a:pt x="106362" y="2010"/>
                  <a:pt x="116284" y="7566"/>
                  <a:pt x="126206" y="10741"/>
                </a:cubicBezTo>
                <a:cubicBezTo>
                  <a:pt x="136128" y="13916"/>
                  <a:pt x="146645" y="17091"/>
                  <a:pt x="157162" y="20266"/>
                </a:cubicBezTo>
              </a:path>
            </a:pathLst>
          </a:cu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7" name="Полилиния 296"/>
          <p:cNvSpPr/>
          <p:nvPr/>
        </p:nvSpPr>
        <p:spPr>
          <a:xfrm>
            <a:off x="6918250" y="4774120"/>
            <a:ext cx="157162" cy="53604"/>
          </a:xfrm>
          <a:custGeom>
            <a:avLst/>
            <a:gdLst>
              <a:gd name="connsiteX0" fmla="*/ 0 w 157162"/>
              <a:gd name="connsiteY0" fmla="*/ 53604 h 53604"/>
              <a:gd name="connsiteX1" fmla="*/ 73818 w 157162"/>
              <a:gd name="connsiteY1" fmla="*/ 5979 h 53604"/>
              <a:gd name="connsiteX2" fmla="*/ 97631 w 157162"/>
              <a:gd name="connsiteY2" fmla="*/ 1216 h 53604"/>
              <a:gd name="connsiteX3" fmla="*/ 126206 w 157162"/>
              <a:gd name="connsiteY3" fmla="*/ 10741 h 53604"/>
              <a:gd name="connsiteX4" fmla="*/ 157162 w 157162"/>
              <a:gd name="connsiteY4" fmla="*/ 20266 h 53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162" h="53604">
                <a:moveTo>
                  <a:pt x="0" y="53604"/>
                </a:moveTo>
                <a:cubicBezTo>
                  <a:pt x="28773" y="34157"/>
                  <a:pt x="57546" y="14710"/>
                  <a:pt x="73818" y="5979"/>
                </a:cubicBezTo>
                <a:cubicBezTo>
                  <a:pt x="90090" y="-2752"/>
                  <a:pt x="88900" y="422"/>
                  <a:pt x="97631" y="1216"/>
                </a:cubicBezTo>
                <a:cubicBezTo>
                  <a:pt x="106362" y="2010"/>
                  <a:pt x="116284" y="7566"/>
                  <a:pt x="126206" y="10741"/>
                </a:cubicBezTo>
                <a:cubicBezTo>
                  <a:pt x="136128" y="13916"/>
                  <a:pt x="146645" y="17091"/>
                  <a:pt x="157162" y="20266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8" name="Полилиния 297"/>
          <p:cNvSpPr/>
          <p:nvPr/>
        </p:nvSpPr>
        <p:spPr>
          <a:xfrm>
            <a:off x="6923028" y="4819375"/>
            <a:ext cx="157162" cy="53604"/>
          </a:xfrm>
          <a:custGeom>
            <a:avLst/>
            <a:gdLst>
              <a:gd name="connsiteX0" fmla="*/ 0 w 157162"/>
              <a:gd name="connsiteY0" fmla="*/ 53604 h 53604"/>
              <a:gd name="connsiteX1" fmla="*/ 73818 w 157162"/>
              <a:gd name="connsiteY1" fmla="*/ 5979 h 53604"/>
              <a:gd name="connsiteX2" fmla="*/ 97631 w 157162"/>
              <a:gd name="connsiteY2" fmla="*/ 1216 h 53604"/>
              <a:gd name="connsiteX3" fmla="*/ 126206 w 157162"/>
              <a:gd name="connsiteY3" fmla="*/ 10741 h 53604"/>
              <a:gd name="connsiteX4" fmla="*/ 157162 w 157162"/>
              <a:gd name="connsiteY4" fmla="*/ 20266 h 53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162" h="53604">
                <a:moveTo>
                  <a:pt x="0" y="53604"/>
                </a:moveTo>
                <a:cubicBezTo>
                  <a:pt x="28773" y="34157"/>
                  <a:pt x="57546" y="14710"/>
                  <a:pt x="73818" y="5979"/>
                </a:cubicBezTo>
                <a:cubicBezTo>
                  <a:pt x="90090" y="-2752"/>
                  <a:pt x="88900" y="422"/>
                  <a:pt x="97631" y="1216"/>
                </a:cubicBezTo>
                <a:cubicBezTo>
                  <a:pt x="106362" y="2010"/>
                  <a:pt x="116284" y="7566"/>
                  <a:pt x="126206" y="10741"/>
                </a:cubicBezTo>
                <a:cubicBezTo>
                  <a:pt x="136128" y="13916"/>
                  <a:pt x="146645" y="17091"/>
                  <a:pt x="157162" y="20266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1" name="Блок-схема: узел 290"/>
          <p:cNvSpPr/>
          <p:nvPr/>
        </p:nvSpPr>
        <p:spPr>
          <a:xfrm>
            <a:off x="7045679" y="4779260"/>
            <a:ext cx="91399" cy="87283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5200665" y="671154"/>
            <a:ext cx="394956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pitchFamily="34" charset="0"/>
              </a:rPr>
              <a:t>К 2025 году протяженность платных автодорог </a:t>
            </a:r>
            <a:r>
              <a:rPr lang="ru-RU" altLang="ru-RU" sz="1600" dirty="0" smtClean="0">
                <a:solidFill>
                  <a:srgbClr val="00B050"/>
                </a:solidFill>
                <a:latin typeface="Impact" pitchFamily="34" charset="0"/>
                <a:cs typeface="Arial" pitchFamily="34" charset="0"/>
              </a:rPr>
              <a:t>11,7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pitchFamily="34" charset="0"/>
              </a:rPr>
              <a:t> </a:t>
            </a:r>
            <a:r>
              <a:rPr lang="ru-RU" alt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pitchFamily="34" charset="0"/>
              </a:rPr>
              <a:t>тыс. км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8232" y="687509"/>
            <a:ext cx="424132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pitchFamily="34" charset="0"/>
              </a:rPr>
              <a:t>В 2020 году протяженность 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pitchFamily="34" charset="0"/>
              </a:rPr>
              <a:t>платных автодорог</a:t>
            </a:r>
          </a:p>
          <a:p>
            <a:pPr algn="ct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400" dirty="0" smtClean="0">
                <a:solidFill>
                  <a:srgbClr val="00B050"/>
                </a:solidFill>
                <a:latin typeface="Impact" pitchFamily="34" charset="0"/>
                <a:cs typeface="Arial" pitchFamily="34" charset="0"/>
              </a:rPr>
              <a:t> </a:t>
            </a:r>
            <a:r>
              <a:rPr lang="ru-RU" altLang="ru-RU" sz="1600" dirty="0">
                <a:solidFill>
                  <a:srgbClr val="00B050"/>
                </a:solidFill>
                <a:latin typeface="Impact" pitchFamily="34" charset="0"/>
                <a:cs typeface="Arial" pitchFamily="34" charset="0"/>
              </a:rPr>
              <a:t>6,7</a:t>
            </a:r>
            <a:r>
              <a:rPr lang="ru-RU" altLang="ru-RU" sz="1400" dirty="0">
                <a:solidFill>
                  <a:srgbClr val="00B050"/>
                </a:solidFill>
                <a:latin typeface="Impact" pitchFamily="34" charset="0"/>
                <a:cs typeface="Arial" pitchFamily="34" charset="0"/>
              </a:rPr>
              <a:t> </a:t>
            </a:r>
            <a:r>
              <a:rPr lang="ru-RU" alt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Arial" pitchFamily="34" charset="0"/>
              </a:rPr>
              <a:t>тыс. км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8730" y="82953"/>
            <a:ext cx="893355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latin typeface="Impact" pitchFamily="34" charset="0"/>
                <a:cs typeface="Arial" pitchFamily="34" charset="0"/>
              </a:rPr>
              <a:t>Внедрение платности на </a:t>
            </a:r>
            <a:r>
              <a:rPr lang="ru-RU" sz="2000" dirty="0" smtClean="0">
                <a:latin typeface="Impact" pitchFamily="34" charset="0"/>
                <a:cs typeface="Arial" pitchFamily="34" charset="0"/>
              </a:rPr>
              <a:t>автодорогах </a:t>
            </a:r>
            <a:r>
              <a:rPr lang="ru-RU" sz="2000" dirty="0">
                <a:latin typeface="Impact" pitchFamily="34" charset="0"/>
                <a:cs typeface="Arial" pitchFamily="34" charset="0"/>
              </a:rPr>
              <a:t>республиканского значения</a:t>
            </a:r>
          </a:p>
        </p:txBody>
      </p:sp>
      <p:sp>
        <p:nvSpPr>
          <p:cNvPr id="300" name="Блок-схема: узел 299"/>
          <p:cNvSpPr/>
          <p:nvPr/>
        </p:nvSpPr>
        <p:spPr>
          <a:xfrm>
            <a:off x="2322706" y="2442052"/>
            <a:ext cx="91399" cy="87283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0" name="Блок-схема: узел 249"/>
          <p:cNvSpPr/>
          <p:nvPr/>
        </p:nvSpPr>
        <p:spPr>
          <a:xfrm>
            <a:off x="6359434" y="5666455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4" name="Rectangle 44"/>
          <p:cNvSpPr>
            <a:spLocks noChangeArrowheads="1"/>
          </p:cNvSpPr>
          <p:nvPr/>
        </p:nvSpPr>
        <p:spPr bwMode="auto">
          <a:xfrm>
            <a:off x="6495061" y="5571350"/>
            <a:ext cx="1761274" cy="79716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87782" tIns="144000" rIns="87782" bIns="43891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452438" indent="-1270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2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00" dirty="0" smtClean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Существующие  </a:t>
            </a:r>
            <a:r>
              <a:rPr lang="ru-RU" altLang="ru-RU" sz="1000" dirty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- </a:t>
            </a:r>
            <a:r>
              <a:rPr lang="ru-RU" altLang="ru-RU" sz="1000" dirty="0" smtClean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 12 </a:t>
            </a:r>
            <a:r>
              <a:rPr lang="ru-RU" altLang="ru-RU" sz="1000" dirty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САИС</a:t>
            </a:r>
          </a:p>
          <a:p>
            <a:pPr eaLnBrk="1" hangingPunct="1">
              <a:lnSpc>
                <a:spcPct val="2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00" dirty="0" smtClean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Устройство </a:t>
            </a:r>
            <a:r>
              <a:rPr lang="ru-RU" altLang="ru-RU" sz="1000" dirty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в 2018 </a:t>
            </a:r>
            <a:r>
              <a:rPr lang="ru-RU" altLang="ru-RU" sz="1000" dirty="0" smtClean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году  </a:t>
            </a:r>
            <a:r>
              <a:rPr lang="ru-RU" altLang="ru-RU" sz="1000" dirty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– </a:t>
            </a:r>
            <a:r>
              <a:rPr lang="ru-RU" altLang="ru-RU" sz="1000" dirty="0" smtClean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 11 </a:t>
            </a:r>
            <a:r>
              <a:rPr lang="ru-RU" altLang="ru-RU" sz="1000" dirty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САИС  </a:t>
            </a:r>
          </a:p>
          <a:p>
            <a:pPr eaLnBrk="1" hangingPunct="1">
              <a:lnSpc>
                <a:spcPct val="2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00" dirty="0" smtClean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Устройство </a:t>
            </a:r>
            <a:r>
              <a:rPr lang="ru-RU" altLang="ru-RU" sz="1000" dirty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в </a:t>
            </a:r>
            <a:r>
              <a:rPr lang="ru-RU" altLang="ru-RU" sz="1000" dirty="0" smtClean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2019-2020 </a:t>
            </a:r>
            <a:r>
              <a:rPr lang="ru-RU" altLang="ru-RU" sz="1000" dirty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годы </a:t>
            </a:r>
            <a:r>
              <a:rPr lang="ru-RU" altLang="ru-RU" sz="1000" dirty="0" smtClean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 –  34 </a:t>
            </a:r>
            <a:r>
              <a:rPr lang="ru-RU" altLang="ru-RU" sz="1000" dirty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САИС  </a:t>
            </a:r>
            <a:r>
              <a:rPr lang="ru-RU" altLang="ru-RU" sz="1000" dirty="0" smtClean="0">
                <a:solidFill>
                  <a:schemeClr val="accent1">
                    <a:lumMod val="75000"/>
                  </a:schemeClr>
                </a:solidFill>
                <a:latin typeface="Impact" pitchFamily="34" charset="0"/>
              </a:rPr>
              <a:t> </a:t>
            </a:r>
            <a:endParaRPr lang="ru-RU" altLang="ru-RU" sz="1000" dirty="0">
              <a:solidFill>
                <a:schemeClr val="accent1">
                  <a:lumMod val="75000"/>
                </a:schemeClr>
              </a:solidFill>
              <a:latin typeface="Impact" pitchFamily="34" charset="0"/>
            </a:endParaRPr>
          </a:p>
        </p:txBody>
      </p:sp>
      <p:sp>
        <p:nvSpPr>
          <p:cNvPr id="285" name="Блок-схема: узел 284"/>
          <p:cNvSpPr/>
          <p:nvPr/>
        </p:nvSpPr>
        <p:spPr>
          <a:xfrm>
            <a:off x="6353686" y="5986805"/>
            <a:ext cx="126000" cy="126000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6" name="Блок-схема: узел 285"/>
          <p:cNvSpPr/>
          <p:nvPr/>
        </p:nvSpPr>
        <p:spPr>
          <a:xfrm>
            <a:off x="6359303" y="6292111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8" name="Блок-схема: узел 287"/>
          <p:cNvSpPr/>
          <p:nvPr/>
        </p:nvSpPr>
        <p:spPr>
          <a:xfrm>
            <a:off x="2317661" y="2416833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9" name="Блок-схема: узел 298"/>
          <p:cNvSpPr/>
          <p:nvPr/>
        </p:nvSpPr>
        <p:spPr>
          <a:xfrm>
            <a:off x="6878487" y="5012014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1" name="Блок-схема: узел 300"/>
          <p:cNvSpPr/>
          <p:nvPr/>
        </p:nvSpPr>
        <p:spPr>
          <a:xfrm>
            <a:off x="6859513" y="4835924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2" name="Блок-схема: узел 301"/>
          <p:cNvSpPr/>
          <p:nvPr/>
        </p:nvSpPr>
        <p:spPr>
          <a:xfrm>
            <a:off x="5511930" y="2643574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3" name="Блок-схема: узел 302"/>
          <p:cNvSpPr/>
          <p:nvPr/>
        </p:nvSpPr>
        <p:spPr>
          <a:xfrm>
            <a:off x="5346733" y="2445750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4" name="Блок-схема: узел 303"/>
          <p:cNvSpPr/>
          <p:nvPr/>
        </p:nvSpPr>
        <p:spPr>
          <a:xfrm>
            <a:off x="4501299" y="2249512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5" name="Блок-схема: узел 304"/>
          <p:cNvSpPr/>
          <p:nvPr/>
        </p:nvSpPr>
        <p:spPr>
          <a:xfrm>
            <a:off x="4026128" y="2111497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6" name="Блок-схема: узел 305"/>
          <p:cNvSpPr/>
          <p:nvPr/>
        </p:nvSpPr>
        <p:spPr>
          <a:xfrm>
            <a:off x="3700936" y="1637298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7" name="Блок-схема: узел 306"/>
          <p:cNvSpPr/>
          <p:nvPr/>
        </p:nvSpPr>
        <p:spPr>
          <a:xfrm>
            <a:off x="6716396" y="1625605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8" name="Блок-схема: узел 307"/>
          <p:cNvSpPr/>
          <p:nvPr/>
        </p:nvSpPr>
        <p:spPr>
          <a:xfrm>
            <a:off x="6888180" y="1832989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9" name="Блок-схема: узел 308"/>
          <p:cNvSpPr/>
          <p:nvPr/>
        </p:nvSpPr>
        <p:spPr>
          <a:xfrm>
            <a:off x="6045700" y="5229397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0" name="Блок-схема: узел 309"/>
          <p:cNvSpPr/>
          <p:nvPr/>
        </p:nvSpPr>
        <p:spPr>
          <a:xfrm>
            <a:off x="5144885" y="1849620"/>
            <a:ext cx="126000" cy="126000"/>
          </a:xfrm>
          <a:prstGeom prst="flowChartConnector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1" name="Блок-схема: узел 310"/>
          <p:cNvSpPr/>
          <p:nvPr/>
        </p:nvSpPr>
        <p:spPr>
          <a:xfrm>
            <a:off x="7829386" y="4506759"/>
            <a:ext cx="126000" cy="126000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2" name="Блок-схема: узел 311"/>
          <p:cNvSpPr/>
          <p:nvPr/>
        </p:nvSpPr>
        <p:spPr>
          <a:xfrm>
            <a:off x="7182125" y="4898323"/>
            <a:ext cx="126000" cy="126000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3" name="Блок-схема: узел 312"/>
          <p:cNvSpPr/>
          <p:nvPr/>
        </p:nvSpPr>
        <p:spPr>
          <a:xfrm>
            <a:off x="7025997" y="4955418"/>
            <a:ext cx="126000" cy="126000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4" name="Блок-схема: узел 313"/>
          <p:cNvSpPr/>
          <p:nvPr/>
        </p:nvSpPr>
        <p:spPr>
          <a:xfrm>
            <a:off x="7020361" y="4754540"/>
            <a:ext cx="126000" cy="126000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5" name="Блок-схема: узел 314"/>
          <p:cNvSpPr/>
          <p:nvPr/>
        </p:nvSpPr>
        <p:spPr>
          <a:xfrm>
            <a:off x="5574930" y="2529734"/>
            <a:ext cx="126000" cy="126000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6" name="Блок-схема: узел 315"/>
          <p:cNvSpPr/>
          <p:nvPr/>
        </p:nvSpPr>
        <p:spPr>
          <a:xfrm>
            <a:off x="5837796" y="2792794"/>
            <a:ext cx="126000" cy="126000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7" name="Блок-схема: узел 316"/>
          <p:cNvSpPr/>
          <p:nvPr/>
        </p:nvSpPr>
        <p:spPr>
          <a:xfrm>
            <a:off x="5160884" y="5715760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8" name="Блок-схема: узел 317"/>
          <p:cNvSpPr/>
          <p:nvPr/>
        </p:nvSpPr>
        <p:spPr>
          <a:xfrm>
            <a:off x="5193256" y="5542256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9" name="Блок-схема: узел 318"/>
          <p:cNvSpPr/>
          <p:nvPr/>
        </p:nvSpPr>
        <p:spPr>
          <a:xfrm>
            <a:off x="5331799" y="5406733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0" name="Блок-схема: узел 319"/>
          <p:cNvSpPr/>
          <p:nvPr/>
        </p:nvSpPr>
        <p:spPr>
          <a:xfrm>
            <a:off x="5116291" y="5383091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1" name="Блок-схема: узел 320"/>
          <p:cNvSpPr/>
          <p:nvPr/>
        </p:nvSpPr>
        <p:spPr>
          <a:xfrm>
            <a:off x="5654410" y="5259516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2" name="Блок-схема: узел 321"/>
          <p:cNvSpPr/>
          <p:nvPr/>
        </p:nvSpPr>
        <p:spPr>
          <a:xfrm>
            <a:off x="4341148" y="4684997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3" name="Блок-схема: узел 322"/>
          <p:cNvSpPr/>
          <p:nvPr/>
        </p:nvSpPr>
        <p:spPr>
          <a:xfrm>
            <a:off x="4191719" y="4632759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4" name="Блок-схема: узел 323"/>
          <p:cNvSpPr/>
          <p:nvPr/>
        </p:nvSpPr>
        <p:spPr>
          <a:xfrm>
            <a:off x="1908175" y="4419079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5" name="Блок-схема: узел 324"/>
          <p:cNvSpPr/>
          <p:nvPr/>
        </p:nvSpPr>
        <p:spPr>
          <a:xfrm>
            <a:off x="1732834" y="4177097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6" name="Блок-схема: узел 325"/>
          <p:cNvSpPr/>
          <p:nvPr/>
        </p:nvSpPr>
        <p:spPr>
          <a:xfrm>
            <a:off x="691055" y="4576762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7" name="Блок-схема: узел 326"/>
          <p:cNvSpPr/>
          <p:nvPr/>
        </p:nvSpPr>
        <p:spPr>
          <a:xfrm>
            <a:off x="1184135" y="3440230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8" name="Блок-схема: узел 327"/>
          <p:cNvSpPr/>
          <p:nvPr/>
        </p:nvSpPr>
        <p:spPr>
          <a:xfrm>
            <a:off x="1005370" y="2050513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9" name="Блок-схема: узел 328"/>
          <p:cNvSpPr/>
          <p:nvPr/>
        </p:nvSpPr>
        <p:spPr>
          <a:xfrm>
            <a:off x="1209070" y="2120409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0" name="Блок-схема: узел 329"/>
          <p:cNvSpPr/>
          <p:nvPr/>
        </p:nvSpPr>
        <p:spPr>
          <a:xfrm>
            <a:off x="1370443" y="2202913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1" name="Блок-схема: узел 330"/>
          <p:cNvSpPr/>
          <p:nvPr/>
        </p:nvSpPr>
        <p:spPr>
          <a:xfrm>
            <a:off x="2394810" y="2654257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2" name="Блок-схема: узел 331"/>
          <p:cNvSpPr/>
          <p:nvPr/>
        </p:nvSpPr>
        <p:spPr>
          <a:xfrm>
            <a:off x="2467500" y="2545638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3" name="Блок-схема: узел 332"/>
          <p:cNvSpPr/>
          <p:nvPr/>
        </p:nvSpPr>
        <p:spPr>
          <a:xfrm>
            <a:off x="2761970" y="2457670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4" name="Блок-схема: узел 333"/>
          <p:cNvSpPr/>
          <p:nvPr/>
        </p:nvSpPr>
        <p:spPr>
          <a:xfrm>
            <a:off x="3296205" y="2295313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5" name="Блок-схема: узел 334"/>
          <p:cNvSpPr/>
          <p:nvPr/>
        </p:nvSpPr>
        <p:spPr>
          <a:xfrm>
            <a:off x="3519537" y="1527491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6" name="Блок-схема: узел 335"/>
          <p:cNvSpPr/>
          <p:nvPr/>
        </p:nvSpPr>
        <p:spPr>
          <a:xfrm>
            <a:off x="4999703" y="1316877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7" name="Блок-схема: узел 336"/>
          <p:cNvSpPr/>
          <p:nvPr/>
        </p:nvSpPr>
        <p:spPr>
          <a:xfrm>
            <a:off x="4801372" y="1209248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8" name="Блок-схема: узел 337"/>
          <p:cNvSpPr/>
          <p:nvPr/>
        </p:nvSpPr>
        <p:spPr>
          <a:xfrm>
            <a:off x="5006148" y="1102643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9" name="Блок-схема: узел 338"/>
          <p:cNvSpPr/>
          <p:nvPr/>
        </p:nvSpPr>
        <p:spPr>
          <a:xfrm>
            <a:off x="5705701" y="1491818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0" name="Блок-схема: узел 339"/>
          <p:cNvSpPr/>
          <p:nvPr/>
        </p:nvSpPr>
        <p:spPr>
          <a:xfrm>
            <a:off x="5062703" y="1730509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1" name="Блок-схема: узел 340"/>
          <p:cNvSpPr/>
          <p:nvPr/>
        </p:nvSpPr>
        <p:spPr>
          <a:xfrm>
            <a:off x="7505127" y="2257379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2" name="Блок-схема: узел 341"/>
          <p:cNvSpPr/>
          <p:nvPr/>
        </p:nvSpPr>
        <p:spPr>
          <a:xfrm>
            <a:off x="7715417" y="2290833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3" name="Блок-схема: узел 342"/>
          <p:cNvSpPr/>
          <p:nvPr/>
        </p:nvSpPr>
        <p:spPr>
          <a:xfrm>
            <a:off x="7259741" y="4412157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4" name="Блок-схема: узел 343"/>
          <p:cNvSpPr/>
          <p:nvPr/>
        </p:nvSpPr>
        <p:spPr>
          <a:xfrm>
            <a:off x="7140297" y="4708823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5" name="Блок-схема: узел 344"/>
          <p:cNvSpPr/>
          <p:nvPr/>
        </p:nvSpPr>
        <p:spPr>
          <a:xfrm>
            <a:off x="5462922" y="2466734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6" name="Блок-схема: узел 345"/>
          <p:cNvSpPr/>
          <p:nvPr/>
        </p:nvSpPr>
        <p:spPr>
          <a:xfrm>
            <a:off x="5605116" y="2365691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7" name="Блок-схема: узел 346"/>
          <p:cNvSpPr/>
          <p:nvPr/>
        </p:nvSpPr>
        <p:spPr>
          <a:xfrm>
            <a:off x="6523197" y="2035942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8" name="Блок-схема: узел 347"/>
          <p:cNvSpPr/>
          <p:nvPr/>
        </p:nvSpPr>
        <p:spPr>
          <a:xfrm>
            <a:off x="6547987" y="1895899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9" name="Блок-схема: узел 348"/>
          <p:cNvSpPr/>
          <p:nvPr/>
        </p:nvSpPr>
        <p:spPr>
          <a:xfrm>
            <a:off x="6161648" y="1551910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0" name="Блок-схема: узел 349"/>
          <p:cNvSpPr/>
          <p:nvPr/>
        </p:nvSpPr>
        <p:spPr>
          <a:xfrm>
            <a:off x="1298820" y="1968455"/>
            <a:ext cx="126000" cy="1260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1" name="Номер слайда 14"/>
          <p:cNvSpPr txBox="1">
            <a:spLocks/>
          </p:cNvSpPr>
          <p:nvPr/>
        </p:nvSpPr>
        <p:spPr>
          <a:xfrm>
            <a:off x="8631807" y="6520259"/>
            <a:ext cx="6207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k-KZ" dirty="0" smtClean="0">
                <a:solidFill>
                  <a:schemeClr val="tx1"/>
                </a:solidFill>
                <a:latin typeface="Impact" pitchFamily="34" charset="0"/>
              </a:rPr>
              <a:t>9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  <p:sp>
        <p:nvSpPr>
          <p:cNvPr id="352" name="Line 45"/>
          <p:cNvSpPr>
            <a:spLocks noChangeShapeType="1"/>
          </p:cNvSpPr>
          <p:nvPr/>
        </p:nvSpPr>
        <p:spPr bwMode="auto">
          <a:xfrm>
            <a:off x="659296" y="6065149"/>
            <a:ext cx="360000" cy="0"/>
          </a:xfrm>
          <a:prstGeom prst="line">
            <a:avLst/>
          </a:prstGeom>
          <a:noFill/>
          <a:ln w="63500">
            <a:solidFill>
              <a:srgbClr val="7030A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1204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Заголовок 1"/>
          <p:cNvSpPr>
            <a:spLocks/>
          </p:cNvSpPr>
          <p:nvPr/>
        </p:nvSpPr>
        <p:spPr bwMode="auto">
          <a:xfrm>
            <a:off x="107504" y="116632"/>
            <a:ext cx="8978333" cy="36036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altLang="ru-RU" dirty="0" smtClean="0">
                <a:latin typeface="Impact" pitchFamily="34" charset="0"/>
                <a:ea typeface="Calibri" pitchFamily="34" charset="0"/>
                <a:cs typeface="Calibri" pitchFamily="34" charset="0"/>
              </a:rPr>
              <a:t>Развитие объектов  дорожного </a:t>
            </a:r>
            <a:r>
              <a:rPr lang="ru-RU" altLang="ru-RU" dirty="0">
                <a:latin typeface="Impact" pitchFamily="34" charset="0"/>
                <a:ea typeface="Calibri" pitchFamily="34" charset="0"/>
                <a:cs typeface="Calibri" pitchFamily="34" charset="0"/>
              </a:rPr>
              <a:t>сервиса </a:t>
            </a:r>
          </a:p>
        </p:txBody>
      </p:sp>
      <p:sp>
        <p:nvSpPr>
          <p:cNvPr id="1028" name="Прямоугольник 18"/>
          <p:cNvSpPr>
            <a:spLocks noChangeArrowheads="1"/>
          </p:cNvSpPr>
          <p:nvPr/>
        </p:nvSpPr>
        <p:spPr bwMode="auto">
          <a:xfrm>
            <a:off x="35496" y="498158"/>
            <a:ext cx="849694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60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Arial" pitchFamily="34" charset="0"/>
              </a:rPr>
              <a:t>В </a:t>
            </a:r>
            <a:r>
              <a:rPr lang="ru-RU" altLang="ru-RU" sz="1600" dirty="0">
                <a:solidFill>
                  <a:srgbClr val="595959"/>
                </a:solidFill>
                <a:latin typeface="Impact" pitchFamily="34" charset="0"/>
                <a:ea typeface="MS PGothic"/>
                <a:cs typeface="Arial" pitchFamily="34" charset="0"/>
              </a:rPr>
              <a:t>2015 году утвержден </a:t>
            </a:r>
            <a:r>
              <a:rPr lang="ru-RU" altLang="ru-RU" sz="1600" b="1" dirty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 </a:t>
            </a:r>
            <a:r>
              <a:rPr lang="ru-RU" altLang="ru-RU" sz="1600" dirty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Национальный стандарт для объектов </a:t>
            </a:r>
            <a:r>
              <a:rPr lang="ru-RU" altLang="ru-RU" sz="1600" dirty="0" smtClean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дорожного </a:t>
            </a:r>
            <a:r>
              <a:rPr lang="ru-RU" altLang="ru-RU" sz="1600" dirty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сервиса</a:t>
            </a:r>
            <a:endParaRPr lang="ru-RU" altLang="ru-RU" sz="1600" u="sng" dirty="0">
              <a:solidFill>
                <a:srgbClr val="595959"/>
              </a:solidFill>
              <a:latin typeface="Impact" pitchFamily="34" charset="0"/>
              <a:ea typeface="MS PGothic"/>
              <a:cs typeface="Arial" pitchFamily="34" charset="0"/>
            </a:endParaRPr>
          </a:p>
        </p:txBody>
      </p:sp>
      <p:sp>
        <p:nvSpPr>
          <p:cNvPr id="62" name="Прямоугольник 19"/>
          <p:cNvSpPr>
            <a:spLocks noChangeArrowheads="1"/>
          </p:cNvSpPr>
          <p:nvPr/>
        </p:nvSpPr>
        <p:spPr bwMode="auto">
          <a:xfrm>
            <a:off x="683568" y="6237312"/>
            <a:ext cx="840227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sz="1600" dirty="0" smtClean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К 2020 году </a:t>
            </a:r>
            <a:r>
              <a:rPr lang="ru-RU" altLang="ru-RU" sz="1600" dirty="0" smtClean="0">
                <a:solidFill>
                  <a:schemeClr val="accent2">
                    <a:lumMod val="75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 </a:t>
            </a:r>
            <a:r>
              <a:rPr lang="ru-RU" alt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полное соответствие </a:t>
            </a:r>
            <a:r>
              <a:rPr lang="ru-RU" altLang="ru-RU" sz="160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Arial" pitchFamily="34" charset="0"/>
              </a:rPr>
              <a:t>действующих объектов  дорожного сервиса требованиям </a:t>
            </a:r>
            <a:r>
              <a:rPr lang="ru-RU" altLang="ru-RU" sz="1600" dirty="0" smtClean="0">
                <a:solidFill>
                  <a:srgbClr val="33CC33"/>
                </a:solidFill>
                <a:latin typeface="Impact" pitchFamily="34" charset="0"/>
                <a:ea typeface="MS PGothic"/>
                <a:cs typeface="Arial" pitchFamily="34" charset="0"/>
              </a:rPr>
              <a:t>Национального стандарта</a:t>
            </a:r>
          </a:p>
        </p:txBody>
      </p:sp>
      <p:sp>
        <p:nvSpPr>
          <p:cNvPr id="65" name="Прямоугольник 19"/>
          <p:cNvSpPr>
            <a:spLocks noChangeArrowheads="1"/>
          </p:cNvSpPr>
          <p:nvPr/>
        </p:nvSpPr>
        <p:spPr bwMode="auto">
          <a:xfrm>
            <a:off x="107504" y="3861048"/>
            <a:ext cx="894203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400" dirty="0" smtClean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До конца 201</a:t>
            </a:r>
            <a:r>
              <a:rPr lang="en-US" altLang="ru-RU" sz="1400" dirty="0" smtClean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8</a:t>
            </a:r>
            <a:r>
              <a:rPr lang="ru-RU" altLang="ru-RU" sz="1400" dirty="0" smtClean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 года </a:t>
            </a:r>
            <a:r>
              <a:rPr lang="ru-RU" altLang="ru-RU" sz="140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Arial" pitchFamily="34" charset="0"/>
              </a:rPr>
              <a:t>планируется</a:t>
            </a:r>
            <a:r>
              <a:rPr lang="ru-RU" altLang="ru-RU" sz="1400" dirty="0">
                <a:solidFill>
                  <a:srgbClr val="595959"/>
                </a:solidFill>
                <a:latin typeface="Impact" pitchFamily="34" charset="0"/>
                <a:ea typeface="MS PGothic"/>
                <a:cs typeface="Arial" pitchFamily="34" charset="0"/>
              </a:rPr>
              <a:t> </a:t>
            </a:r>
            <a:r>
              <a:rPr lang="ru-RU" altLang="ru-RU" sz="140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Arial" pitchFamily="34" charset="0"/>
              </a:rPr>
              <a:t>довести количество объектов дорожного сервиса  соответствующих требованиям Национального стандарта до </a:t>
            </a:r>
            <a:r>
              <a:rPr lang="ru-RU" altLang="ru-RU" sz="1400" dirty="0" smtClean="0">
                <a:solidFill>
                  <a:srgbClr val="33CC33"/>
                </a:solidFill>
                <a:latin typeface="Impact" pitchFamily="34" charset="0"/>
                <a:ea typeface="MS PGothic"/>
                <a:cs typeface="Arial" pitchFamily="34" charset="0"/>
              </a:rPr>
              <a:t>850</a:t>
            </a:r>
            <a:endParaRPr lang="ru-RU" altLang="ru-RU" sz="1400" dirty="0" smtClean="0">
              <a:solidFill>
                <a:srgbClr val="595959"/>
              </a:solidFill>
              <a:latin typeface="Impact" pitchFamily="34" charset="0"/>
              <a:ea typeface="MS PGothic"/>
              <a:cs typeface="Arial" pitchFamily="34" charset="0"/>
            </a:endParaRPr>
          </a:p>
        </p:txBody>
      </p:sp>
      <p:sp>
        <p:nvSpPr>
          <p:cNvPr id="32" name="Textfeld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504" y="4581128"/>
            <a:ext cx="2768044" cy="1008111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  <a:ln w="9525">
            <a:solidFill>
              <a:srgbClr val="E0E0E3"/>
            </a:solidFill>
            <a:miter lim="800000"/>
            <a:headEnd/>
            <a:tailEnd/>
          </a:ln>
        </p:spPr>
        <p:txBody>
          <a:bodyPr lIns="107863" tIns="0" rIns="107863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altLang="ru-RU" sz="14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ea typeface="MS PGothic"/>
              </a:rPr>
              <a:t>ГОСУДАРСТВЕННАЯ ПРОГРАММА ИНФРАСТРУКТУРНОГО РАЗВИТИЯ «НУРЛЫ ЖОЛ»</a:t>
            </a:r>
          </a:p>
        </p:txBody>
      </p:sp>
      <p:sp>
        <p:nvSpPr>
          <p:cNvPr id="34" name="Равнобедренный треугольник 33"/>
          <p:cNvSpPr/>
          <p:nvPr/>
        </p:nvSpPr>
        <p:spPr bwMode="auto">
          <a:xfrm rot="5400000">
            <a:off x="2663788" y="4905164"/>
            <a:ext cx="1008112" cy="36004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 useBgFill="1">
        <p:nvSpPr>
          <p:cNvPr id="35" name="Textfeld 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450707" y="4509120"/>
            <a:ext cx="5598831" cy="1728192"/>
          </a:xfrm>
          <a:prstGeom prst="rect">
            <a:avLst/>
          </a:prstGeom>
          <a:ln w="9525">
            <a:solidFill>
              <a:srgbClr val="E0E0E3"/>
            </a:solidFill>
            <a:miter lim="800000"/>
            <a:headEnd/>
            <a:tailEnd/>
          </a:ln>
        </p:spPr>
        <p:txBody>
          <a:bodyPr lIns="107863" tIns="0" rIns="107863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77800" indent="-177800" algn="just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ru-RU" altLang="ru-RU" sz="1100" dirty="0" smtClean="0">
                <a:solidFill>
                  <a:srgbClr val="595959"/>
                </a:solidFill>
                <a:latin typeface="Impact" pitchFamily="34" charset="0"/>
                <a:ea typeface="MS PGothic"/>
              </a:rPr>
              <a:t>Завершены работы по инвентаризации объектов сервиса на республиканской сети</a:t>
            </a:r>
          </a:p>
          <a:p>
            <a:pPr marL="177800" indent="-177800" algn="just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ru-RU" altLang="ru-RU" sz="1100" dirty="0" smtClean="0">
                <a:solidFill>
                  <a:srgbClr val="595959"/>
                </a:solidFill>
                <a:latin typeface="Impact" pitchFamily="34" charset="0"/>
                <a:ea typeface="MS PGothic"/>
              </a:rPr>
              <a:t>Строительство новых объектов сервиса по Нац. стандарту </a:t>
            </a:r>
          </a:p>
          <a:p>
            <a:pPr marL="177800" indent="-177800" algn="just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ru-RU" altLang="ru-RU" sz="1100" dirty="0">
                <a:solidFill>
                  <a:srgbClr val="595959"/>
                </a:solidFill>
                <a:latin typeface="Impact" pitchFamily="34" charset="0"/>
                <a:ea typeface="MS PGothic"/>
              </a:rPr>
              <a:t>Увеличение количество </a:t>
            </a:r>
            <a:r>
              <a:rPr lang="ru-RU" altLang="ru-RU" sz="1100" dirty="0" smtClean="0">
                <a:solidFill>
                  <a:srgbClr val="595959"/>
                </a:solidFill>
                <a:latin typeface="Impact" pitchFamily="34" charset="0"/>
                <a:ea typeface="MS PGothic"/>
              </a:rPr>
              <a:t>существующих объектов соответствующих Нац. стандарту </a:t>
            </a:r>
            <a:endParaRPr lang="ru-RU" altLang="ru-RU" sz="1100" dirty="0">
              <a:solidFill>
                <a:srgbClr val="595959"/>
              </a:solidFill>
              <a:latin typeface="Impact" pitchFamily="34" charset="0"/>
              <a:ea typeface="MS PGothic"/>
            </a:endParaRPr>
          </a:p>
          <a:p>
            <a:pPr marL="177800" indent="-177800" algn="just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ru-RU" altLang="ru-RU" sz="1100" dirty="0" smtClean="0">
                <a:solidFill>
                  <a:srgbClr val="595959"/>
                </a:solidFill>
                <a:latin typeface="Impact" pitchFamily="34" charset="0"/>
                <a:ea typeface="MS PGothic"/>
              </a:rPr>
              <a:t>Утверждена Дорожная карта по развитию объектов сервиса совместно с МИО</a:t>
            </a:r>
          </a:p>
          <a:p>
            <a:pPr marL="177800" indent="-177800" algn="just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ru-RU" altLang="ru-RU" sz="1100" dirty="0" smtClean="0">
                <a:solidFill>
                  <a:srgbClr val="595959"/>
                </a:solidFill>
                <a:latin typeface="Impact" pitchFamily="34" charset="0"/>
                <a:ea typeface="MS PGothic"/>
              </a:rPr>
              <a:t>Ведутся работы по установке павильонов сервиса модульного типа </a:t>
            </a:r>
            <a:r>
              <a:rPr lang="en-US" altLang="ru-RU" sz="1100" dirty="0" smtClean="0">
                <a:solidFill>
                  <a:srgbClr val="595959"/>
                </a:solidFill>
                <a:latin typeface="Impact" pitchFamily="34" charset="0"/>
                <a:ea typeface="MS PGothic"/>
              </a:rPr>
              <a:t>«</a:t>
            </a:r>
            <a:r>
              <a:rPr lang="en-US" altLang="ru-RU" sz="1100" dirty="0" err="1" smtClean="0">
                <a:solidFill>
                  <a:srgbClr val="595959"/>
                </a:solidFill>
                <a:latin typeface="Impact" pitchFamily="34" charset="0"/>
                <a:ea typeface="MS PGothic"/>
              </a:rPr>
              <a:t>KazW</a:t>
            </a:r>
            <a:r>
              <a:rPr lang="ru-RU" altLang="ru-RU" sz="1100" dirty="0">
                <a:solidFill>
                  <a:srgbClr val="595959"/>
                </a:solidFill>
                <a:latin typeface="Impact" pitchFamily="34" charset="0"/>
                <a:ea typeface="MS PGothic"/>
              </a:rPr>
              <a:t>а</a:t>
            </a:r>
            <a:r>
              <a:rPr lang="en-US" altLang="ru-RU" sz="1100" dirty="0">
                <a:solidFill>
                  <a:srgbClr val="595959"/>
                </a:solidFill>
                <a:latin typeface="Impact" pitchFamily="34" charset="0"/>
                <a:ea typeface="MS PGothic"/>
              </a:rPr>
              <a:t>y</a:t>
            </a:r>
            <a:r>
              <a:rPr lang="en-US" altLang="ru-RU" sz="1100" dirty="0" smtClean="0">
                <a:solidFill>
                  <a:srgbClr val="595959"/>
                </a:solidFill>
                <a:latin typeface="Impact" pitchFamily="34" charset="0"/>
                <a:ea typeface="MS PGothic"/>
              </a:rPr>
              <a:t>»</a:t>
            </a:r>
            <a:endParaRPr lang="ru-RU" altLang="ru-RU" sz="1100" dirty="0">
              <a:solidFill>
                <a:srgbClr val="595959"/>
              </a:solidFill>
              <a:latin typeface="Impact" pitchFamily="34" charset="0"/>
              <a:ea typeface="MS PGothic"/>
            </a:endParaRPr>
          </a:p>
          <a:p>
            <a:pPr marL="177800" indent="-177800" algn="just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ru-RU" altLang="ru-RU" sz="1100" dirty="0" smtClean="0">
                <a:solidFill>
                  <a:srgbClr val="595959"/>
                </a:solidFill>
                <a:latin typeface="Impact" pitchFamily="34" charset="0"/>
                <a:ea typeface="MS PGothic"/>
              </a:rPr>
              <a:t>Внесение информации об объектах сервиса в цифровую карту </a:t>
            </a:r>
            <a:r>
              <a:rPr lang="en-US" altLang="ru-RU" sz="1100" dirty="0">
                <a:solidFill>
                  <a:srgbClr val="595959"/>
                </a:solidFill>
                <a:latin typeface="Impact" pitchFamily="34" charset="0"/>
                <a:ea typeface="MS PGothic"/>
              </a:rPr>
              <a:t>IRU </a:t>
            </a:r>
            <a:r>
              <a:rPr lang="en-US" altLang="ru-RU" sz="1100" dirty="0" err="1">
                <a:solidFill>
                  <a:srgbClr val="595959"/>
                </a:solidFill>
                <a:latin typeface="Impact" pitchFamily="34" charset="0"/>
                <a:ea typeface="MS PGothic"/>
              </a:rPr>
              <a:t>Transpark</a:t>
            </a:r>
            <a:r>
              <a:rPr lang="en-US" altLang="ru-RU" sz="1100" dirty="0">
                <a:solidFill>
                  <a:srgbClr val="595959"/>
                </a:solidFill>
                <a:latin typeface="Impact" pitchFamily="34" charset="0"/>
                <a:ea typeface="MS PGothic"/>
              </a:rPr>
              <a:t>, Google Maps, </a:t>
            </a:r>
            <a:r>
              <a:rPr lang="ru-RU" altLang="ru-RU" sz="1100" dirty="0">
                <a:solidFill>
                  <a:srgbClr val="595959"/>
                </a:solidFill>
                <a:latin typeface="Impact" pitchFamily="34" charset="0"/>
                <a:ea typeface="MS PGothic"/>
              </a:rPr>
              <a:t>Яндекс Карты.</a:t>
            </a:r>
            <a:endParaRPr lang="ru-RU" altLang="ru-RU" sz="1100" dirty="0" smtClean="0">
              <a:solidFill>
                <a:srgbClr val="595959"/>
              </a:solidFill>
              <a:latin typeface="Impact" pitchFamily="34" charset="0"/>
              <a:ea typeface="MS PGothic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6309320"/>
            <a:ext cx="360040" cy="360040"/>
          </a:xfrm>
          <a:prstGeom prst="rect">
            <a:avLst/>
          </a:prstGeom>
        </p:spPr>
      </p:pic>
      <p:grpSp>
        <p:nvGrpSpPr>
          <p:cNvPr id="68" name="Группа 32"/>
          <p:cNvGrpSpPr>
            <a:grpSpLocks/>
          </p:cNvGrpSpPr>
          <p:nvPr/>
        </p:nvGrpSpPr>
        <p:grpSpPr bwMode="auto">
          <a:xfrm>
            <a:off x="147640" y="1326571"/>
            <a:ext cx="4326982" cy="2318451"/>
            <a:chOff x="149254" y="943771"/>
            <a:chExt cx="4178799" cy="2318700"/>
          </a:xfrm>
        </p:grpSpPr>
        <p:grpSp>
          <p:nvGrpSpPr>
            <p:cNvPr id="69" name="Группа 60"/>
            <p:cNvGrpSpPr>
              <a:grpSpLocks/>
            </p:cNvGrpSpPr>
            <p:nvPr/>
          </p:nvGrpSpPr>
          <p:grpSpPr bwMode="auto">
            <a:xfrm>
              <a:off x="149254" y="943771"/>
              <a:ext cx="4178799" cy="2318700"/>
              <a:chOff x="351988" y="1944669"/>
              <a:chExt cx="4867275" cy="2996499"/>
            </a:xfrm>
          </p:grpSpPr>
          <p:pic>
            <p:nvPicPr>
              <p:cNvPr id="75" name="Picture 28" descr="C:\Documents and Settings\karabayev_m\Рабочий стол\карта КЗ_1.GIF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1988" y="2121768"/>
                <a:ext cx="4867275" cy="2819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" name="Овал 75"/>
              <p:cNvSpPr/>
              <p:nvPr/>
            </p:nvSpPr>
            <p:spPr>
              <a:xfrm>
                <a:off x="712574" y="2730322"/>
                <a:ext cx="402857" cy="439784"/>
              </a:xfrm>
              <a:prstGeom prst="ellipse">
                <a:avLst/>
              </a:prstGeom>
              <a:solidFill>
                <a:schemeClr val="bg1">
                  <a:alpha val="62000"/>
                </a:schemeClr>
              </a:solidFill>
              <a:ln w="15875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>
                <a:spAutoFit/>
              </a:bodyPr>
              <a:lstStyle/>
              <a:p>
                <a:pPr algn="ctr">
                  <a:defRPr/>
                </a:pPr>
                <a:r>
                  <a:rPr lang="ru-RU" sz="1100" dirty="0">
                    <a:solidFill>
                      <a:srgbClr val="4472C4">
                        <a:lumMod val="50000"/>
                      </a:srgbClr>
                    </a:solidFill>
                    <a:latin typeface="Impact" pitchFamily="34" charset="0"/>
                    <a:cs typeface="Arial" panose="020B0604020202020204" pitchFamily="34" charset="0"/>
                  </a:rPr>
                  <a:t>94</a:t>
                </a:r>
              </a:p>
            </p:txBody>
          </p:sp>
          <p:sp>
            <p:nvSpPr>
              <p:cNvPr id="77" name="Овал 76"/>
              <p:cNvSpPr/>
              <p:nvPr/>
            </p:nvSpPr>
            <p:spPr>
              <a:xfrm>
                <a:off x="783899" y="3169872"/>
                <a:ext cx="504560" cy="571918"/>
              </a:xfrm>
              <a:prstGeom prst="ellipse">
                <a:avLst/>
              </a:prstGeom>
              <a:solidFill>
                <a:schemeClr val="bg1">
                  <a:alpha val="62000"/>
                </a:schemeClr>
              </a:solidFill>
              <a:ln w="15875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72000" rIns="0" bIns="72000" anchor="ctr">
                <a:spAutoFit/>
              </a:bodyPr>
              <a:lstStyle/>
              <a:p>
                <a:pPr algn="ctr">
                  <a:defRPr/>
                </a:pPr>
                <a:r>
                  <a:rPr lang="ru-RU" sz="1100" dirty="0">
                    <a:solidFill>
                      <a:srgbClr val="4472C4">
                        <a:lumMod val="50000"/>
                      </a:srgbClr>
                    </a:solidFill>
                    <a:latin typeface="Impact" pitchFamily="34" charset="0"/>
                    <a:cs typeface="Arial" panose="020B0604020202020204" pitchFamily="34" charset="0"/>
                  </a:rPr>
                  <a:t>33</a:t>
                </a:r>
              </a:p>
            </p:txBody>
          </p:sp>
          <p:sp>
            <p:nvSpPr>
              <p:cNvPr id="78" name="Овал 77"/>
              <p:cNvSpPr/>
              <p:nvPr/>
            </p:nvSpPr>
            <p:spPr>
              <a:xfrm>
                <a:off x="834093" y="3895436"/>
                <a:ext cx="433235" cy="439784"/>
              </a:xfrm>
              <a:prstGeom prst="ellipse">
                <a:avLst/>
              </a:prstGeom>
              <a:solidFill>
                <a:schemeClr val="bg1">
                  <a:alpha val="62000"/>
                </a:schemeClr>
              </a:solidFill>
              <a:ln w="15875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>
                <a:spAutoFit/>
              </a:bodyPr>
              <a:lstStyle/>
              <a:p>
                <a:pPr algn="ctr">
                  <a:defRPr/>
                </a:pPr>
                <a:r>
                  <a:rPr lang="ru-RU" sz="1100" dirty="0">
                    <a:solidFill>
                      <a:srgbClr val="4472C4">
                        <a:lumMod val="50000"/>
                      </a:srgbClr>
                    </a:solidFill>
                    <a:latin typeface="Impact" pitchFamily="34" charset="0"/>
                    <a:cs typeface="Arial" panose="020B0604020202020204" pitchFamily="34" charset="0"/>
                  </a:rPr>
                  <a:t>40</a:t>
                </a:r>
              </a:p>
            </p:txBody>
          </p:sp>
          <p:sp>
            <p:nvSpPr>
              <p:cNvPr id="79" name="Овал 78"/>
              <p:cNvSpPr/>
              <p:nvPr/>
            </p:nvSpPr>
            <p:spPr>
              <a:xfrm>
                <a:off x="1432430" y="2932450"/>
                <a:ext cx="503238" cy="571918"/>
              </a:xfrm>
              <a:prstGeom prst="ellipse">
                <a:avLst/>
              </a:prstGeom>
              <a:solidFill>
                <a:schemeClr val="bg1">
                  <a:alpha val="62000"/>
                </a:schemeClr>
              </a:solidFill>
              <a:ln w="15875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anchor="ctr">
                <a:spAutoFit/>
              </a:bodyPr>
              <a:lstStyle/>
              <a:p>
                <a:pPr algn="ctr">
                  <a:defRPr/>
                </a:pPr>
                <a:r>
                  <a:rPr lang="ru-RU" sz="1100" dirty="0">
                    <a:solidFill>
                      <a:srgbClr val="4472C4">
                        <a:lumMod val="50000"/>
                      </a:srgbClr>
                    </a:solidFill>
                    <a:latin typeface="Impact" pitchFamily="34" charset="0"/>
                    <a:cs typeface="Arial" panose="020B0604020202020204" pitchFamily="34" charset="0"/>
                  </a:rPr>
                  <a:t>126</a:t>
                </a:r>
              </a:p>
            </p:txBody>
          </p:sp>
          <p:sp>
            <p:nvSpPr>
              <p:cNvPr id="80" name="Овал 79"/>
              <p:cNvSpPr/>
              <p:nvPr/>
            </p:nvSpPr>
            <p:spPr>
              <a:xfrm>
                <a:off x="2799495" y="3095743"/>
                <a:ext cx="599659" cy="704052"/>
              </a:xfrm>
              <a:prstGeom prst="ellipse">
                <a:avLst/>
              </a:prstGeom>
              <a:solidFill>
                <a:schemeClr val="bg1">
                  <a:alpha val="62000"/>
                </a:schemeClr>
              </a:solidFill>
              <a:ln w="15875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108000" rIns="72000" bIns="108000" anchor="ctr">
                <a:spAutoFit/>
              </a:bodyPr>
              <a:lstStyle/>
              <a:p>
                <a:pPr algn="ctr">
                  <a:defRPr/>
                </a:pPr>
                <a:r>
                  <a:rPr lang="ru-RU" sz="1100" dirty="0">
                    <a:solidFill>
                      <a:srgbClr val="4472C4">
                        <a:lumMod val="50000"/>
                      </a:srgbClr>
                    </a:solidFill>
                    <a:latin typeface="Impact" pitchFamily="34" charset="0"/>
                    <a:cs typeface="Arial" panose="020B0604020202020204" pitchFamily="34" charset="0"/>
                  </a:rPr>
                  <a:t>172</a:t>
                </a:r>
              </a:p>
            </p:txBody>
          </p:sp>
          <p:sp>
            <p:nvSpPr>
              <p:cNvPr id="81" name="Овал 80"/>
              <p:cNvSpPr/>
              <p:nvPr/>
            </p:nvSpPr>
            <p:spPr>
              <a:xfrm>
                <a:off x="2799495" y="2554397"/>
                <a:ext cx="405498" cy="505851"/>
              </a:xfrm>
              <a:prstGeom prst="ellipse">
                <a:avLst/>
              </a:prstGeom>
              <a:solidFill>
                <a:schemeClr val="bg1">
                  <a:alpha val="62000"/>
                </a:schemeClr>
              </a:solidFill>
              <a:ln w="15875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72000" rIns="0" bIns="36000" anchor="ctr">
                <a:spAutoFit/>
              </a:bodyPr>
              <a:lstStyle/>
              <a:p>
                <a:pPr algn="ctr">
                  <a:defRPr/>
                </a:pPr>
                <a:r>
                  <a:rPr lang="ru-RU" sz="1100" dirty="0">
                    <a:solidFill>
                      <a:srgbClr val="4472C4">
                        <a:lumMod val="50000"/>
                      </a:srgbClr>
                    </a:solidFill>
                    <a:latin typeface="Impact" pitchFamily="34" charset="0"/>
                    <a:cs typeface="Arial" panose="020B0604020202020204" pitchFamily="34" charset="0"/>
                  </a:rPr>
                  <a:t>217</a:t>
                </a:r>
              </a:p>
            </p:txBody>
          </p:sp>
          <p:sp>
            <p:nvSpPr>
              <p:cNvPr id="82" name="Овал 81"/>
              <p:cNvSpPr/>
              <p:nvPr/>
            </p:nvSpPr>
            <p:spPr>
              <a:xfrm>
                <a:off x="2656844" y="1944669"/>
                <a:ext cx="503238" cy="571918"/>
              </a:xfrm>
              <a:prstGeom prst="ellipse">
                <a:avLst/>
              </a:prstGeom>
              <a:solidFill>
                <a:schemeClr val="bg1">
                  <a:alpha val="62000"/>
                </a:schemeClr>
              </a:solidFill>
              <a:ln w="15875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anchor="ctr">
                <a:spAutoFit/>
              </a:bodyPr>
              <a:lstStyle/>
              <a:p>
                <a:pPr algn="ctr">
                  <a:defRPr/>
                </a:pPr>
                <a:r>
                  <a:rPr lang="ru-RU" sz="1100" dirty="0">
                    <a:solidFill>
                      <a:srgbClr val="4472C4">
                        <a:lumMod val="50000"/>
                      </a:srgbClr>
                    </a:solidFill>
                    <a:latin typeface="Impact" pitchFamily="34" charset="0"/>
                    <a:cs typeface="Arial" panose="020B0604020202020204" pitchFamily="34" charset="0"/>
                  </a:rPr>
                  <a:t>123</a:t>
                </a:r>
              </a:p>
            </p:txBody>
          </p:sp>
          <p:sp>
            <p:nvSpPr>
              <p:cNvPr id="83" name="Овал 82"/>
              <p:cNvSpPr/>
              <p:nvPr/>
            </p:nvSpPr>
            <p:spPr>
              <a:xfrm>
                <a:off x="4211467" y="2854777"/>
                <a:ext cx="515125" cy="571918"/>
              </a:xfrm>
              <a:prstGeom prst="ellipse">
                <a:avLst/>
              </a:prstGeom>
              <a:solidFill>
                <a:schemeClr val="bg1">
                  <a:alpha val="62000"/>
                </a:schemeClr>
              </a:solidFill>
              <a:ln w="15875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anchor="ctr">
                <a:spAutoFit/>
              </a:bodyPr>
              <a:lstStyle/>
              <a:p>
                <a:pPr algn="ctr">
                  <a:defRPr/>
                </a:pPr>
                <a:r>
                  <a:rPr lang="ru-RU" sz="1100" dirty="0">
                    <a:solidFill>
                      <a:srgbClr val="4472C4">
                        <a:lumMod val="50000"/>
                      </a:srgbClr>
                    </a:solidFill>
                    <a:latin typeface="Impact" pitchFamily="34" charset="0"/>
                    <a:cs typeface="Arial" panose="020B0604020202020204" pitchFamily="34" charset="0"/>
                  </a:rPr>
                  <a:t>174</a:t>
                </a:r>
              </a:p>
            </p:txBody>
          </p:sp>
          <p:sp>
            <p:nvSpPr>
              <p:cNvPr id="84" name="Овал 83"/>
              <p:cNvSpPr/>
              <p:nvPr/>
            </p:nvSpPr>
            <p:spPr>
              <a:xfrm>
                <a:off x="2152285" y="3697470"/>
                <a:ext cx="504560" cy="571918"/>
              </a:xfrm>
              <a:prstGeom prst="ellipse">
                <a:avLst/>
              </a:prstGeom>
              <a:solidFill>
                <a:schemeClr val="bg1">
                  <a:alpha val="62000"/>
                </a:schemeClr>
              </a:solidFill>
              <a:ln w="15875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72000" rIns="0" bIns="72000" anchor="ctr">
                <a:spAutoFit/>
              </a:bodyPr>
              <a:lstStyle/>
              <a:p>
                <a:pPr algn="ctr">
                  <a:defRPr/>
                </a:pPr>
                <a:r>
                  <a:rPr lang="ru-RU" sz="1100" dirty="0">
                    <a:solidFill>
                      <a:srgbClr val="4472C4">
                        <a:lumMod val="50000"/>
                      </a:srgbClr>
                    </a:solidFill>
                    <a:latin typeface="Impact" pitchFamily="34" charset="0"/>
                    <a:cs typeface="Arial" panose="020B0604020202020204" pitchFamily="34" charset="0"/>
                  </a:rPr>
                  <a:t>48</a:t>
                </a:r>
              </a:p>
            </p:txBody>
          </p:sp>
        </p:grpSp>
        <p:sp>
          <p:nvSpPr>
            <p:cNvPr id="70" name="Овал 69"/>
            <p:cNvSpPr/>
            <p:nvPr/>
          </p:nvSpPr>
          <p:spPr bwMode="auto">
            <a:xfrm>
              <a:off x="1662013" y="1250484"/>
              <a:ext cx="432055" cy="464194"/>
            </a:xfrm>
            <a:prstGeom prst="ellipse">
              <a:avLst/>
            </a:prstGeom>
            <a:solidFill>
              <a:schemeClr val="bg1">
                <a:alpha val="62000"/>
              </a:schemeClr>
            </a:solidFill>
            <a:ln w="15875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anchor="ctr">
              <a:spAutoFit/>
            </a:bodyPr>
            <a:lstStyle/>
            <a:p>
              <a:pPr algn="ctr">
                <a:defRPr/>
              </a:pPr>
              <a:r>
                <a:rPr lang="ru-RU" sz="1200" dirty="0">
                  <a:solidFill>
                    <a:srgbClr val="4472C4">
                      <a:lumMod val="50000"/>
                    </a:srgbClr>
                  </a:solidFill>
                  <a:latin typeface="Impact" pitchFamily="34" charset="0"/>
                  <a:cs typeface="Arial" panose="020B0604020202020204" pitchFamily="34" charset="0"/>
                </a:rPr>
                <a:t>131</a:t>
              </a:r>
            </a:p>
          </p:txBody>
        </p:sp>
        <p:sp>
          <p:nvSpPr>
            <p:cNvPr id="71" name="Овал 70"/>
            <p:cNvSpPr/>
            <p:nvPr/>
          </p:nvSpPr>
          <p:spPr bwMode="auto">
            <a:xfrm>
              <a:off x="2199532" y="2674899"/>
              <a:ext cx="432055" cy="442552"/>
            </a:xfrm>
            <a:prstGeom prst="ellipse">
              <a:avLst/>
            </a:prstGeom>
            <a:solidFill>
              <a:schemeClr val="bg1">
                <a:alpha val="62000"/>
              </a:schemeClr>
            </a:solidFill>
            <a:ln w="15875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anchor="ctr">
              <a:spAutoFit/>
            </a:bodyPr>
            <a:lstStyle/>
            <a:p>
              <a:pPr algn="ctr">
                <a:defRPr/>
              </a:pPr>
              <a:r>
                <a:rPr lang="ru-RU" sz="1100" dirty="0">
                  <a:solidFill>
                    <a:srgbClr val="4472C4">
                      <a:lumMod val="50000"/>
                    </a:srgbClr>
                  </a:solidFill>
                  <a:latin typeface="Impact" pitchFamily="34" charset="0"/>
                  <a:cs typeface="Arial" panose="020B0604020202020204" pitchFamily="34" charset="0"/>
                </a:rPr>
                <a:t>168</a:t>
              </a:r>
            </a:p>
          </p:txBody>
        </p:sp>
        <p:sp>
          <p:nvSpPr>
            <p:cNvPr id="72" name="Овал 71"/>
            <p:cNvSpPr/>
            <p:nvPr/>
          </p:nvSpPr>
          <p:spPr bwMode="auto">
            <a:xfrm>
              <a:off x="2637256" y="2402112"/>
              <a:ext cx="432055" cy="464194"/>
            </a:xfrm>
            <a:prstGeom prst="ellipse">
              <a:avLst/>
            </a:prstGeom>
            <a:solidFill>
              <a:schemeClr val="bg1">
                <a:alpha val="62000"/>
              </a:schemeClr>
            </a:solidFill>
            <a:ln w="15875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anchor="ctr">
              <a:spAutoFit/>
            </a:bodyPr>
            <a:lstStyle/>
            <a:p>
              <a:pPr algn="ctr">
                <a:defRPr/>
              </a:pPr>
              <a:r>
                <a:rPr lang="ru-RU" sz="1200" dirty="0">
                  <a:solidFill>
                    <a:srgbClr val="4472C4">
                      <a:lumMod val="50000"/>
                    </a:srgbClr>
                  </a:solidFill>
                  <a:latin typeface="Impact" pitchFamily="34" charset="0"/>
                  <a:cs typeface="Arial" panose="020B0604020202020204" pitchFamily="34" charset="0"/>
                </a:rPr>
                <a:t>61</a:t>
              </a:r>
            </a:p>
          </p:txBody>
        </p:sp>
        <p:sp>
          <p:nvSpPr>
            <p:cNvPr id="73" name="Овал 72"/>
            <p:cNvSpPr/>
            <p:nvPr/>
          </p:nvSpPr>
          <p:spPr bwMode="auto">
            <a:xfrm>
              <a:off x="3266626" y="2274012"/>
              <a:ext cx="432055" cy="442552"/>
            </a:xfrm>
            <a:prstGeom prst="ellipse">
              <a:avLst/>
            </a:prstGeom>
            <a:solidFill>
              <a:schemeClr val="bg1">
                <a:alpha val="62000"/>
              </a:schemeClr>
            </a:solidFill>
            <a:ln w="15875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anchor="ctr">
              <a:spAutoFit/>
            </a:bodyPr>
            <a:lstStyle/>
            <a:p>
              <a:pPr algn="ctr">
                <a:defRPr/>
              </a:pPr>
              <a:r>
                <a:rPr lang="ru-RU" sz="1100" dirty="0">
                  <a:solidFill>
                    <a:srgbClr val="4472C4">
                      <a:lumMod val="50000"/>
                    </a:srgbClr>
                  </a:solidFill>
                  <a:latin typeface="Impact" pitchFamily="34" charset="0"/>
                  <a:cs typeface="Arial" panose="020B0604020202020204" pitchFamily="34" charset="0"/>
                </a:rPr>
                <a:t>335</a:t>
              </a:r>
            </a:p>
          </p:txBody>
        </p:sp>
        <p:sp>
          <p:nvSpPr>
            <p:cNvPr id="74" name="Овал 73"/>
            <p:cNvSpPr/>
            <p:nvPr/>
          </p:nvSpPr>
          <p:spPr bwMode="auto">
            <a:xfrm>
              <a:off x="2907148" y="1114394"/>
              <a:ext cx="432055" cy="464194"/>
            </a:xfrm>
            <a:prstGeom prst="ellipse">
              <a:avLst/>
            </a:prstGeom>
            <a:solidFill>
              <a:schemeClr val="bg1">
                <a:alpha val="62000"/>
              </a:schemeClr>
            </a:solidFill>
            <a:ln w="15875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anchor="ctr">
              <a:spAutoFit/>
            </a:bodyPr>
            <a:lstStyle/>
            <a:p>
              <a:pPr algn="ctr">
                <a:defRPr/>
              </a:pPr>
              <a:r>
                <a:rPr lang="ru-RU" sz="1200" dirty="0">
                  <a:solidFill>
                    <a:srgbClr val="4472C4">
                      <a:lumMod val="50000"/>
                    </a:srgbClr>
                  </a:solidFill>
                  <a:latin typeface="Impact" pitchFamily="34" charset="0"/>
                  <a:cs typeface="Arial" panose="020B0604020202020204" pitchFamily="34" charset="0"/>
                </a:rPr>
                <a:t>137</a:t>
              </a:r>
            </a:p>
          </p:txBody>
        </p:sp>
      </p:grpSp>
      <p:sp>
        <p:nvSpPr>
          <p:cNvPr id="85" name="TextBox 22"/>
          <p:cNvSpPr txBox="1">
            <a:spLocks noChangeArrowheads="1"/>
          </p:cNvSpPr>
          <p:nvPr/>
        </p:nvSpPr>
        <p:spPr bwMode="auto">
          <a:xfrm>
            <a:off x="80372" y="908720"/>
            <a:ext cx="4419620" cy="30777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3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ru-RU" altLang="ru-RU" sz="1400" dirty="0" smtClean="0">
                <a:solidFill>
                  <a:schemeClr val="bg1"/>
                </a:solidFill>
                <a:latin typeface="Impact" pitchFamily="34" charset="0"/>
                <a:cs typeface="Arial" panose="020B0604020202020204" pitchFamily="34" charset="0"/>
              </a:rPr>
              <a:t>Количество объектов сервиса</a:t>
            </a:r>
            <a:endParaRPr lang="ru-RU" altLang="ru-RU" sz="1400" dirty="0">
              <a:solidFill>
                <a:schemeClr val="bg1"/>
              </a:solidFill>
              <a:latin typeface="Impact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22"/>
          <p:cNvSpPr txBox="1">
            <a:spLocks noChangeArrowheads="1"/>
          </p:cNvSpPr>
          <p:nvPr/>
        </p:nvSpPr>
        <p:spPr bwMode="auto">
          <a:xfrm>
            <a:off x="4629918" y="908720"/>
            <a:ext cx="4419620" cy="30777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3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ru-RU" altLang="ru-RU" sz="1400" dirty="0" smtClean="0">
                <a:solidFill>
                  <a:schemeClr val="bg1"/>
                </a:solidFill>
                <a:latin typeface="Impact" pitchFamily="34" charset="0"/>
                <a:cs typeface="Arial" panose="020B0604020202020204" pitchFamily="34" charset="0"/>
              </a:rPr>
              <a:t>Текущая ситуация</a:t>
            </a:r>
            <a:endParaRPr lang="ru-RU" altLang="ru-RU" sz="1400" dirty="0">
              <a:solidFill>
                <a:schemeClr val="bg1"/>
              </a:solidFill>
              <a:latin typeface="Impact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7" name="Диаграмма 30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5725947"/>
              </p:ext>
            </p:extLst>
          </p:nvPr>
        </p:nvGraphicFramePr>
        <p:xfrm>
          <a:off x="4638676" y="1420917"/>
          <a:ext cx="4410863" cy="2447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" name="Лист" r:id="rId9" imgW="5773412" imgH="3432345" progId="Excel.Sheet.8">
                  <p:embed/>
                </p:oleObj>
              </mc:Choice>
              <mc:Fallback>
                <p:oleObj name="Лист" r:id="rId9" imgW="5773412" imgH="3432345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38676" y="1420917"/>
                        <a:ext cx="4410863" cy="2447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TextBox 308"/>
          <p:cNvSpPr txBox="1">
            <a:spLocks noChangeArrowheads="1"/>
          </p:cNvSpPr>
          <p:nvPr/>
        </p:nvSpPr>
        <p:spPr bwMode="auto">
          <a:xfrm>
            <a:off x="6030241" y="2493022"/>
            <a:ext cx="447558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ru-RU" sz="1400" dirty="0" smtClean="0">
                <a:solidFill>
                  <a:srgbClr val="0000FF"/>
                </a:solidFill>
                <a:latin typeface="Impact" pitchFamily="34" charset="0"/>
                <a:cs typeface="Arial" panose="020B0604020202020204" pitchFamily="34" charset="0"/>
              </a:rPr>
              <a:t>618</a:t>
            </a:r>
            <a:endParaRPr lang="ru-RU" altLang="ru-RU" sz="1400" dirty="0">
              <a:solidFill>
                <a:srgbClr val="0000FF"/>
              </a:solidFill>
              <a:latin typeface="Impact" pitchFamily="34" charset="0"/>
              <a:cs typeface="Arial" panose="020B0604020202020204" pitchFamily="34" charset="0"/>
            </a:endParaRPr>
          </a:p>
        </p:txBody>
      </p:sp>
      <p:sp>
        <p:nvSpPr>
          <p:cNvPr id="89" name="TextBox 309"/>
          <p:cNvSpPr txBox="1">
            <a:spLocks noChangeArrowheads="1"/>
          </p:cNvSpPr>
          <p:nvPr/>
        </p:nvSpPr>
        <p:spPr bwMode="auto">
          <a:xfrm>
            <a:off x="5290317" y="2639758"/>
            <a:ext cx="465192" cy="30777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ru-RU" sz="1400" dirty="0">
                <a:solidFill>
                  <a:srgbClr val="0000FF"/>
                </a:solidFill>
                <a:latin typeface="Impact" pitchFamily="34" charset="0"/>
                <a:cs typeface="Arial" panose="020B0604020202020204" pitchFamily="34" charset="0"/>
              </a:rPr>
              <a:t>483</a:t>
            </a:r>
            <a:endParaRPr lang="ru-RU" altLang="ru-RU" sz="1050" dirty="0">
              <a:solidFill>
                <a:srgbClr val="0000FF"/>
              </a:solidFill>
              <a:latin typeface="Impact" pitchFamily="34" charset="0"/>
              <a:cs typeface="Arial" panose="020B0604020202020204" pitchFamily="34" charset="0"/>
            </a:endParaRPr>
          </a:p>
        </p:txBody>
      </p:sp>
      <p:sp>
        <p:nvSpPr>
          <p:cNvPr id="90" name="TextBox 310"/>
          <p:cNvSpPr txBox="1">
            <a:spLocks noChangeArrowheads="1"/>
          </p:cNvSpPr>
          <p:nvPr/>
        </p:nvSpPr>
        <p:spPr bwMode="auto">
          <a:xfrm>
            <a:off x="6794061" y="2287334"/>
            <a:ext cx="473206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ru-RU" sz="1400" dirty="0" smtClean="0">
                <a:solidFill>
                  <a:srgbClr val="FF0000"/>
                </a:solidFill>
                <a:latin typeface="Impact" pitchFamily="34" charset="0"/>
                <a:cs typeface="Arial" panose="020B0604020202020204" pitchFamily="34" charset="0"/>
              </a:rPr>
              <a:t>8</a:t>
            </a:r>
            <a:r>
              <a:rPr lang="ru-RU" altLang="ru-RU" sz="1400" dirty="0" smtClean="0">
                <a:solidFill>
                  <a:srgbClr val="FF0000"/>
                </a:solidFill>
                <a:latin typeface="Impact" pitchFamily="34" charset="0"/>
                <a:cs typeface="Arial" panose="020B0604020202020204" pitchFamily="34" charset="0"/>
              </a:rPr>
              <a:t>50</a:t>
            </a:r>
            <a:endParaRPr lang="ru-RU" altLang="ru-RU" sz="1400" dirty="0">
              <a:solidFill>
                <a:srgbClr val="FF0000"/>
              </a:solidFill>
              <a:latin typeface="Impact" pitchFamily="34" charset="0"/>
              <a:cs typeface="Arial" panose="020B0604020202020204" pitchFamily="34" charset="0"/>
            </a:endParaRPr>
          </a:p>
        </p:txBody>
      </p:sp>
      <p:sp>
        <p:nvSpPr>
          <p:cNvPr id="91" name="TextBox 311"/>
          <p:cNvSpPr txBox="1">
            <a:spLocks noChangeArrowheads="1"/>
          </p:cNvSpPr>
          <p:nvPr/>
        </p:nvSpPr>
        <p:spPr bwMode="auto">
          <a:xfrm>
            <a:off x="7516381" y="1951038"/>
            <a:ext cx="535724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ru-RU" sz="1400" dirty="0" smtClean="0">
                <a:solidFill>
                  <a:srgbClr val="FF0000"/>
                </a:solidFill>
                <a:latin typeface="Impact" pitchFamily="34" charset="0"/>
                <a:cs typeface="Arial" panose="020B0604020202020204" pitchFamily="34" charset="0"/>
              </a:rPr>
              <a:t>12</a:t>
            </a:r>
            <a:r>
              <a:rPr lang="ru-RU" altLang="ru-RU" sz="1400" dirty="0" smtClean="0">
                <a:solidFill>
                  <a:srgbClr val="FF0000"/>
                </a:solidFill>
                <a:latin typeface="Impact" pitchFamily="34" charset="0"/>
                <a:cs typeface="Arial" panose="020B0604020202020204" pitchFamily="34" charset="0"/>
              </a:rPr>
              <a:t>00</a:t>
            </a:r>
            <a:endParaRPr lang="ru-RU" altLang="ru-RU" sz="1400" dirty="0">
              <a:solidFill>
                <a:srgbClr val="FF0000"/>
              </a:solidFill>
              <a:latin typeface="Impact" pitchFamily="34" charset="0"/>
              <a:cs typeface="Arial" panose="020B0604020202020204" pitchFamily="34" charset="0"/>
            </a:endParaRPr>
          </a:p>
        </p:txBody>
      </p:sp>
      <p:sp>
        <p:nvSpPr>
          <p:cNvPr id="92" name="TextBox 312"/>
          <p:cNvSpPr txBox="1">
            <a:spLocks noChangeArrowheads="1"/>
          </p:cNvSpPr>
          <p:nvPr/>
        </p:nvSpPr>
        <p:spPr bwMode="auto">
          <a:xfrm>
            <a:off x="8246017" y="1513605"/>
            <a:ext cx="543739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ru-RU" sz="1400" dirty="0" smtClean="0">
                <a:solidFill>
                  <a:srgbClr val="FF0000"/>
                </a:solidFill>
                <a:latin typeface="Impact" pitchFamily="34" charset="0"/>
                <a:cs typeface="Arial" panose="020B0604020202020204" pitchFamily="34" charset="0"/>
              </a:rPr>
              <a:t>1859</a:t>
            </a:r>
            <a:endParaRPr lang="ru-RU" altLang="ru-RU" sz="1400" dirty="0">
              <a:solidFill>
                <a:srgbClr val="FF0000"/>
              </a:solidFill>
              <a:latin typeface="Impact" pitchFamily="34" charset="0"/>
              <a:cs typeface="Arial" panose="020B0604020202020204" pitchFamily="34" charset="0"/>
            </a:endParaRPr>
          </a:p>
        </p:txBody>
      </p:sp>
      <p:sp>
        <p:nvSpPr>
          <p:cNvPr id="93" name="Прямоугольник 2"/>
          <p:cNvSpPr>
            <a:spLocks noChangeArrowheads="1"/>
          </p:cNvSpPr>
          <p:nvPr/>
        </p:nvSpPr>
        <p:spPr bwMode="auto">
          <a:xfrm>
            <a:off x="5103042" y="3584049"/>
            <a:ext cx="35573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>
              <a:buFont typeface="Arial" panose="020B0604020202020204" pitchFamily="34" charset="0"/>
              <a:buNone/>
            </a:pPr>
            <a:r>
              <a:rPr lang="ru-RU" alt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Impact" pitchFamily="34" charset="0"/>
                <a:cs typeface="Arial" panose="020B0604020202020204" pitchFamily="34" charset="0"/>
              </a:rPr>
              <a:t>Соответствуют Национальному стандарту - </a:t>
            </a:r>
            <a:r>
              <a:rPr lang="ru-RU" altLang="ru-RU" sz="1200" dirty="0" smtClean="0">
                <a:solidFill>
                  <a:srgbClr val="FF0000"/>
                </a:solidFill>
                <a:latin typeface="Impact" pitchFamily="34" charset="0"/>
                <a:cs typeface="Arial" panose="020B0604020202020204" pitchFamily="34" charset="0"/>
              </a:rPr>
              <a:t>780 ед.</a:t>
            </a:r>
            <a:endParaRPr lang="ru-RU" altLang="ru-RU" sz="1200" dirty="0">
              <a:solidFill>
                <a:srgbClr val="FF0000"/>
              </a:solidFill>
              <a:latin typeface="Impact" pitchFamily="34" charset="0"/>
              <a:cs typeface="Arial" panose="020B0604020202020204" pitchFamily="34" charset="0"/>
            </a:endParaRPr>
          </a:p>
        </p:txBody>
      </p:sp>
      <p:sp>
        <p:nvSpPr>
          <p:cNvPr id="94" name="Прямоугольник 2"/>
          <p:cNvSpPr>
            <a:spLocks noChangeArrowheads="1"/>
          </p:cNvSpPr>
          <p:nvPr/>
        </p:nvSpPr>
        <p:spPr bwMode="auto">
          <a:xfrm>
            <a:off x="323528" y="3584049"/>
            <a:ext cx="367440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>
              <a:buFont typeface="Arial" panose="020B0604020202020204" pitchFamily="34" charset="0"/>
              <a:buNone/>
            </a:pPr>
            <a:r>
              <a:rPr lang="ru-RU" alt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Impact" pitchFamily="34" charset="0"/>
                <a:cs typeface="Arial" panose="020B0604020202020204" pitchFamily="34" charset="0"/>
              </a:rPr>
              <a:t>Количество объектов дорожного сервиса -</a:t>
            </a:r>
            <a:r>
              <a:rPr lang="ru-RU" altLang="ru-RU" sz="1200" dirty="0" smtClean="0">
                <a:solidFill>
                  <a:srgbClr val="203864"/>
                </a:solidFill>
                <a:latin typeface="Impact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smtClean="0">
                <a:solidFill>
                  <a:srgbClr val="FF0000"/>
                </a:solidFill>
                <a:latin typeface="Impact" pitchFamily="34" charset="0"/>
                <a:cs typeface="Arial" panose="020B0604020202020204" pitchFamily="34" charset="0"/>
              </a:rPr>
              <a:t>1 859 ед</a:t>
            </a:r>
            <a:r>
              <a:rPr lang="ru-RU" altLang="ru-RU" sz="1200" dirty="0" smtClean="0">
                <a:solidFill>
                  <a:srgbClr val="203864"/>
                </a:solidFill>
                <a:latin typeface="Impact" pitchFamily="34" charset="0"/>
                <a:cs typeface="Arial" panose="020B0604020202020204" pitchFamily="34" charset="0"/>
              </a:rPr>
              <a:t>.</a:t>
            </a:r>
            <a:endParaRPr lang="ru-RU" altLang="ru-RU" sz="1200" dirty="0">
              <a:solidFill>
                <a:srgbClr val="203864"/>
              </a:solidFill>
              <a:latin typeface="Impact" pitchFamily="34" charset="0"/>
              <a:cs typeface="Arial" panose="020B0604020202020204" pitchFamily="34" charset="0"/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 flipV="1">
            <a:off x="80372" y="4384269"/>
            <a:ext cx="9005466" cy="52843"/>
          </a:xfrm>
          <a:prstGeom prst="line">
            <a:avLst/>
          </a:prstGeom>
          <a:ln w="158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Номер слайда 14"/>
          <p:cNvSpPr>
            <a:spLocks noGrp="1"/>
          </p:cNvSpPr>
          <p:nvPr>
            <p:ph type="sldNum" sz="quarter" idx="10"/>
          </p:nvPr>
        </p:nvSpPr>
        <p:spPr>
          <a:xfrm>
            <a:off x="8631807" y="6520259"/>
            <a:ext cx="620713" cy="365125"/>
          </a:xfrm>
        </p:spPr>
        <p:txBody>
          <a:bodyPr/>
          <a:lstStyle/>
          <a:p>
            <a:pPr algn="ctr">
              <a:defRPr/>
            </a:pPr>
            <a:r>
              <a:rPr lang="kk-KZ" dirty="0" smtClean="0">
                <a:solidFill>
                  <a:schemeClr val="tx1"/>
                </a:solidFill>
                <a:latin typeface="Impact" pitchFamily="34" charset="0"/>
              </a:rPr>
              <a:t>10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43442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4781550" y="6102350"/>
            <a:ext cx="4303713" cy="4667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" name="Стрелка вниз 2"/>
          <p:cNvSpPr/>
          <p:nvPr/>
        </p:nvSpPr>
        <p:spPr>
          <a:xfrm>
            <a:off x="7259006" y="2579688"/>
            <a:ext cx="1584325" cy="533400"/>
          </a:xfrm>
          <a:prstGeom prst="downArrow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556" name="TextBox 3"/>
          <p:cNvSpPr txBox="1">
            <a:spLocks noChangeArrowheads="1"/>
          </p:cNvSpPr>
          <p:nvPr/>
        </p:nvSpPr>
        <p:spPr bwMode="auto">
          <a:xfrm>
            <a:off x="7759069" y="2681288"/>
            <a:ext cx="65246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1600" b="1"/>
              <a:t>50 %</a:t>
            </a:r>
          </a:p>
        </p:txBody>
      </p:sp>
      <p:sp>
        <p:nvSpPr>
          <p:cNvPr id="5" name="Стрелка вниз 4"/>
          <p:cNvSpPr/>
          <p:nvPr/>
        </p:nvSpPr>
        <p:spPr>
          <a:xfrm>
            <a:off x="5055556" y="2579688"/>
            <a:ext cx="1584325" cy="533400"/>
          </a:xfrm>
          <a:prstGeom prst="downArrow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Блок-схема: альтернативный процесс 5"/>
          <p:cNvSpPr/>
          <p:nvPr/>
        </p:nvSpPr>
        <p:spPr>
          <a:xfrm>
            <a:off x="4781550" y="3201988"/>
            <a:ext cx="4319588" cy="1039812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14313" y="71438"/>
            <a:ext cx="8713787" cy="36036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1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3593">
              <a:defRPr/>
            </a:pPr>
            <a:r>
              <a:rPr lang="ru-RU" altLang="ru-RU" sz="2000" dirty="0" smtClean="0">
                <a:latin typeface="Impact" pitchFamily="34" charset="0"/>
                <a:ea typeface="+mn-ea"/>
                <a:cs typeface="Arial" pitchFamily="34" charset="0"/>
              </a:rPr>
              <a:t>Автомобильные дороги областного и районного значения</a:t>
            </a:r>
            <a:endParaRPr lang="ru-RU" altLang="ko-KR" sz="2000" dirty="0">
              <a:latin typeface="Impact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44463" y="2257425"/>
            <a:ext cx="4140200" cy="30797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</a:rPr>
              <a:t>Реконструкция и ремонт дорог  с 2015 по 2018 год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81550" y="476250"/>
            <a:ext cx="4292600" cy="30797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</a:rPr>
              <a:t>Развитие и ремонт дорог  в 2018 году</a:t>
            </a:r>
          </a:p>
        </p:txBody>
      </p:sp>
      <p:grpSp>
        <p:nvGrpSpPr>
          <p:cNvPr id="23562" name="Группа 127"/>
          <p:cNvGrpSpPr>
            <a:grpSpLocks/>
          </p:cNvGrpSpPr>
          <p:nvPr/>
        </p:nvGrpSpPr>
        <p:grpSpPr bwMode="auto">
          <a:xfrm>
            <a:off x="-1588" y="5427663"/>
            <a:ext cx="4286251" cy="1096962"/>
            <a:chOff x="3035449" y="3183537"/>
            <a:chExt cx="3630043" cy="1097101"/>
          </a:xfrm>
        </p:grpSpPr>
        <p:sp>
          <p:nvSpPr>
            <p:cNvPr id="23608" name="Прямоугольник 18"/>
            <p:cNvSpPr>
              <a:spLocks noChangeArrowheads="1"/>
            </p:cNvSpPr>
            <p:nvPr/>
          </p:nvSpPr>
          <p:spPr bwMode="auto">
            <a:xfrm>
              <a:off x="4028499" y="3257741"/>
              <a:ext cx="2019379" cy="571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r"/>
              <a:r>
                <a:rPr lang="ru-RU" altLang="ru-RU" sz="1400" dirty="0">
                  <a:solidFill>
                    <a:srgbClr val="4BACC6"/>
                  </a:solidFill>
                  <a:latin typeface="Impact" pitchFamily="34" charset="0"/>
                </a:rPr>
                <a:t>Ежегодный охват </a:t>
              </a:r>
              <a:r>
                <a:rPr lang="ru-RU" altLang="ru-RU" sz="1400" dirty="0">
                  <a:solidFill>
                    <a:srgbClr val="00B050"/>
                  </a:solidFill>
                  <a:latin typeface="Impact" pitchFamily="34" charset="0"/>
                </a:rPr>
                <a:t>2000 км</a:t>
              </a:r>
            </a:p>
          </p:txBody>
        </p:sp>
        <p:grpSp>
          <p:nvGrpSpPr>
            <p:cNvPr id="23609" name="Группа 12"/>
            <p:cNvGrpSpPr>
              <a:grpSpLocks/>
            </p:cNvGrpSpPr>
            <p:nvPr/>
          </p:nvGrpSpPr>
          <p:grpSpPr bwMode="auto">
            <a:xfrm>
              <a:off x="3035449" y="3183537"/>
              <a:ext cx="3630043" cy="1097101"/>
              <a:chOff x="2963441" y="3112393"/>
              <a:chExt cx="3630043" cy="1097101"/>
            </a:xfrm>
          </p:grpSpPr>
          <p:grpSp>
            <p:nvGrpSpPr>
              <p:cNvPr id="23610" name="Группа 11"/>
              <p:cNvGrpSpPr>
                <a:grpSpLocks/>
              </p:cNvGrpSpPr>
              <p:nvPr/>
            </p:nvGrpSpPr>
            <p:grpSpPr bwMode="auto">
              <a:xfrm>
                <a:off x="3314345" y="3688729"/>
                <a:ext cx="3279139" cy="414391"/>
                <a:chOff x="4058545" y="4199414"/>
                <a:chExt cx="3233420" cy="241724"/>
              </a:xfrm>
            </p:grpSpPr>
            <p:sp>
              <p:nvSpPr>
                <p:cNvPr id="23" name="Пятиугольник 22"/>
                <p:cNvSpPr/>
                <p:nvPr/>
              </p:nvSpPr>
              <p:spPr bwMode="auto">
                <a:xfrm>
                  <a:off x="4058545" y="4199414"/>
                  <a:ext cx="3233420" cy="241724"/>
                </a:xfrm>
                <a:prstGeom prst="homePlate">
                  <a:avLst>
                    <a:gd name="adj" fmla="val 31617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19050">
                  <a:noFill/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none" anchor="ctr"/>
                <a:lstStyle/>
                <a:p>
                  <a:pPr algn="just" eaLnBrk="0" hangingPunct="0">
                    <a:defRPr/>
                  </a:pPr>
                  <a:endParaRPr lang="ru-RU" sz="1600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4" name="Прямая соединительная линия 23"/>
                <p:cNvCxnSpPr>
                  <a:endCxn id="23" idx="3"/>
                </p:cNvCxnSpPr>
                <p:nvPr/>
              </p:nvCxnSpPr>
              <p:spPr>
                <a:xfrm flipV="1">
                  <a:off x="4164603" y="4320276"/>
                  <a:ext cx="3127362" cy="463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23611" name="Picture 68" descr="E:\! WORK\For prezentations\Build\road_work_ahead_256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63441" y="3112393"/>
                <a:ext cx="1097101" cy="1097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3563" name="Пятиугольник 24"/>
          <p:cNvSpPr>
            <a:spLocks noChangeArrowheads="1"/>
          </p:cNvSpPr>
          <p:nvPr/>
        </p:nvSpPr>
        <p:spPr bwMode="auto">
          <a:xfrm>
            <a:off x="4781550" y="898525"/>
            <a:ext cx="1374775" cy="1017588"/>
          </a:xfrm>
          <a:prstGeom prst="homePlate">
            <a:avLst>
              <a:gd name="adj" fmla="val 0"/>
            </a:avLst>
          </a:prstGeom>
          <a:solidFill>
            <a:srgbClr val="7030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>
              <a:tabLst>
                <a:tab pos="630238" algn="l"/>
              </a:tabLst>
            </a:pPr>
            <a:r>
              <a:rPr lang="ru-RU" altLang="zh-CN" sz="1400">
                <a:solidFill>
                  <a:schemeClr val="bg1"/>
                </a:solidFill>
                <a:latin typeface="Impact" pitchFamily="34" charset="0"/>
                <a:cs typeface="Calibri" pitchFamily="34" charset="0"/>
              </a:rPr>
              <a:t>Предпринятые меры в </a:t>
            </a:r>
          </a:p>
          <a:p>
            <a:pPr algn="ctr" eaLnBrk="0" hangingPunct="0">
              <a:tabLst>
                <a:tab pos="630238" algn="l"/>
              </a:tabLst>
            </a:pPr>
            <a:r>
              <a:rPr lang="ru-RU" altLang="zh-CN" sz="1400">
                <a:solidFill>
                  <a:schemeClr val="bg1"/>
                </a:solidFill>
                <a:latin typeface="Impact" pitchFamily="34" charset="0"/>
                <a:cs typeface="Calibri" pitchFamily="34" charset="0"/>
              </a:rPr>
              <a:t>2018 году:</a:t>
            </a:r>
          </a:p>
        </p:txBody>
      </p:sp>
      <p:sp>
        <p:nvSpPr>
          <p:cNvPr id="23564" name="Прямоугольник 25"/>
          <p:cNvSpPr>
            <a:spLocks noChangeArrowheads="1"/>
          </p:cNvSpPr>
          <p:nvPr/>
        </p:nvSpPr>
        <p:spPr bwMode="auto">
          <a:xfrm>
            <a:off x="7235825" y="4387850"/>
            <a:ext cx="1838325" cy="646331"/>
          </a:xfrm>
          <a:prstGeom prst="rect">
            <a:avLst/>
          </a:prstGeom>
          <a:noFill/>
          <a:ln w="19050">
            <a:solidFill>
              <a:srgbClr val="00B0F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r>
              <a:rPr lang="ru-RU" altLang="ru-RU" sz="1200">
                <a:solidFill>
                  <a:srgbClr val="595959"/>
                </a:solidFill>
                <a:latin typeface="Impact" pitchFamily="34" charset="0"/>
              </a:rPr>
              <a:t>ВСЕГО:   </a:t>
            </a:r>
            <a:r>
              <a:rPr lang="ru-RU" altLang="ru-RU" sz="1200">
                <a:solidFill>
                  <a:srgbClr val="4472C4"/>
                </a:solidFill>
                <a:latin typeface="Impact" pitchFamily="34" charset="0"/>
              </a:rPr>
              <a:t>145,9 млрд. тенге</a:t>
            </a:r>
          </a:p>
          <a:p>
            <a:r>
              <a:rPr lang="ru-RU" altLang="ru-RU" sz="1200">
                <a:solidFill>
                  <a:srgbClr val="595959"/>
                </a:solidFill>
                <a:latin typeface="Impact" pitchFamily="34" charset="0"/>
              </a:rPr>
              <a:t>РБ – </a:t>
            </a:r>
            <a:r>
              <a:rPr lang="ru-RU" altLang="ru-RU" sz="1200">
                <a:solidFill>
                  <a:srgbClr val="4472C4"/>
                </a:solidFill>
                <a:latin typeface="Impact" pitchFamily="34" charset="0"/>
              </a:rPr>
              <a:t>57,7 млрд. тенге</a:t>
            </a:r>
          </a:p>
          <a:p>
            <a:r>
              <a:rPr lang="ru-RU" altLang="ru-RU" sz="1200">
                <a:solidFill>
                  <a:srgbClr val="595959"/>
                </a:solidFill>
                <a:latin typeface="Impact" pitchFamily="34" charset="0"/>
              </a:rPr>
              <a:t>МБ –</a:t>
            </a:r>
            <a:r>
              <a:rPr lang="ru-RU" altLang="ru-RU" sz="1200">
                <a:solidFill>
                  <a:srgbClr val="4BACC6"/>
                </a:solidFill>
                <a:latin typeface="Impact" pitchFamily="34" charset="0"/>
              </a:rPr>
              <a:t> 88,2 млрд. тенге</a:t>
            </a:r>
          </a:p>
        </p:txBody>
      </p:sp>
      <p:graphicFrame>
        <p:nvGraphicFramePr>
          <p:cNvPr id="23565" name="Object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3236391"/>
              </p:ext>
            </p:extLst>
          </p:nvPr>
        </p:nvGraphicFramePr>
        <p:xfrm>
          <a:off x="1219200" y="404813"/>
          <a:ext cx="2871788" cy="1793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" name="Лист" r:id="rId5" imgW="2171653" imgH="1318248" progId="Excel.Sheet.8">
                  <p:embed/>
                </p:oleObj>
              </mc:Choice>
              <mc:Fallback>
                <p:oleObj name="Лист" r:id="rId5" imgW="2171653" imgH="1318248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9200" y="404813"/>
                        <a:ext cx="2871788" cy="17938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Блок-схема: магнитный диск 35"/>
          <p:cNvSpPr/>
          <p:nvPr/>
        </p:nvSpPr>
        <p:spPr>
          <a:xfrm>
            <a:off x="5055556" y="2036763"/>
            <a:ext cx="1562100" cy="573087"/>
          </a:xfrm>
          <a:prstGeom prst="flowChartMagneticDisk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Блок-схема: магнитный диск 36"/>
          <p:cNvSpPr/>
          <p:nvPr/>
        </p:nvSpPr>
        <p:spPr>
          <a:xfrm>
            <a:off x="7238369" y="2033588"/>
            <a:ext cx="1562100" cy="571500"/>
          </a:xfrm>
          <a:prstGeom prst="flowChartMagneticDisk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568" name="TextBox 37"/>
          <p:cNvSpPr txBox="1">
            <a:spLocks noChangeArrowheads="1"/>
          </p:cNvSpPr>
          <p:nvPr/>
        </p:nvSpPr>
        <p:spPr bwMode="auto">
          <a:xfrm>
            <a:off x="5576256" y="2212975"/>
            <a:ext cx="5699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b="1"/>
              <a:t>РБ </a:t>
            </a:r>
          </a:p>
        </p:txBody>
      </p:sp>
      <p:sp>
        <p:nvSpPr>
          <p:cNvPr id="23569" name="TextBox 38"/>
          <p:cNvSpPr txBox="1">
            <a:spLocks noChangeArrowheads="1"/>
          </p:cNvSpPr>
          <p:nvPr/>
        </p:nvSpPr>
        <p:spPr bwMode="auto">
          <a:xfrm>
            <a:off x="7770181" y="2222500"/>
            <a:ext cx="6080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b="1"/>
              <a:t>МБ </a:t>
            </a:r>
          </a:p>
        </p:txBody>
      </p:sp>
      <p:grpSp>
        <p:nvGrpSpPr>
          <p:cNvPr id="23570" name="Группа 127"/>
          <p:cNvGrpSpPr>
            <a:grpSpLocks/>
          </p:cNvGrpSpPr>
          <p:nvPr/>
        </p:nvGrpSpPr>
        <p:grpSpPr bwMode="auto">
          <a:xfrm>
            <a:off x="4716463" y="3136900"/>
            <a:ext cx="4357687" cy="1096963"/>
            <a:chOff x="3035449" y="3183537"/>
            <a:chExt cx="4358580" cy="1097101"/>
          </a:xfrm>
        </p:grpSpPr>
        <p:sp>
          <p:nvSpPr>
            <p:cNvPr id="23602" name="Прямоугольник 40"/>
            <p:cNvSpPr>
              <a:spLocks noChangeArrowheads="1"/>
            </p:cNvSpPr>
            <p:nvPr/>
          </p:nvSpPr>
          <p:spPr bwMode="auto">
            <a:xfrm>
              <a:off x="6165052" y="3588401"/>
              <a:ext cx="1228977" cy="338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r"/>
              <a:r>
                <a:rPr lang="ru-RU" altLang="ru-RU" sz="1400">
                  <a:solidFill>
                    <a:srgbClr val="002060"/>
                  </a:solidFill>
                  <a:latin typeface="Impact" pitchFamily="34" charset="0"/>
                </a:rPr>
                <a:t>Общий охват работ </a:t>
              </a:r>
            </a:p>
            <a:p>
              <a:pPr algn="r"/>
              <a:r>
                <a:rPr lang="ru-RU" altLang="ru-RU" sz="1400">
                  <a:solidFill>
                    <a:srgbClr val="002060"/>
                  </a:solidFill>
                  <a:latin typeface="Impact" pitchFamily="34" charset="0"/>
                </a:rPr>
                <a:t>4000 км</a:t>
              </a:r>
            </a:p>
          </p:txBody>
        </p:sp>
        <p:grpSp>
          <p:nvGrpSpPr>
            <p:cNvPr id="23603" name="Группа 12"/>
            <p:cNvGrpSpPr>
              <a:grpSpLocks/>
            </p:cNvGrpSpPr>
            <p:nvPr/>
          </p:nvGrpSpPr>
          <p:grpSpPr bwMode="auto">
            <a:xfrm>
              <a:off x="3035449" y="3183537"/>
              <a:ext cx="3610715" cy="1097101"/>
              <a:chOff x="2963441" y="3112393"/>
              <a:chExt cx="3610715" cy="1097101"/>
            </a:xfrm>
          </p:grpSpPr>
          <p:grpSp>
            <p:nvGrpSpPr>
              <p:cNvPr id="23604" name="Группа 11"/>
              <p:cNvGrpSpPr>
                <a:grpSpLocks/>
              </p:cNvGrpSpPr>
              <p:nvPr/>
            </p:nvGrpSpPr>
            <p:grpSpPr bwMode="auto">
              <a:xfrm>
                <a:off x="3314350" y="3688729"/>
                <a:ext cx="3259806" cy="414389"/>
                <a:chOff x="4058551" y="4199417"/>
                <a:chExt cx="3214357" cy="241723"/>
              </a:xfrm>
            </p:grpSpPr>
            <p:sp>
              <p:nvSpPr>
                <p:cNvPr id="45" name="Пятиугольник 44"/>
                <p:cNvSpPr/>
                <p:nvPr/>
              </p:nvSpPr>
              <p:spPr bwMode="auto">
                <a:xfrm>
                  <a:off x="4058551" y="4199416"/>
                  <a:ext cx="3214357" cy="241723"/>
                </a:xfrm>
                <a:prstGeom prst="homePlate">
                  <a:avLst>
                    <a:gd name="adj" fmla="val 31617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19050">
                  <a:noFill/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none" anchor="ctr"/>
                <a:lstStyle/>
                <a:p>
                  <a:pPr algn="just" eaLnBrk="0" hangingPunct="0">
                    <a:defRPr/>
                  </a:pPr>
                  <a:endParaRPr lang="ru-RU" sz="1600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6" name="Прямая соединительная линия 45"/>
                <p:cNvCxnSpPr>
                  <a:endCxn id="45" idx="3"/>
                </p:cNvCxnSpPr>
                <p:nvPr/>
              </p:nvCxnSpPr>
              <p:spPr>
                <a:xfrm flipV="1">
                  <a:off x="4165018" y="4320741"/>
                  <a:ext cx="3107890" cy="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23605" name="Picture 68" descr="E:\! WORK\For prezentations\Build\road_work_ahead_256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63441" y="3112393"/>
                <a:ext cx="1097101" cy="1097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47" name="TextBox 46"/>
          <p:cNvSpPr txBox="1"/>
          <p:nvPr/>
        </p:nvSpPr>
        <p:spPr>
          <a:xfrm>
            <a:off x="5611813" y="3230563"/>
            <a:ext cx="2489200" cy="4619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автодорог местного        значения</a:t>
            </a:r>
          </a:p>
        </p:txBody>
      </p:sp>
      <p:sp>
        <p:nvSpPr>
          <p:cNvPr id="23572" name="TextBox 47"/>
          <p:cNvSpPr txBox="1">
            <a:spLocks noChangeArrowheads="1"/>
          </p:cNvSpPr>
          <p:nvPr/>
        </p:nvSpPr>
        <p:spPr bwMode="auto">
          <a:xfrm>
            <a:off x="5555619" y="2690813"/>
            <a:ext cx="65246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1600" b="1"/>
              <a:t>50 %</a:t>
            </a:r>
          </a:p>
        </p:txBody>
      </p:sp>
      <p:sp>
        <p:nvSpPr>
          <p:cNvPr id="23573" name="TextBox 48"/>
          <p:cNvSpPr txBox="1">
            <a:spLocks noChangeArrowheads="1"/>
          </p:cNvSpPr>
          <p:nvPr/>
        </p:nvSpPr>
        <p:spPr bwMode="auto">
          <a:xfrm>
            <a:off x="6178397" y="946150"/>
            <a:ext cx="286385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kk-KZ" sz="1200" b="1" dirty="0">
                <a:solidFill>
                  <a:srgbClr val="C00000"/>
                </a:solidFill>
              </a:rPr>
              <a:t>В рамках  Послания Главы Государства в 2018 году дополнительно выделены из РБ и МБ на  паритетной основе средства в сумме 60 млрд.тенге.</a:t>
            </a:r>
            <a:endParaRPr lang="ru-RU" sz="1200" b="1" dirty="0">
              <a:solidFill>
                <a:srgbClr val="C00000"/>
              </a:solidFill>
            </a:endParaRPr>
          </a:p>
        </p:txBody>
      </p:sp>
      <p:sp>
        <p:nvSpPr>
          <p:cNvPr id="23574" name="TextBox 49"/>
          <p:cNvSpPr txBox="1">
            <a:spLocks noChangeArrowheads="1"/>
          </p:cNvSpPr>
          <p:nvPr/>
        </p:nvSpPr>
        <p:spPr bwMode="auto">
          <a:xfrm>
            <a:off x="4823452" y="6196701"/>
            <a:ext cx="49085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1200" dirty="0">
                <a:solidFill>
                  <a:schemeClr val="bg1"/>
                </a:solidFill>
                <a:latin typeface="Impact" pitchFamily="34" charset="0"/>
              </a:rPr>
              <a:t>К 2025 году состояние автодорог  в  хор. и удов. составит 85%</a:t>
            </a: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144463" y="2768600"/>
            <a:ext cx="4140200" cy="855663"/>
          </a:xfrm>
          <a:prstGeom prst="roundRect">
            <a:avLst>
              <a:gd name="adj" fmla="val 13249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576" name="Скругленный прямоугольник 83"/>
          <p:cNvSpPr>
            <a:spLocks noChangeArrowheads="1"/>
          </p:cNvSpPr>
          <p:nvPr/>
        </p:nvSpPr>
        <p:spPr bwMode="auto">
          <a:xfrm>
            <a:off x="360363" y="2930525"/>
            <a:ext cx="3765550" cy="582613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/>
          <a:p>
            <a:pPr algn="ctr"/>
            <a:r>
              <a:rPr lang="ru-RU" sz="1200"/>
              <a:t>Объемы финансирования местной сети автодорог </a:t>
            </a:r>
            <a:r>
              <a:rPr lang="kk-KZ" sz="1200"/>
              <a:t>за период </a:t>
            </a:r>
            <a:r>
              <a:rPr lang="kk-KZ" sz="1200" b="1"/>
              <a:t>2015-2018 годы</a:t>
            </a:r>
            <a:r>
              <a:rPr lang="kk-KZ" sz="1200"/>
              <a:t> </a:t>
            </a:r>
            <a:r>
              <a:rPr lang="ru-RU" sz="1200"/>
              <a:t>составил </a:t>
            </a:r>
            <a:r>
              <a:rPr lang="ru-RU" sz="1200" b="1"/>
              <a:t>359 млрд. тенге</a:t>
            </a:r>
            <a:r>
              <a:rPr lang="ru-RU" sz="1200" i="1"/>
              <a:t>,          (в том числе РБ – 118,9 млрд.тг, МБ – 240,1 млрд. тг)</a:t>
            </a:r>
            <a:endParaRPr lang="ru-RU" sz="1200"/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-15875" y="3773488"/>
            <a:ext cx="4516438" cy="1728787"/>
          </a:xfrm>
          <a:prstGeom prst="roundRect">
            <a:avLst>
              <a:gd name="adj" fmla="val 1324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23578" name="Диаграмма 55"/>
          <p:cNvGraphicFramePr>
            <a:graphicFrameLocks/>
          </p:cNvGraphicFramePr>
          <p:nvPr/>
        </p:nvGraphicFramePr>
        <p:xfrm>
          <a:off x="74613" y="3868738"/>
          <a:ext cx="4333875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" r:id="rId8" imgW="4334632" imgH="1865538" progId="Excel.Chart.8">
                  <p:embed/>
                </p:oleObj>
              </mc:Choice>
              <mc:Fallback>
                <p:oleObj r:id="rId8" imgW="4334632" imgH="186553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613" y="3868738"/>
                        <a:ext cx="4333875" cy="1866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extBox 62"/>
          <p:cNvSpPr txBox="1"/>
          <p:nvPr/>
        </p:nvSpPr>
        <p:spPr>
          <a:xfrm>
            <a:off x="350838" y="3930650"/>
            <a:ext cx="801687" cy="26035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100" b="1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тг</a:t>
            </a:r>
            <a:endParaRPr lang="ru-RU" sz="1100" b="1" i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845756" y="3794871"/>
            <a:ext cx="409575" cy="23177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8,2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2435225" y="4883839"/>
            <a:ext cx="407988" cy="23177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7,7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2077196" y="3964733"/>
            <a:ext cx="407987" cy="230188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,5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714500" y="4889500"/>
            <a:ext cx="409575" cy="230188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,1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310433" y="4387276"/>
            <a:ext cx="409575" cy="23018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,1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940068" y="4893364"/>
            <a:ext cx="409575" cy="23018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,5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64997" y="4556029"/>
            <a:ext cx="409575" cy="23018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8,3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89180" y="4889500"/>
            <a:ext cx="407988" cy="230188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,6</a:t>
            </a:r>
          </a:p>
        </p:txBody>
      </p:sp>
      <p:sp>
        <p:nvSpPr>
          <p:cNvPr id="23588" name="TextBox 72"/>
          <p:cNvSpPr txBox="1">
            <a:spLocks noChangeArrowheads="1"/>
          </p:cNvSpPr>
          <p:nvPr/>
        </p:nvSpPr>
        <p:spPr bwMode="auto">
          <a:xfrm>
            <a:off x="3405188" y="687388"/>
            <a:ext cx="72072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400"/>
              <a:t>хор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3438525" y="800100"/>
            <a:ext cx="109538" cy="10795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/>
          </a:p>
        </p:txBody>
      </p:sp>
      <p:sp>
        <p:nvSpPr>
          <p:cNvPr id="23590" name="TextBox 74"/>
          <p:cNvSpPr txBox="1">
            <a:spLocks noChangeArrowheads="1"/>
          </p:cNvSpPr>
          <p:nvPr/>
        </p:nvSpPr>
        <p:spPr bwMode="auto">
          <a:xfrm>
            <a:off x="3275013" y="969963"/>
            <a:ext cx="1009650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400"/>
              <a:t>удов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3438525" y="1108075"/>
            <a:ext cx="109538" cy="1079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/>
          </a:p>
        </p:txBody>
      </p:sp>
      <p:sp>
        <p:nvSpPr>
          <p:cNvPr id="23592" name="TextBox 76"/>
          <p:cNvSpPr txBox="1">
            <a:spLocks noChangeArrowheads="1"/>
          </p:cNvSpPr>
          <p:nvPr/>
        </p:nvSpPr>
        <p:spPr bwMode="auto">
          <a:xfrm>
            <a:off x="3367088" y="1281113"/>
            <a:ext cx="7921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400"/>
              <a:t>неуд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3438525" y="1376363"/>
            <a:ext cx="107950" cy="10795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/>
          </a:p>
        </p:txBody>
      </p:sp>
      <p:sp>
        <p:nvSpPr>
          <p:cNvPr id="9" name="Прямоугольник 8"/>
          <p:cNvSpPr/>
          <p:nvPr/>
        </p:nvSpPr>
        <p:spPr>
          <a:xfrm>
            <a:off x="323850" y="466725"/>
            <a:ext cx="1401763" cy="16573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50000"/>
              </a:lnSpc>
              <a:defRPr/>
            </a:pPr>
            <a:r>
              <a:rPr lang="ru-RU" sz="1300" dirty="0">
                <a:solidFill>
                  <a:schemeClr val="bg1"/>
                </a:solidFill>
                <a:latin typeface="Impact" pitchFamily="34" charset="0"/>
              </a:rPr>
              <a:t>Протяженность местной сети составляет  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1300" dirty="0">
                <a:solidFill>
                  <a:schemeClr val="bg1"/>
                </a:solidFill>
                <a:latin typeface="Impact" pitchFamily="34" charset="0"/>
              </a:rPr>
              <a:t>71,2 </a:t>
            </a:r>
            <a:r>
              <a:rPr lang="ru-RU" sz="1300" dirty="0" err="1">
                <a:solidFill>
                  <a:schemeClr val="bg1"/>
                </a:solidFill>
                <a:latin typeface="Impact" pitchFamily="34" charset="0"/>
              </a:rPr>
              <a:t>тыс.км</a:t>
            </a:r>
            <a:endParaRPr lang="ru-RU" sz="1300" dirty="0">
              <a:solidFill>
                <a:schemeClr val="bg1"/>
              </a:solidFill>
              <a:latin typeface="Impact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81550" y="917575"/>
            <a:ext cx="4292600" cy="998538"/>
          </a:xfrm>
          <a:prstGeom prst="rect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4781550" y="4378326"/>
            <a:ext cx="2454275" cy="65585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597" name="TextBox 12"/>
          <p:cNvSpPr txBox="1">
            <a:spLocks noChangeArrowheads="1"/>
          </p:cNvSpPr>
          <p:nvPr/>
        </p:nvSpPr>
        <p:spPr bwMode="auto">
          <a:xfrm>
            <a:off x="4938713" y="4530725"/>
            <a:ext cx="215423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2000" dirty="0">
                <a:solidFill>
                  <a:schemeClr val="bg1"/>
                </a:solidFill>
                <a:latin typeface="Impact" pitchFamily="34" charset="0"/>
              </a:rPr>
              <a:t>ФИНАНСИРОВАНИЕ</a:t>
            </a:r>
          </a:p>
        </p:txBody>
      </p:sp>
      <p:sp>
        <p:nvSpPr>
          <p:cNvPr id="23598" name="Прямоугольник 1"/>
          <p:cNvSpPr>
            <a:spLocks noChangeArrowheads="1"/>
          </p:cNvSpPr>
          <p:nvPr/>
        </p:nvSpPr>
        <p:spPr bwMode="auto">
          <a:xfrm>
            <a:off x="4657173" y="5355085"/>
            <a:ext cx="4572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k-KZ" sz="1200" dirty="0">
                <a:solidFill>
                  <a:srgbClr val="C00000"/>
                </a:solidFill>
                <a:latin typeface="Impact" pitchFamily="34" charset="0"/>
              </a:rPr>
              <a:t>В целом в среднесрочной перспективе планируется довести выделения средств в размере 150 млрд.тенге ежегодно </a:t>
            </a:r>
            <a:r>
              <a:rPr lang="ru-RU" sz="1200" dirty="0">
                <a:solidFill>
                  <a:srgbClr val="C00000"/>
                </a:solidFill>
                <a:latin typeface="Impact" pitchFamily="34" charset="0"/>
              </a:rPr>
              <a:t>на паритетной основе</a:t>
            </a:r>
            <a:endParaRPr lang="ru-RU" sz="1200" i="1" dirty="0">
              <a:solidFill>
                <a:srgbClr val="C00000"/>
              </a:solidFill>
              <a:latin typeface="Impact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781550" y="5202238"/>
            <a:ext cx="4303713" cy="1366837"/>
          </a:xfrm>
          <a:prstGeom prst="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5" name="Стрелка вправо 54"/>
          <p:cNvSpPr/>
          <p:nvPr/>
        </p:nvSpPr>
        <p:spPr>
          <a:xfrm rot="5400000">
            <a:off x="2064544" y="2959894"/>
            <a:ext cx="261937" cy="1584325"/>
          </a:xfrm>
          <a:prstGeom prst="rightArrow">
            <a:avLst>
              <a:gd name="adj1" fmla="val 50000"/>
              <a:gd name="adj2" fmla="val 5370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2" name="Номер слайда 14"/>
          <p:cNvSpPr txBox="1">
            <a:spLocks/>
          </p:cNvSpPr>
          <p:nvPr/>
        </p:nvSpPr>
        <p:spPr>
          <a:xfrm>
            <a:off x="8621700" y="6517443"/>
            <a:ext cx="6207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k-KZ" dirty="0" smtClean="0">
                <a:solidFill>
                  <a:schemeClr val="tx1"/>
                </a:solidFill>
                <a:latin typeface="Impact" pitchFamily="34" charset="0"/>
              </a:rPr>
              <a:t>11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4202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Заголовок 1"/>
          <p:cNvSpPr txBox="1">
            <a:spLocks/>
          </p:cNvSpPr>
          <p:nvPr/>
        </p:nvSpPr>
        <p:spPr>
          <a:xfrm>
            <a:off x="57326" y="111784"/>
            <a:ext cx="2210418" cy="3603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buNone/>
              <a:defRPr sz="2000" b="0">
                <a:solidFill>
                  <a:schemeClr val="tx2"/>
                </a:solidFill>
                <a:latin typeface="Impact" pitchFamily="34" charset="0"/>
                <a:ea typeface="Magistral"/>
                <a:cs typeface="Arial" pitchFamily="34" charset="0"/>
              </a:defRPr>
            </a:lvl1pPr>
          </a:lstStyle>
          <a:p>
            <a:pPr algn="l"/>
            <a:endParaRPr lang="ru-RU" sz="1800" dirty="0">
              <a:solidFill>
                <a:schemeClr val="accent1">
                  <a:lumMod val="50000"/>
                </a:schemeClr>
              </a:solidFill>
              <a:ea typeface="+mn-ea"/>
            </a:endParaRPr>
          </a:p>
        </p:txBody>
      </p:sp>
      <p:pic>
        <p:nvPicPr>
          <p:cNvPr id="4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3826615"/>
            <a:ext cx="1368000" cy="610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355976" y="4509120"/>
            <a:ext cx="2376264" cy="276999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Franklin Gothic Medium Cond" pitchFamily="34" charset="0"/>
                <a:cs typeface="Arial" pitchFamily="34" charset="0"/>
              </a:rPr>
              <a:t>Автоматические отчеты</a:t>
            </a:r>
            <a:endParaRPr lang="ru-RU" sz="1200" dirty="0">
              <a:solidFill>
                <a:schemeClr val="bg1"/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355976" y="5456257"/>
            <a:ext cx="2376264" cy="276999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Franklin Gothic Medium Cond" pitchFamily="34" charset="0"/>
                <a:cs typeface="Arial" pitchFamily="34" charset="0"/>
              </a:rPr>
              <a:t>Снижен </a:t>
            </a:r>
            <a:r>
              <a:rPr lang="ru-RU" sz="1200" dirty="0">
                <a:solidFill>
                  <a:schemeClr val="bg1"/>
                </a:solidFill>
                <a:latin typeface="Franklin Gothic Medium Cond" pitchFamily="34" charset="0"/>
                <a:cs typeface="Arial" pitchFamily="34" charset="0"/>
              </a:rPr>
              <a:t>человеческий фактор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355976" y="4869160"/>
            <a:ext cx="2376264" cy="276999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  <a:latin typeface="Franklin Gothic Medium Cond" pitchFamily="34" charset="0"/>
                <a:cs typeface="Arial" pitchFamily="34" charset="0"/>
              </a:rPr>
              <a:t>Работа через мобильное приложение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0" y="79518"/>
            <a:ext cx="914399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9135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latin typeface="Impact" pitchFamily="34" charset="0"/>
                <a:cs typeface="Arial" pitchFamily="34" charset="0"/>
              </a:rPr>
              <a:t>ЭКСПЕРТИЗА КАЧЕСТВА РАБОТ И МАТЕРИАЛОВ 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5364088" y="1268760"/>
            <a:ext cx="3387376" cy="2376264"/>
            <a:chOff x="5217072" y="836712"/>
            <a:chExt cx="3387376" cy="2376264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5251576" y="836712"/>
              <a:ext cx="3312368" cy="36004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  <a:latin typeface="Franklin Gothic Medium Cond" pitchFamily="34" charset="0"/>
                </a:rPr>
                <a:t>Заказчик (</a:t>
              </a:r>
              <a:r>
                <a:rPr lang="en-US" sz="1400" dirty="0" smtClean="0">
                  <a:solidFill>
                    <a:schemeClr val="tx1"/>
                  </a:solidFill>
                  <a:latin typeface="Franklin Gothic Medium Cond" pitchFamily="34" charset="0"/>
                </a:rPr>
                <a:t>I)</a:t>
              </a:r>
              <a:endParaRPr lang="ru-RU" sz="1400" dirty="0">
                <a:solidFill>
                  <a:schemeClr val="tx1"/>
                </a:solidFill>
                <a:latin typeface="Franklin Gothic Medium Cond" pitchFamily="34" charset="0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217072" y="1484784"/>
              <a:ext cx="1368152" cy="792088"/>
            </a:xfrm>
            <a:prstGeom prst="rect">
              <a:avLst/>
            </a:prstGeom>
            <a:solidFill>
              <a:srgbClr val="00A400"/>
            </a:solidFill>
            <a:ln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Franklin Gothic Medium Cond" pitchFamily="34" charset="0"/>
                </a:rPr>
                <a:t>РГУ Облжоллаборатория в 14 областях</a:t>
              </a:r>
              <a:r>
                <a:rPr lang="en-US" sz="1000" dirty="0" smtClean="0">
                  <a:solidFill>
                    <a:schemeClr val="bg1"/>
                  </a:solidFill>
                  <a:latin typeface="Franklin Gothic Medium Cond" pitchFamily="34" charset="0"/>
                </a:rPr>
                <a:t> </a:t>
              </a:r>
              <a:r>
                <a:rPr lang="ru-RU" sz="1000" dirty="0" smtClean="0">
                  <a:solidFill>
                    <a:schemeClr val="bg1"/>
                  </a:solidFill>
                  <a:latin typeface="Franklin Gothic Medium Cond" pitchFamily="34" charset="0"/>
                </a:rPr>
                <a:t> и городах Астана и Алматы (</a:t>
              </a:r>
              <a:r>
                <a:rPr lang="en-US" sz="1000" dirty="0" smtClean="0">
                  <a:solidFill>
                    <a:schemeClr val="bg1"/>
                  </a:solidFill>
                  <a:latin typeface="Franklin Gothic Medium Cond" pitchFamily="34" charset="0"/>
                </a:rPr>
                <a:t>V</a:t>
              </a:r>
              <a:r>
                <a:rPr lang="ru-RU" sz="1000" dirty="0" smtClean="0">
                  <a:solidFill>
                    <a:schemeClr val="bg1"/>
                  </a:solidFill>
                  <a:latin typeface="Franklin Gothic Medium Cond" pitchFamily="34" charset="0"/>
                </a:rPr>
                <a:t>)</a:t>
              </a:r>
              <a:endParaRPr lang="ru-RU" sz="1000" dirty="0">
                <a:solidFill>
                  <a:schemeClr val="bg1"/>
                </a:solidFill>
                <a:latin typeface="Franklin Gothic Medium Cond" pitchFamily="34" charset="0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7596336" y="1484784"/>
              <a:ext cx="1008112" cy="792088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dirty="0" smtClean="0">
                  <a:solidFill>
                    <a:schemeClr val="tx1"/>
                  </a:solidFill>
                  <a:latin typeface="Franklin Gothic Medium Cond" pitchFamily="34" charset="0"/>
                </a:rPr>
                <a:t>Технический надзор</a:t>
              </a:r>
              <a:r>
                <a:rPr lang="en-US" sz="1000" dirty="0" smtClean="0">
                  <a:solidFill>
                    <a:schemeClr val="tx1"/>
                  </a:solidFill>
                  <a:latin typeface="Franklin Gothic Medium Cond" pitchFamily="34" charset="0"/>
                </a:rPr>
                <a:t> (III)</a:t>
              </a:r>
              <a:endParaRPr lang="ru-RU" sz="1000" dirty="0" smtClean="0">
                <a:solidFill>
                  <a:schemeClr val="tx1"/>
                </a:solidFill>
                <a:latin typeface="Franklin Gothic Medium Cond" pitchFamily="34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6660232" y="1484784"/>
              <a:ext cx="864096" cy="792088"/>
            </a:xfrm>
            <a:prstGeom prst="rect">
              <a:avLst/>
            </a:prstGeom>
            <a:solidFill>
              <a:srgbClr val="66CCFF"/>
            </a:solidFill>
            <a:ln>
              <a:solidFill>
                <a:srgbClr val="66CC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Franklin Gothic Medium Cond" pitchFamily="34" charset="0"/>
                </a:rPr>
                <a:t>Авторский</a:t>
              </a:r>
            </a:p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Franklin Gothic Medium Cond" pitchFamily="34" charset="0"/>
                </a:rPr>
                <a:t>надзор</a:t>
              </a:r>
              <a:r>
                <a:rPr lang="en-US" sz="1000" dirty="0" smtClean="0">
                  <a:solidFill>
                    <a:schemeClr val="bg1"/>
                  </a:solidFill>
                  <a:latin typeface="Franklin Gothic Medium Cond" pitchFamily="34" charset="0"/>
                </a:rPr>
                <a:t> (IV)</a:t>
              </a:r>
              <a:endParaRPr lang="ru-RU" sz="1000" dirty="0" smtClean="0">
                <a:solidFill>
                  <a:schemeClr val="bg1"/>
                </a:solidFill>
                <a:latin typeface="Franklin Gothic Medium Cond" pitchFamily="34" charset="0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505104" y="2924944"/>
              <a:ext cx="2808312" cy="288032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Franklin Gothic Medium Cond" pitchFamily="34" charset="0"/>
                </a:rPr>
                <a:t>Подрядчик 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5505104" y="2636912"/>
              <a:ext cx="2808312" cy="288032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dirty="0" smtClean="0">
                  <a:solidFill>
                    <a:schemeClr val="tx1"/>
                  </a:solidFill>
                  <a:latin typeface="Franklin Gothic Medium Cond" pitchFamily="34" charset="0"/>
                </a:rPr>
                <a:t>Служба качества подрядчика</a:t>
              </a:r>
              <a:r>
                <a:rPr lang="en-US" sz="1000" dirty="0" smtClean="0">
                  <a:solidFill>
                    <a:schemeClr val="tx1"/>
                  </a:solidFill>
                  <a:latin typeface="Franklin Gothic Medium Cond" pitchFamily="34" charset="0"/>
                </a:rPr>
                <a:t> (II)</a:t>
              </a:r>
              <a:r>
                <a:rPr lang="ru-RU" sz="1000" dirty="0" smtClean="0">
                  <a:solidFill>
                    <a:schemeClr val="tx1"/>
                  </a:solidFill>
                  <a:latin typeface="Franklin Gothic Medium Cond" pitchFamily="34" charset="0"/>
                </a:rPr>
                <a:t> </a:t>
              </a:r>
              <a:endParaRPr lang="ru-RU" sz="1000" dirty="0">
                <a:solidFill>
                  <a:schemeClr val="tx1"/>
                </a:solidFill>
                <a:latin typeface="Franklin Gothic Medium Cond" pitchFamily="34" charset="0"/>
              </a:endParaRPr>
            </a:p>
          </p:txBody>
        </p:sp>
        <p:cxnSp>
          <p:nvCxnSpPr>
            <p:cNvPr id="31" name="Соединительная линия уступом 30"/>
            <p:cNvCxnSpPr>
              <a:stCxn id="20" idx="2"/>
              <a:endCxn id="23" idx="0"/>
            </p:cNvCxnSpPr>
            <p:nvPr/>
          </p:nvCxnSpPr>
          <p:spPr>
            <a:xfrm rot="16200000" flipH="1">
              <a:off x="7360060" y="744452"/>
              <a:ext cx="288032" cy="1192632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Соединительная линия уступом 31"/>
            <p:cNvCxnSpPr>
              <a:stCxn id="20" idx="2"/>
              <a:endCxn id="27" idx="0"/>
            </p:cNvCxnSpPr>
            <p:nvPr/>
          </p:nvCxnSpPr>
          <p:spPr>
            <a:xfrm rot="16200000" flipH="1">
              <a:off x="6856004" y="1248508"/>
              <a:ext cx="288032" cy="184520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Соединительная линия уступом 32"/>
            <p:cNvCxnSpPr>
              <a:stCxn id="27" idx="2"/>
              <a:endCxn id="30" idx="0"/>
            </p:cNvCxnSpPr>
            <p:nvPr/>
          </p:nvCxnSpPr>
          <p:spPr>
            <a:xfrm rot="5400000">
              <a:off x="6820750" y="2365382"/>
              <a:ext cx="360040" cy="183020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Соединительная линия уступом 33"/>
            <p:cNvCxnSpPr>
              <a:stCxn id="23" idx="2"/>
              <a:endCxn id="30" idx="0"/>
            </p:cNvCxnSpPr>
            <p:nvPr/>
          </p:nvCxnSpPr>
          <p:spPr>
            <a:xfrm rot="5400000">
              <a:off x="7324806" y="1861326"/>
              <a:ext cx="360040" cy="1191132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Соединительная линия уступом 34"/>
            <p:cNvCxnSpPr>
              <a:stCxn id="21" idx="2"/>
              <a:endCxn id="30" idx="0"/>
            </p:cNvCxnSpPr>
            <p:nvPr/>
          </p:nvCxnSpPr>
          <p:spPr>
            <a:xfrm rot="16200000" flipH="1">
              <a:off x="6225184" y="1952836"/>
              <a:ext cx="360040" cy="1008112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Прямоугольник 46"/>
          <p:cNvSpPr/>
          <p:nvPr/>
        </p:nvSpPr>
        <p:spPr>
          <a:xfrm>
            <a:off x="4932040" y="620688"/>
            <a:ext cx="39604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latin typeface="Impact" pitchFamily="34" charset="0"/>
                <a:cs typeface="Arial" pitchFamily="34" charset="0"/>
              </a:rPr>
              <a:t>На дорогах республиканского значения действует  5-ти ступенчатый контроль</a:t>
            </a:r>
          </a:p>
        </p:txBody>
      </p:sp>
      <p:cxnSp>
        <p:nvCxnSpPr>
          <p:cNvPr id="53" name="Соединительная линия уступом 52"/>
          <p:cNvCxnSpPr>
            <a:stCxn id="20" idx="2"/>
            <a:endCxn id="21" idx="0"/>
          </p:cNvCxnSpPr>
          <p:nvPr/>
        </p:nvCxnSpPr>
        <p:spPr>
          <a:xfrm rot="5400000">
            <a:off x="6407454" y="1269510"/>
            <a:ext cx="288032" cy="100661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Группа 66"/>
          <p:cNvGrpSpPr/>
          <p:nvPr/>
        </p:nvGrpSpPr>
        <p:grpSpPr>
          <a:xfrm>
            <a:off x="35496" y="4464496"/>
            <a:ext cx="4176464" cy="2348880"/>
            <a:chOff x="395288" y="1484313"/>
            <a:chExt cx="8424862" cy="5373687"/>
          </a:xfrm>
        </p:grpSpPr>
        <p:graphicFrame>
          <p:nvGraphicFramePr>
            <p:cNvPr id="68" name="Object 9"/>
            <p:cNvGraphicFramePr>
              <a:graphicFrameLocks noGrp="1" noChangeAspect="1"/>
            </p:cNvGraphicFramePr>
            <p:nvPr>
              <p:ph idx="4294967295"/>
            </p:nvPr>
          </p:nvGraphicFramePr>
          <p:xfrm>
            <a:off x="395288" y="1484313"/>
            <a:ext cx="8424862" cy="53736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3330" name="Visio" r:id="rId4" imgW="8122148" imgH="5095606" progId="">
                    <p:embed/>
                  </p:oleObj>
                </mc:Choice>
                <mc:Fallback>
                  <p:oleObj name="Visio" r:id="rId4" imgW="8122148" imgH="5095606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95288" y="1484313"/>
                          <a:ext cx="8424862" cy="5373687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0" name="AutoShape 8"/>
            <p:cNvSpPr>
              <a:spLocks noChangeArrowheads="1"/>
            </p:cNvSpPr>
            <p:nvPr/>
          </p:nvSpPr>
          <p:spPr bwMode="auto">
            <a:xfrm>
              <a:off x="4102100" y="6062663"/>
              <a:ext cx="2063750" cy="461962"/>
            </a:xfrm>
            <a:prstGeom prst="wedgeEllipseCallout">
              <a:avLst>
                <a:gd name="adj1" fmla="val -72847"/>
                <a:gd name="adj2" fmla="val -298454"/>
              </a:avLst>
            </a:prstGeom>
            <a:solidFill>
              <a:srgbClr val="FFFF99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r>
                <a:rPr lang="ru-RU" sz="700" dirty="0">
                  <a:latin typeface="Franklin Gothic Medium Cond" pitchFamily="34" charset="0"/>
                </a:rPr>
                <a:t>Гироскопы</a:t>
              </a:r>
            </a:p>
          </p:txBody>
        </p:sp>
        <p:sp>
          <p:nvSpPr>
            <p:cNvPr id="71" name="AutoShape 10"/>
            <p:cNvSpPr>
              <a:spLocks noChangeArrowheads="1"/>
            </p:cNvSpPr>
            <p:nvPr/>
          </p:nvSpPr>
          <p:spPr bwMode="auto">
            <a:xfrm>
              <a:off x="3419475" y="1557338"/>
              <a:ext cx="1000125" cy="409574"/>
            </a:xfrm>
            <a:prstGeom prst="wedgeEllipseCallout">
              <a:avLst>
                <a:gd name="adj1" fmla="val -25236"/>
                <a:gd name="adj2" fmla="val 236435"/>
              </a:avLst>
            </a:prstGeom>
            <a:solidFill>
              <a:srgbClr val="FFFF99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r>
                <a:rPr lang="en-US" sz="800" dirty="0">
                  <a:latin typeface="Franklin Gothic Medium Cond" pitchFamily="34" charset="0"/>
                </a:rPr>
                <a:t>GPS</a:t>
              </a:r>
              <a:endParaRPr lang="ru-RU" sz="800" dirty="0">
                <a:latin typeface="Franklin Gothic Medium Cond" pitchFamily="34" charset="0"/>
              </a:endParaRPr>
            </a:p>
          </p:txBody>
        </p:sp>
        <p:sp>
          <p:nvSpPr>
            <p:cNvPr id="72" name="AutoShape 12"/>
            <p:cNvSpPr>
              <a:spLocks noChangeArrowheads="1"/>
            </p:cNvSpPr>
            <p:nvPr/>
          </p:nvSpPr>
          <p:spPr bwMode="auto">
            <a:xfrm>
              <a:off x="684211" y="1592266"/>
              <a:ext cx="2325687" cy="488351"/>
            </a:xfrm>
            <a:prstGeom prst="wedgeEllipseCallout">
              <a:avLst>
                <a:gd name="adj1" fmla="val 32898"/>
                <a:gd name="adj2" fmla="val 134685"/>
              </a:avLst>
            </a:prstGeom>
            <a:solidFill>
              <a:srgbClr val="FFFF99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r>
                <a:rPr lang="ru-RU" sz="700" dirty="0">
                  <a:latin typeface="Franklin Gothic Medium Cond" pitchFamily="34" charset="0"/>
                </a:rPr>
                <a:t>Видео камеры</a:t>
              </a:r>
            </a:p>
          </p:txBody>
        </p:sp>
        <p:sp>
          <p:nvSpPr>
            <p:cNvPr id="74" name="AutoShape 14"/>
            <p:cNvSpPr>
              <a:spLocks noChangeArrowheads="1"/>
            </p:cNvSpPr>
            <p:nvPr/>
          </p:nvSpPr>
          <p:spPr bwMode="auto">
            <a:xfrm>
              <a:off x="1042988" y="6005513"/>
              <a:ext cx="2519362" cy="519112"/>
            </a:xfrm>
            <a:prstGeom prst="wedgeEllipseCallout">
              <a:avLst>
                <a:gd name="adj1" fmla="val -40296"/>
                <a:gd name="adj2" fmla="val -191898"/>
              </a:avLst>
            </a:prstGeom>
            <a:solidFill>
              <a:srgbClr val="FFFF99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 algn="ctr"/>
              <a:r>
                <a:rPr lang="ru-RU" sz="700" dirty="0">
                  <a:latin typeface="Franklin Gothic Medium Cond" pitchFamily="34" charset="0"/>
                </a:rPr>
                <a:t>УЗ Датчики положения</a:t>
              </a:r>
            </a:p>
          </p:txBody>
        </p:sp>
        <p:sp>
          <p:nvSpPr>
            <p:cNvPr id="75" name="AutoShape 15"/>
            <p:cNvSpPr>
              <a:spLocks noChangeArrowheads="1"/>
            </p:cNvSpPr>
            <p:nvPr/>
          </p:nvSpPr>
          <p:spPr bwMode="auto">
            <a:xfrm>
              <a:off x="466725" y="3197225"/>
              <a:ext cx="1944688" cy="485775"/>
            </a:xfrm>
            <a:prstGeom prst="wedgeEllipseCallout">
              <a:avLst>
                <a:gd name="adj1" fmla="val -31144"/>
                <a:gd name="adj2" fmla="val 364051"/>
              </a:avLst>
            </a:prstGeom>
            <a:solidFill>
              <a:srgbClr val="FFFF99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 algn="ctr"/>
              <a:r>
                <a:rPr lang="ru-RU" sz="600" dirty="0">
                  <a:latin typeface="Franklin Gothic Medium Cond" pitchFamily="34" charset="0"/>
                </a:rPr>
                <a:t>УЗ Регистратор </a:t>
              </a:r>
              <a:r>
                <a:rPr lang="ru-RU" sz="600" dirty="0" err="1">
                  <a:latin typeface="Franklin Gothic Medium Cond" pitchFamily="34" charset="0"/>
                </a:rPr>
                <a:t>колейности</a:t>
              </a:r>
              <a:endParaRPr lang="ru-RU" sz="600" dirty="0">
                <a:latin typeface="Franklin Gothic Medium Cond" pitchFamily="34" charset="0"/>
              </a:endParaRPr>
            </a:p>
          </p:txBody>
        </p:sp>
        <p:sp>
          <p:nvSpPr>
            <p:cNvPr id="76" name="AutoShape 16"/>
            <p:cNvSpPr>
              <a:spLocks noChangeArrowheads="1"/>
            </p:cNvSpPr>
            <p:nvPr/>
          </p:nvSpPr>
          <p:spPr bwMode="auto">
            <a:xfrm>
              <a:off x="6156325" y="6199050"/>
              <a:ext cx="1439864" cy="494212"/>
            </a:xfrm>
            <a:prstGeom prst="wedgeEllipseCallout">
              <a:avLst>
                <a:gd name="adj1" fmla="val 77307"/>
                <a:gd name="adj2" fmla="val -253784"/>
              </a:avLst>
            </a:prstGeom>
            <a:solidFill>
              <a:srgbClr val="FFFF99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r>
                <a:rPr lang="ru-RU" sz="600" dirty="0" err="1">
                  <a:latin typeface="Franklin Gothic Medium Cond" pitchFamily="34" charset="0"/>
                </a:rPr>
                <a:t>Георадар</a:t>
              </a:r>
              <a:endParaRPr lang="ru-RU" sz="600" dirty="0">
                <a:latin typeface="Franklin Gothic Medium Cond" pitchFamily="34" charset="0"/>
              </a:endParaRPr>
            </a:p>
          </p:txBody>
        </p:sp>
        <p:sp>
          <p:nvSpPr>
            <p:cNvPr id="77" name="AutoShape 17"/>
            <p:cNvSpPr>
              <a:spLocks noChangeArrowheads="1"/>
            </p:cNvSpPr>
            <p:nvPr/>
          </p:nvSpPr>
          <p:spPr bwMode="auto">
            <a:xfrm>
              <a:off x="4787900" y="4205288"/>
              <a:ext cx="1327150" cy="485775"/>
            </a:xfrm>
            <a:prstGeom prst="wedgeEllipseCallout">
              <a:avLst>
                <a:gd name="adj1" fmla="val -93301"/>
                <a:gd name="adj2" fmla="val -151634"/>
              </a:avLst>
            </a:prstGeom>
            <a:solidFill>
              <a:srgbClr val="FFFF99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 algn="ctr"/>
              <a:r>
                <a:rPr lang="ru-RU" sz="600" dirty="0">
                  <a:latin typeface="Franklin Gothic Medium Cond" pitchFamily="34" charset="0"/>
                </a:rPr>
                <a:t>Бортовой </a:t>
              </a:r>
              <a:r>
                <a:rPr lang="ru-RU" sz="600" dirty="0" err="1">
                  <a:latin typeface="Franklin Gothic Medium Cond" pitchFamily="34" charset="0"/>
                </a:rPr>
                <a:t>компьтер</a:t>
              </a:r>
              <a:endParaRPr lang="ru-RU" sz="600" dirty="0">
                <a:latin typeface="Franklin Gothic Medium Cond" pitchFamily="34" charset="0"/>
              </a:endParaRPr>
            </a:p>
          </p:txBody>
        </p:sp>
      </p:grpSp>
      <p:sp>
        <p:nvSpPr>
          <p:cNvPr id="78" name="Прямоугольник 77"/>
          <p:cNvSpPr/>
          <p:nvPr/>
        </p:nvSpPr>
        <p:spPr>
          <a:xfrm>
            <a:off x="144016" y="3826615"/>
            <a:ext cx="2843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latin typeface="Impact" pitchFamily="34" charset="0"/>
                <a:cs typeface="Arial" pitchFamily="34" charset="0"/>
              </a:rPr>
              <a:t>16 передвижных </a:t>
            </a:r>
            <a:br>
              <a:rPr lang="ru-RU" sz="1600" dirty="0" smtClean="0">
                <a:latin typeface="Impact" pitchFamily="34" charset="0"/>
                <a:cs typeface="Arial" pitchFamily="34" charset="0"/>
              </a:rPr>
            </a:br>
            <a:r>
              <a:rPr lang="ru-RU" sz="1600" dirty="0" smtClean="0">
                <a:latin typeface="Impact" pitchFamily="34" charset="0"/>
                <a:cs typeface="Arial" pitchFamily="34" charset="0"/>
              </a:rPr>
              <a:t>дорожных лабораторий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5004048" y="3789040"/>
            <a:ext cx="39604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 err="1" smtClean="0">
                <a:latin typeface="Impact" pitchFamily="34" charset="0"/>
                <a:cs typeface="Arial" pitchFamily="34" charset="0"/>
              </a:rPr>
              <a:t>KazRoadLab</a:t>
            </a:r>
            <a:r>
              <a:rPr lang="ru-RU" sz="1600" dirty="0" smtClean="0">
                <a:latin typeface="Impact" pitchFamily="34" charset="0"/>
                <a:cs typeface="Arial" pitchFamily="34" charset="0"/>
              </a:rPr>
              <a:t> - </a:t>
            </a:r>
            <a:r>
              <a:rPr lang="ru-RU" sz="1600" dirty="0" smtClean="0">
                <a:latin typeface="Impact" pitchFamily="34" charset="0"/>
              </a:rPr>
              <a:t>модуль автоматизации процесса деятельности РГУ</a:t>
            </a:r>
            <a:endParaRPr lang="en-US" sz="1600" dirty="0" smtClean="0">
              <a:latin typeface="Impact" pitchFamily="34" charset="0"/>
              <a:cs typeface="Arial" pitchFamily="34" charset="0"/>
            </a:endParaRPr>
          </a:p>
        </p:txBody>
      </p:sp>
      <p:pic>
        <p:nvPicPr>
          <p:cNvPr id="80" name="Рисунок 7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051" y="4398467"/>
            <a:ext cx="864096" cy="1406797"/>
          </a:xfrm>
          <a:prstGeom prst="rect">
            <a:avLst/>
          </a:prstGeom>
        </p:spPr>
      </p:pic>
      <p:sp>
        <p:nvSpPr>
          <p:cNvPr id="81" name="TextBox 80"/>
          <p:cNvSpPr txBox="1"/>
          <p:nvPr/>
        </p:nvSpPr>
        <p:spPr>
          <a:xfrm>
            <a:off x="4355975" y="6288805"/>
            <a:ext cx="2376265" cy="276999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Franklin Gothic Medium Cond" pitchFamily="34" charset="0"/>
              </a:rPr>
              <a:t>Фото-видео фиксация</a:t>
            </a:r>
            <a:endParaRPr lang="ru-RU" sz="1200" dirty="0">
              <a:solidFill>
                <a:schemeClr val="bg1"/>
              </a:solidFill>
              <a:latin typeface="Franklin Gothic Medium Cond" pitchFamily="34" charset="0"/>
            </a:endParaRPr>
          </a:p>
        </p:txBody>
      </p:sp>
      <p:pic>
        <p:nvPicPr>
          <p:cNvPr id="82" name="Объект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4378485"/>
            <a:ext cx="864096" cy="1426779"/>
          </a:xfrm>
          <a:prstGeom prst="rect">
            <a:avLst/>
          </a:prstGeom>
        </p:spPr>
      </p:pic>
      <p:sp>
        <p:nvSpPr>
          <p:cNvPr id="85" name="Прямоугольник 84"/>
          <p:cNvSpPr/>
          <p:nvPr/>
        </p:nvSpPr>
        <p:spPr>
          <a:xfrm>
            <a:off x="4355976" y="5877272"/>
            <a:ext cx="2376264" cy="276999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200" dirty="0" smtClean="0">
                <a:latin typeface="Franklin Gothic Medium Cond" pitchFamily="34" charset="0"/>
              </a:rPr>
              <a:t>Рейтинг лаборатории</a:t>
            </a:r>
            <a:endParaRPr lang="ru-RU" sz="1200" dirty="0">
              <a:latin typeface="Franklin Gothic Medium Cond" pitchFamily="34" charset="0"/>
            </a:endParaRPr>
          </a:p>
        </p:txBody>
      </p:sp>
      <p:pic>
        <p:nvPicPr>
          <p:cNvPr id="87" name="Рисунок 86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5777258"/>
            <a:ext cx="2016224" cy="10361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graphicFrame>
        <p:nvGraphicFramePr>
          <p:cNvPr id="89" name="Таблица 88"/>
          <p:cNvGraphicFramePr>
            <a:graphicFrameLocks noGrp="1"/>
          </p:cNvGraphicFramePr>
          <p:nvPr/>
        </p:nvGraphicFramePr>
        <p:xfrm>
          <a:off x="251520" y="2564904"/>
          <a:ext cx="4680520" cy="10081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2248"/>
                <a:gridCol w="792088"/>
                <a:gridCol w="864096"/>
                <a:gridCol w="792088"/>
              </a:tblGrid>
              <a:tr h="336037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Impact" pitchFamily="34" charset="0"/>
                          <a:cs typeface="Arial" pitchFamily="34" charset="0"/>
                        </a:rPr>
                        <a:t>Показатель</a:t>
                      </a:r>
                      <a:endParaRPr lang="ru-RU" sz="14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Impact" pitchFamily="34" charset="0"/>
                          <a:cs typeface="Arial" pitchFamily="34" charset="0"/>
                        </a:rPr>
                        <a:t>2016  год</a:t>
                      </a:r>
                      <a:endParaRPr lang="ru-RU" sz="12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Impact" pitchFamily="34" charset="0"/>
                          <a:cs typeface="Arial" pitchFamily="34" charset="0"/>
                        </a:rPr>
                        <a:t>2017  год </a:t>
                      </a:r>
                      <a:endParaRPr lang="ru-RU" sz="12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Impact" pitchFamily="34" charset="0"/>
                          <a:cs typeface="Arial" pitchFamily="34" charset="0"/>
                        </a:rPr>
                        <a:t>1-е 2018</a:t>
                      </a:r>
                      <a:endParaRPr lang="ru-RU" sz="12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36037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Impact" pitchFamily="34" charset="0"/>
                          <a:cs typeface="Arial" pitchFamily="34" charset="0"/>
                        </a:rPr>
                        <a:t>Кол-во выездов, ед.</a:t>
                      </a:r>
                      <a:endParaRPr lang="ru-RU" sz="14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Impact" pitchFamily="34" charset="0"/>
                          <a:cs typeface="Arial" pitchFamily="34" charset="0"/>
                        </a:rPr>
                        <a:t>3325</a:t>
                      </a:r>
                      <a:endParaRPr lang="ru-RU" sz="14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Impact" pitchFamily="34" charset="0"/>
                          <a:cs typeface="Arial" pitchFamily="34" charset="0"/>
                        </a:rPr>
                        <a:t>6 884</a:t>
                      </a:r>
                      <a:endParaRPr lang="ru-RU" sz="14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Impact" pitchFamily="34" charset="0"/>
                          <a:cs typeface="Arial" pitchFamily="34" charset="0"/>
                        </a:rPr>
                        <a:t>3020</a:t>
                      </a:r>
                      <a:endParaRPr lang="ru-RU" sz="14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36037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Impact" pitchFamily="34" charset="0"/>
                          <a:cs typeface="Arial" pitchFamily="34" charset="0"/>
                        </a:rPr>
                        <a:t>Выявлено нарушений, ед.</a:t>
                      </a:r>
                      <a:endParaRPr lang="ru-RU" sz="14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Impact" pitchFamily="34" charset="0"/>
                          <a:cs typeface="Arial" pitchFamily="34" charset="0"/>
                        </a:rPr>
                        <a:t>2 633</a:t>
                      </a:r>
                      <a:endParaRPr lang="ru-RU" sz="14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Impact" pitchFamily="34" charset="0"/>
                          <a:cs typeface="Arial" pitchFamily="34" charset="0"/>
                        </a:rPr>
                        <a:t>2 840</a:t>
                      </a:r>
                      <a:endParaRPr lang="ru-RU" sz="14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Impact" pitchFamily="34" charset="0"/>
                          <a:cs typeface="Arial" pitchFamily="34" charset="0"/>
                        </a:rPr>
                        <a:t>2063</a:t>
                      </a:r>
                      <a:endParaRPr lang="ru-RU" sz="1400" b="0" dirty="0">
                        <a:latin typeface="Impact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0" name="Стрелка вправо 89"/>
          <p:cNvSpPr/>
          <p:nvPr/>
        </p:nvSpPr>
        <p:spPr>
          <a:xfrm rot="5400000">
            <a:off x="3581880" y="962736"/>
            <a:ext cx="395984" cy="720000"/>
          </a:xfrm>
          <a:prstGeom prst="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Impact" pitchFamily="34" charset="0"/>
            </a:endParaRPr>
          </a:p>
        </p:txBody>
      </p:sp>
      <p:sp>
        <p:nvSpPr>
          <p:cNvPr id="91" name="Стрелка вправо 90"/>
          <p:cNvSpPr/>
          <p:nvPr/>
        </p:nvSpPr>
        <p:spPr>
          <a:xfrm rot="5400000">
            <a:off x="1277624" y="962736"/>
            <a:ext cx="395984" cy="720000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Impact" pitchFamily="34" charset="0"/>
            </a:endParaRPr>
          </a:p>
        </p:txBody>
      </p:sp>
      <p:sp>
        <p:nvSpPr>
          <p:cNvPr id="92" name="Скругленный прямоугольник 86"/>
          <p:cNvSpPr>
            <a:spLocks noChangeArrowheads="1"/>
          </p:cNvSpPr>
          <p:nvPr/>
        </p:nvSpPr>
        <p:spPr bwMode="auto">
          <a:xfrm>
            <a:off x="539552" y="1556792"/>
            <a:ext cx="1871888" cy="576064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tIns="18000" rIns="18000" bIns="18000" anchor="ctr"/>
          <a:lstStyle/>
          <a:p>
            <a:pPr algn="ctr">
              <a:defRPr/>
            </a:pPr>
            <a:r>
              <a:rPr lang="ru-RU" sz="1200" dirty="0" smtClean="0">
                <a:solidFill>
                  <a:schemeClr val="tx1"/>
                </a:solidFill>
                <a:latin typeface="Impact" pitchFamily="34" charset="0"/>
              </a:rPr>
              <a:t>Республиканская сеть</a:t>
            </a:r>
          </a:p>
        </p:txBody>
      </p:sp>
      <p:sp>
        <p:nvSpPr>
          <p:cNvPr id="93" name="Скругленный прямоугольник 86"/>
          <p:cNvSpPr>
            <a:spLocks noChangeArrowheads="1"/>
          </p:cNvSpPr>
          <p:nvPr/>
        </p:nvSpPr>
        <p:spPr bwMode="auto">
          <a:xfrm>
            <a:off x="2771800" y="1556792"/>
            <a:ext cx="1980272" cy="57181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18000" rIns="18000" bIns="18000" anchor="ctr"/>
          <a:lstStyle/>
          <a:p>
            <a:pPr algn="ctr">
              <a:defRPr/>
            </a:pPr>
            <a:r>
              <a:rPr lang="ru-RU" sz="1200" dirty="0" smtClean="0">
                <a:solidFill>
                  <a:schemeClr val="bg1"/>
                </a:solidFill>
                <a:latin typeface="Impact" pitchFamily="34" charset="0"/>
              </a:rPr>
              <a:t>Местная сеть </a:t>
            </a:r>
            <a:br>
              <a:rPr lang="ru-RU" sz="1200" dirty="0" smtClean="0">
                <a:solidFill>
                  <a:schemeClr val="bg1"/>
                </a:solidFill>
                <a:latin typeface="Impact" pitchFamily="34" charset="0"/>
              </a:rPr>
            </a:br>
            <a:r>
              <a:rPr lang="ru-RU" sz="1200" dirty="0" smtClean="0">
                <a:solidFill>
                  <a:schemeClr val="bg1"/>
                </a:solidFill>
                <a:latin typeface="Impact" pitchFamily="34" charset="0"/>
              </a:rPr>
              <a:t>и гг. Астана и  Алматы – трансферты из РБ</a:t>
            </a:r>
          </a:p>
        </p:txBody>
      </p:sp>
      <p:sp>
        <p:nvSpPr>
          <p:cNvPr id="94" name="Скругленный прямоугольник 86"/>
          <p:cNvSpPr>
            <a:spLocks noChangeArrowheads="1"/>
          </p:cNvSpPr>
          <p:nvPr/>
        </p:nvSpPr>
        <p:spPr bwMode="auto">
          <a:xfrm>
            <a:off x="539552" y="689487"/>
            <a:ext cx="3960440" cy="374571"/>
          </a:xfrm>
          <a:prstGeom prst="roundRect">
            <a:avLst>
              <a:gd name="adj" fmla="val 16667"/>
            </a:avLst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dirty="0" smtClean="0">
                <a:solidFill>
                  <a:schemeClr val="tx1"/>
                </a:solidFill>
                <a:latin typeface="Impact" pitchFamily="34" charset="0"/>
                <a:cs typeface="Arial" pitchFamily="34" charset="0"/>
              </a:rPr>
              <a:t>16 РГУ «</a:t>
            </a:r>
            <a:r>
              <a:rPr lang="ru-RU" sz="1600" dirty="0" err="1" smtClean="0">
                <a:solidFill>
                  <a:schemeClr val="tx1"/>
                </a:solidFill>
                <a:latin typeface="Impact" pitchFamily="34" charset="0"/>
                <a:cs typeface="Arial" pitchFamily="34" charset="0"/>
              </a:rPr>
              <a:t>Облжоллаборатория</a:t>
            </a:r>
            <a:r>
              <a:rPr lang="ru-RU" sz="1600" dirty="0" smtClean="0">
                <a:solidFill>
                  <a:schemeClr val="tx1"/>
                </a:solidFill>
                <a:latin typeface="Impact" pitchFamily="34" charset="0"/>
                <a:cs typeface="Arial" pitchFamily="34" charset="0"/>
              </a:rPr>
              <a:t>»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755576" y="2204864"/>
            <a:ext cx="369788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 smtClean="0">
                <a:solidFill>
                  <a:prstClr val="black"/>
                </a:solidFill>
                <a:latin typeface="Impact" pitchFamily="34" charset="0"/>
                <a:cs typeface="Arial" pitchFamily="34" charset="0"/>
              </a:rPr>
              <a:t>Результаты деятельности </a:t>
            </a:r>
          </a:p>
        </p:txBody>
      </p:sp>
      <p:sp>
        <p:nvSpPr>
          <p:cNvPr id="45" name="Номер слайда 14"/>
          <p:cNvSpPr txBox="1">
            <a:spLocks/>
          </p:cNvSpPr>
          <p:nvPr/>
        </p:nvSpPr>
        <p:spPr>
          <a:xfrm>
            <a:off x="8654135" y="6517443"/>
            <a:ext cx="6207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  <a:latin typeface="Impact" pitchFamily="34" charset="0"/>
              </a:rPr>
              <a:t>12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8160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Группа 12"/>
          <p:cNvGrpSpPr>
            <a:grpSpLocks/>
          </p:cNvGrpSpPr>
          <p:nvPr/>
        </p:nvGrpSpPr>
        <p:grpSpPr bwMode="auto">
          <a:xfrm>
            <a:off x="2274266" y="1480478"/>
            <a:ext cx="6690222" cy="3100650"/>
            <a:chOff x="500034" y="1071546"/>
            <a:chExt cx="7916863" cy="3643312"/>
          </a:xfrm>
        </p:grpSpPr>
        <p:pic>
          <p:nvPicPr>
            <p:cNvPr id="107" name="Picture 3" descr="C:\Documents and Settings\Admin\Мои документы\For prezentations\kz_icons\map2 copy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0034" y="1071546"/>
              <a:ext cx="7916863" cy="3643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8" name="Овал 107"/>
            <p:cNvSpPr/>
            <p:nvPr/>
          </p:nvSpPr>
          <p:spPr bwMode="auto">
            <a:xfrm>
              <a:off x="5534991" y="2361363"/>
              <a:ext cx="72606" cy="69794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just" eaLnBrk="0" hangingPunct="0">
                <a:defRPr/>
              </a:pPr>
              <a:endParaRPr lang="ru-RU" sz="1600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109" name="TextBox 7"/>
            <p:cNvSpPr txBox="1">
              <a:spLocks noChangeArrowheads="1"/>
            </p:cNvSpPr>
            <p:nvPr/>
          </p:nvSpPr>
          <p:spPr bwMode="auto">
            <a:xfrm>
              <a:off x="5490310" y="2246897"/>
              <a:ext cx="901993" cy="270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400">
                  <a:solidFill>
                    <a:schemeClr val="tx2"/>
                  </a:solidFill>
                </a:rPr>
                <a:t>ТЕМИРТАУ</a:t>
              </a:r>
            </a:p>
          </p:txBody>
        </p:sp>
        <p:sp>
          <p:nvSpPr>
            <p:cNvPr id="110" name="Овал 109"/>
            <p:cNvSpPr/>
            <p:nvPr/>
          </p:nvSpPr>
          <p:spPr bwMode="auto">
            <a:xfrm>
              <a:off x="4574356" y="3768435"/>
              <a:ext cx="72606" cy="72587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just" eaLnBrk="0" hangingPunct="0">
                <a:defRPr/>
              </a:pPr>
              <a:endParaRPr lang="ru-RU" sz="1600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111" name="TextBox 9"/>
            <p:cNvSpPr txBox="1">
              <a:spLocks noChangeArrowheads="1"/>
            </p:cNvSpPr>
            <p:nvPr/>
          </p:nvSpPr>
          <p:spPr bwMode="auto">
            <a:xfrm>
              <a:off x="4518505" y="3628845"/>
              <a:ext cx="910370" cy="2456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400">
                  <a:solidFill>
                    <a:schemeClr val="tx2"/>
                  </a:solidFill>
                </a:rPr>
                <a:t>ТУРКЕСТАН</a:t>
              </a:r>
            </a:p>
          </p:txBody>
        </p:sp>
        <p:sp>
          <p:nvSpPr>
            <p:cNvPr id="112" name="Овал 111"/>
            <p:cNvSpPr/>
            <p:nvPr/>
          </p:nvSpPr>
          <p:spPr bwMode="auto">
            <a:xfrm>
              <a:off x="6473286" y="4036449"/>
              <a:ext cx="72606" cy="69794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just" eaLnBrk="0" hangingPunct="0">
                <a:defRPr/>
              </a:pPr>
              <a:endParaRPr lang="ru-RU" sz="1600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113" name="TextBox 11"/>
            <p:cNvSpPr txBox="1">
              <a:spLocks noChangeArrowheads="1"/>
            </p:cNvSpPr>
            <p:nvPr/>
          </p:nvSpPr>
          <p:spPr bwMode="auto">
            <a:xfrm>
              <a:off x="6417435" y="3896858"/>
              <a:ext cx="1027656" cy="2456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400">
                  <a:solidFill>
                    <a:schemeClr val="tx2"/>
                  </a:solidFill>
                </a:rPr>
                <a:t>КАСКЕЛЕН</a:t>
              </a:r>
            </a:p>
          </p:txBody>
        </p:sp>
      </p:grpSp>
      <p:sp>
        <p:nvSpPr>
          <p:cNvPr id="19463" name="Rectangle 7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99" name="Picture 2" descr="https://encrypted-tbn1.gstatic.com/images?q=tbn:ANd9GcR9e3uI2Z4pbLc7iEZ7rM-oD3OVK2MdTzW1fBIRJBDp0u1SNu7jiw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28384" y="692697"/>
            <a:ext cx="1021154" cy="548680"/>
          </a:xfrm>
          <a:prstGeom prst="rect">
            <a:avLst/>
          </a:prstGeom>
          <a:noFill/>
        </p:spPr>
      </p:pic>
      <p:sp>
        <p:nvSpPr>
          <p:cNvPr id="114" name="Textfeld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340768" y="620688"/>
            <a:ext cx="6767736" cy="692697"/>
          </a:xfrm>
          <a:prstGeom prst="rect">
            <a:avLst/>
          </a:prstGeom>
          <a:solidFill>
            <a:schemeClr val="bg1">
              <a:lumMod val="85000"/>
              <a:alpha val="77000"/>
            </a:schemeClr>
          </a:solidFill>
          <a:ln w="9525">
            <a:solidFill>
              <a:srgbClr val="E0E0E3"/>
            </a:solidFill>
            <a:miter lim="800000"/>
            <a:headEnd/>
            <a:tailEnd/>
          </a:ln>
        </p:spPr>
        <p:txBody>
          <a:bodyPr lIns="107863" tIns="0" rIns="107863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4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ea typeface="MS PGothic"/>
              </a:rPr>
              <a:t>Национальный </a:t>
            </a:r>
            <a:r>
              <a:rPr lang="ru-RU" altLang="ru-RU" sz="1400" dirty="0">
                <a:solidFill>
                  <a:schemeClr val="tx2">
                    <a:lumMod val="75000"/>
                  </a:schemeClr>
                </a:solidFill>
                <a:latin typeface="Impact" pitchFamily="34" charset="0"/>
                <a:ea typeface="MS PGothic"/>
              </a:rPr>
              <a:t>центр качества дорожных </a:t>
            </a:r>
            <a:r>
              <a:rPr lang="ru-RU" altLang="ru-RU" sz="14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ea typeface="MS PGothic"/>
              </a:rPr>
              <a:t>активов </a:t>
            </a:r>
            <a:r>
              <a:rPr lang="ru-RU" altLang="ru-RU" sz="1400" i="1" kern="0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будет производить экспертизу</a:t>
            </a:r>
          </a:p>
          <a:p>
            <a:pPr>
              <a:defRPr/>
            </a:pPr>
            <a:r>
              <a:rPr lang="ru-RU" altLang="ru-RU" sz="1400" i="1" kern="0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качества </a:t>
            </a:r>
            <a:r>
              <a:rPr lang="ru-RU" altLang="ru-RU" sz="1400" i="1" kern="0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работ и материалов не только на дорогах республиканского </a:t>
            </a:r>
            <a:r>
              <a:rPr lang="ru-RU" altLang="ru-RU" sz="1400" i="1" kern="0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значения</a:t>
            </a:r>
          </a:p>
          <a:p>
            <a:pPr>
              <a:defRPr/>
            </a:pPr>
            <a:r>
              <a:rPr lang="ru-RU" altLang="ru-RU" sz="1400" i="1" kern="0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как </a:t>
            </a:r>
            <a:r>
              <a:rPr lang="ru-RU" altLang="ru-RU" sz="1400" i="1" kern="0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сейчас, но и охватит местные дороги и улицы населенных пунктов</a:t>
            </a:r>
          </a:p>
        </p:txBody>
      </p:sp>
      <p:sp>
        <p:nvSpPr>
          <p:cNvPr id="115" name="Прямоугольник 19"/>
          <p:cNvSpPr>
            <a:spLocks noChangeArrowheads="1"/>
          </p:cNvSpPr>
          <p:nvPr/>
        </p:nvSpPr>
        <p:spPr bwMode="auto">
          <a:xfrm>
            <a:off x="683568" y="5858108"/>
            <a:ext cx="840227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sz="1400" dirty="0">
                <a:solidFill>
                  <a:srgbClr val="595959"/>
                </a:solidFill>
                <a:latin typeface="Impact" pitchFamily="34" charset="0"/>
                <a:ea typeface="MS PGothic"/>
                <a:cs typeface="Arial" pitchFamily="34" charset="0"/>
              </a:rPr>
              <a:t>Создается основа перехода на новые контракты по содержанию дорог, ориентированных на результат за счет перехода от количественного учета работ к качественным показателям состояния дорог</a:t>
            </a:r>
            <a:endParaRPr lang="ru-RU" altLang="ru-RU" sz="1400" dirty="0" smtClean="0">
              <a:solidFill>
                <a:srgbClr val="33CC33"/>
              </a:solidFill>
              <a:latin typeface="Impact" pitchFamily="34" charset="0"/>
              <a:ea typeface="MS PGothic"/>
              <a:cs typeface="Arial" pitchFamily="34" charset="0"/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5948700"/>
            <a:ext cx="360040" cy="36004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254160" y="2199122"/>
            <a:ext cx="248153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Система 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управления дорожными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активами </a:t>
            </a:r>
            <a:r>
              <a:rPr lang="ru-RU" sz="1200" i="1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MS PGothic"/>
                <a:cs typeface="Arial" pitchFamily="34" charset="0"/>
              </a:rPr>
              <a:t>рекомендаций Всемирного </a:t>
            </a:r>
          </a:p>
          <a:p>
            <a:r>
              <a:rPr lang="ru-RU" sz="1200" i="1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MS PGothic"/>
                <a:cs typeface="Arial" pitchFamily="34" charset="0"/>
              </a:rPr>
              <a:t>банка </a:t>
            </a:r>
            <a:r>
              <a:rPr lang="ru-RU" sz="1200" i="1" dirty="0">
                <a:solidFill>
                  <a:schemeClr val="accent6">
                    <a:lumMod val="50000"/>
                  </a:schemeClr>
                </a:solidFill>
                <a:latin typeface="+mj-lt"/>
                <a:ea typeface="MS PGothic"/>
                <a:cs typeface="Arial" pitchFamily="34" charset="0"/>
              </a:rPr>
              <a:t>по внедрению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5496" y="496589"/>
            <a:ext cx="1872208" cy="140845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000" rIns="0" bIns="36000">
            <a:spAutoFit/>
          </a:bodyPr>
          <a:lstStyle/>
          <a:p>
            <a:pPr algn="ctr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ru-RU" sz="1400" dirty="0">
                <a:solidFill>
                  <a:schemeClr val="bg1"/>
                </a:solidFill>
                <a:latin typeface="Impact" pitchFamily="34" charset="0"/>
                <a:cs typeface="Arial" panose="020B0604020202020204" pitchFamily="34" charset="0"/>
              </a:rPr>
              <a:t>Реорганизация</a:t>
            </a:r>
          </a:p>
          <a:p>
            <a:pPr algn="ctr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ru-RU" sz="1400" dirty="0">
                <a:solidFill>
                  <a:schemeClr val="bg1"/>
                </a:solidFill>
                <a:latin typeface="Impact" pitchFamily="34" charset="0"/>
                <a:cs typeface="Arial" panose="020B0604020202020204" pitchFamily="34" charset="0"/>
              </a:rPr>
              <a:t>16 областных республиканских государственных учреждений </a:t>
            </a:r>
            <a:r>
              <a:rPr lang="ru-RU" sz="1400" dirty="0" err="1" smtClean="0">
                <a:solidFill>
                  <a:schemeClr val="bg1"/>
                </a:solidFill>
                <a:latin typeface="Impact" pitchFamily="34" charset="0"/>
                <a:cs typeface="Arial" panose="020B0604020202020204" pitchFamily="34" charset="0"/>
              </a:rPr>
              <a:t>Облжоллабораторий</a:t>
            </a:r>
            <a:endParaRPr lang="ru-RU" sz="1400" dirty="0">
              <a:solidFill>
                <a:schemeClr val="bg1"/>
              </a:solidFill>
              <a:latin typeface="Impact" pitchFamily="34" charset="0"/>
              <a:cs typeface="Arial" panose="020B0604020202020204" pitchFamily="34" charset="0"/>
            </a:endParaRPr>
          </a:p>
        </p:txBody>
      </p:sp>
      <p:sp>
        <p:nvSpPr>
          <p:cNvPr id="120" name="Равнобедренный треугольник 119"/>
          <p:cNvSpPr/>
          <p:nvPr/>
        </p:nvSpPr>
        <p:spPr bwMode="auto">
          <a:xfrm rot="5400000">
            <a:off x="1619672" y="836712"/>
            <a:ext cx="1008112" cy="288032"/>
          </a:xfrm>
          <a:prstGeom prst="triangle">
            <a:avLst>
              <a:gd name="adj" fmla="val 4811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21" name="Picture 4" descr="http://www.stroyteh.ru/file/image/rosdorteh/Rosdortekh___Kompleksnaya_dorozhnaya_laboratoriya_novogo_pokoleniya.jpe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flipH="1">
            <a:off x="3275856" y="1412776"/>
            <a:ext cx="1152128" cy="78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3" name="Picture 4" descr="http://www.nporegion.ru/assets/classes/timthumb/timthumb.php?src=assets/images/povid_01_1.jpg&amp;w=480&amp;zc=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84368" y="1412776"/>
            <a:ext cx="1152128" cy="852587"/>
          </a:xfrm>
          <a:prstGeom prst="rect">
            <a:avLst/>
          </a:prstGeom>
          <a:noFill/>
        </p:spPr>
      </p:pic>
      <p:sp>
        <p:nvSpPr>
          <p:cNvPr id="18" name="Овал 17"/>
          <p:cNvSpPr/>
          <p:nvPr/>
        </p:nvSpPr>
        <p:spPr>
          <a:xfrm>
            <a:off x="3131840" y="2348880"/>
            <a:ext cx="2016224" cy="1202432"/>
          </a:xfrm>
          <a:prstGeom prst="ellipse">
            <a:avLst/>
          </a:prstGeom>
          <a:solidFill>
            <a:schemeClr val="bg1"/>
          </a:solidFill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4" name="Овал 123"/>
          <p:cNvSpPr/>
          <p:nvPr/>
        </p:nvSpPr>
        <p:spPr>
          <a:xfrm>
            <a:off x="4768627" y="1844824"/>
            <a:ext cx="2016224" cy="1202432"/>
          </a:xfrm>
          <a:prstGeom prst="ellipse">
            <a:avLst/>
          </a:prstGeom>
          <a:solidFill>
            <a:schemeClr val="bg1"/>
          </a:solidFill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Овал 124"/>
          <p:cNvSpPr/>
          <p:nvPr/>
        </p:nvSpPr>
        <p:spPr>
          <a:xfrm>
            <a:off x="6400775" y="2420888"/>
            <a:ext cx="2016224" cy="1202432"/>
          </a:xfrm>
          <a:prstGeom prst="ellipse">
            <a:avLst/>
          </a:prstGeom>
          <a:solidFill>
            <a:schemeClr val="bg1"/>
          </a:solidFill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3180606" y="2505100"/>
            <a:ext cx="18722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Impact" pitchFamily="34" charset="0"/>
                <a:cs typeface="Arial" panose="020B0604020202020204" pitchFamily="34" charset="0"/>
              </a:rPr>
              <a:t>Дороги республиканского значения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4716016" y="1911104"/>
            <a:ext cx="208823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Дороги </a:t>
            </a:r>
          </a:p>
          <a:p>
            <a:pPr algn="ctr"/>
            <a:r>
              <a:rPr lang="ru-RU" sz="1600" dirty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областного и районного </a:t>
            </a:r>
          </a:p>
          <a:p>
            <a:pPr algn="ctr"/>
            <a:r>
              <a:rPr lang="ru-RU" sz="1600" dirty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значения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6372200" y="2698471"/>
            <a:ext cx="20882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Улицы городов и населенных пунктов</a:t>
            </a:r>
          </a:p>
        </p:txBody>
      </p:sp>
      <p:sp>
        <p:nvSpPr>
          <p:cNvPr id="128" name="Равнобедренный треугольник 127"/>
          <p:cNvSpPr/>
          <p:nvPr/>
        </p:nvSpPr>
        <p:spPr bwMode="auto">
          <a:xfrm rot="10800000">
            <a:off x="5220072" y="1338738"/>
            <a:ext cx="1008112" cy="288032"/>
          </a:xfrm>
          <a:prstGeom prst="triangle">
            <a:avLst>
              <a:gd name="adj" fmla="val 4811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31" name="Прямоугольник 130"/>
          <p:cNvSpPr/>
          <p:nvPr/>
        </p:nvSpPr>
        <p:spPr>
          <a:xfrm>
            <a:off x="249539" y="3038328"/>
            <a:ext cx="273828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Мониторинг 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безопасности дорожно-транспортной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инфраструктуры</a:t>
            </a:r>
            <a:endParaRPr lang="ru-RU" sz="1200" i="1" dirty="0">
              <a:solidFill>
                <a:schemeClr val="accent6">
                  <a:lumMod val="50000"/>
                </a:schemeClr>
              </a:solidFill>
              <a:latin typeface="+mj-lt"/>
              <a:ea typeface="MS PGothic"/>
              <a:cs typeface="Arial" pitchFamily="34" charset="0"/>
            </a:endParaRPr>
          </a:p>
        </p:txBody>
      </p:sp>
      <p:sp>
        <p:nvSpPr>
          <p:cNvPr id="132" name="Textfeld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-1111148" y="3335548"/>
            <a:ext cx="2516229" cy="262963"/>
          </a:xfrm>
          <a:prstGeom prst="rect">
            <a:avLst/>
          </a:prstGeom>
          <a:solidFill>
            <a:schemeClr val="accent6">
              <a:lumMod val="50000"/>
              <a:alpha val="77000"/>
            </a:schemeClr>
          </a:solidFill>
          <a:ln w="9525">
            <a:solidFill>
              <a:srgbClr val="E0E0E3"/>
            </a:solidFill>
            <a:miter lim="800000"/>
            <a:headEnd/>
            <a:tailEnd/>
          </a:ln>
        </p:spPr>
        <p:txBody>
          <a:bodyPr lIns="107863" tIns="0" rIns="107863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altLang="ru-RU" sz="1400" dirty="0" smtClean="0">
                <a:solidFill>
                  <a:schemeClr val="bg1"/>
                </a:solidFill>
                <a:latin typeface="Impact" pitchFamily="34" charset="0"/>
                <a:ea typeface="MS PGothic"/>
              </a:rPr>
              <a:t>Основные функции</a:t>
            </a:r>
            <a:endParaRPr lang="ru-RU" altLang="ru-RU" sz="1400" i="1" kern="0" dirty="0">
              <a:solidFill>
                <a:schemeClr val="bg1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33" name="Прямоугольник 132"/>
          <p:cNvSpPr/>
          <p:nvPr/>
        </p:nvSpPr>
        <p:spPr>
          <a:xfrm>
            <a:off x="251520" y="3758408"/>
            <a:ext cx="273828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Диагностика 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и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инструментальное 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обследование автомобильных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Impact" pitchFamily="34" charset="0"/>
                <a:ea typeface="MS PGothic"/>
                <a:cs typeface="Arial" pitchFamily="34" charset="0"/>
              </a:rPr>
              <a:t>дорог</a:t>
            </a:r>
            <a:endParaRPr lang="ru-RU" sz="1200" i="1" dirty="0">
              <a:solidFill>
                <a:schemeClr val="accent6">
                  <a:lumMod val="50000"/>
                </a:schemeClr>
              </a:solidFill>
              <a:latin typeface="+mj-lt"/>
              <a:ea typeface="MS PGothic"/>
              <a:cs typeface="Arial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278449" y="3044328"/>
            <a:ext cx="1845279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единительная линия 133"/>
          <p:cNvCxnSpPr/>
          <p:nvPr/>
        </p:nvCxnSpPr>
        <p:spPr>
          <a:xfrm>
            <a:off x="251520" y="2211556"/>
            <a:ext cx="1845279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Прямая соединительная линия 134"/>
          <p:cNvCxnSpPr/>
          <p:nvPr/>
        </p:nvCxnSpPr>
        <p:spPr>
          <a:xfrm>
            <a:off x="270182" y="3758408"/>
            <a:ext cx="1845279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единительная линия 135"/>
          <p:cNvCxnSpPr/>
          <p:nvPr/>
        </p:nvCxnSpPr>
        <p:spPr>
          <a:xfrm>
            <a:off x="251520" y="4703843"/>
            <a:ext cx="1845279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Скругленный прямоугольник 65"/>
          <p:cNvSpPr/>
          <p:nvPr/>
        </p:nvSpPr>
        <p:spPr>
          <a:xfrm>
            <a:off x="4100883" y="3775773"/>
            <a:ext cx="3351437" cy="94937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2"/>
                </a:solidFill>
                <a:latin typeface="Impact" pitchFamily="34" charset="0"/>
              </a:rPr>
              <a:t>100 % охват </a:t>
            </a:r>
          </a:p>
          <a:p>
            <a:r>
              <a:rPr lang="ru-RU" sz="1400" dirty="0" smtClean="0">
                <a:solidFill>
                  <a:schemeClr val="tx2"/>
                </a:solidFill>
                <a:latin typeface="Impact" pitchFamily="34" charset="0"/>
              </a:rPr>
              <a:t>- Республиканской сети – 24,3 тыс. км</a:t>
            </a:r>
          </a:p>
          <a:p>
            <a:r>
              <a:rPr lang="ru-RU" sz="1400" dirty="0" smtClean="0">
                <a:solidFill>
                  <a:schemeClr val="tx2"/>
                </a:solidFill>
                <a:latin typeface="Impact" pitchFamily="34" charset="0"/>
              </a:rPr>
              <a:t>- Местной сети </a:t>
            </a:r>
            <a:r>
              <a:rPr lang="ru-RU" sz="1400" dirty="0">
                <a:solidFill>
                  <a:schemeClr val="tx2"/>
                </a:solidFill>
                <a:latin typeface="Impact" pitchFamily="34" charset="0"/>
              </a:rPr>
              <a:t>– </a:t>
            </a:r>
            <a:r>
              <a:rPr lang="ru-RU" sz="1400" dirty="0" smtClean="0">
                <a:solidFill>
                  <a:schemeClr val="tx2"/>
                </a:solidFill>
                <a:latin typeface="Impact" pitchFamily="34" charset="0"/>
              </a:rPr>
              <a:t>71,2 тыс</a:t>
            </a:r>
            <a:r>
              <a:rPr lang="ru-RU" sz="1400" dirty="0">
                <a:solidFill>
                  <a:schemeClr val="tx2"/>
                </a:solidFill>
                <a:latin typeface="Impact" pitchFamily="34" charset="0"/>
              </a:rPr>
              <a:t>. </a:t>
            </a:r>
            <a:r>
              <a:rPr lang="ru-RU" sz="1400" dirty="0" smtClean="0">
                <a:solidFill>
                  <a:schemeClr val="tx2"/>
                </a:solidFill>
                <a:latin typeface="Impact" pitchFamily="34" charset="0"/>
              </a:rPr>
              <a:t>км</a:t>
            </a:r>
          </a:p>
          <a:p>
            <a:r>
              <a:rPr lang="ru-RU" sz="1400" dirty="0" smtClean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- Улиц </a:t>
            </a:r>
            <a:r>
              <a:rPr lang="ru-RU" sz="1400" dirty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городов и населенных </a:t>
            </a:r>
            <a:r>
              <a:rPr lang="ru-RU" sz="1400" dirty="0" smtClean="0">
                <a:solidFill>
                  <a:schemeClr val="tx2"/>
                </a:solidFill>
                <a:latin typeface="Impact" pitchFamily="34" charset="0"/>
                <a:ea typeface="MS PGothic"/>
                <a:cs typeface="Arial" pitchFamily="34" charset="0"/>
              </a:rPr>
              <a:t>пунктов</a:t>
            </a:r>
            <a:endParaRPr lang="ru-RU" sz="1400" dirty="0">
              <a:solidFill>
                <a:schemeClr val="tx2"/>
              </a:solidFill>
              <a:latin typeface="Impact" pitchFamily="34" charset="0"/>
            </a:endParaRPr>
          </a:p>
        </p:txBody>
      </p:sp>
      <p:sp>
        <p:nvSpPr>
          <p:cNvPr id="67" name="Прямоугольник 19"/>
          <p:cNvSpPr>
            <a:spLocks noChangeArrowheads="1"/>
          </p:cNvSpPr>
          <p:nvPr/>
        </p:nvSpPr>
        <p:spPr bwMode="auto">
          <a:xfrm>
            <a:off x="683568" y="5013176"/>
            <a:ext cx="840227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sz="140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Arial" pitchFamily="34" charset="0"/>
              </a:rPr>
              <a:t>Создание </a:t>
            </a:r>
            <a:r>
              <a:rPr lang="ru-RU" altLang="ru-RU" sz="1400" dirty="0">
                <a:solidFill>
                  <a:srgbClr val="595959"/>
                </a:solidFill>
                <a:latin typeface="Impact" pitchFamily="34" charset="0"/>
                <a:ea typeface="MS PGothic"/>
                <a:cs typeface="Arial" pitchFamily="34" charset="0"/>
              </a:rPr>
              <a:t>Центра позволит, Правительству создать основу совершенно нового механизма государственного управления качеством дорог и их безопасностью, а также повысить показатель индекса «Качества дорог</a:t>
            </a:r>
            <a:r>
              <a:rPr lang="ru-RU" altLang="ru-RU" sz="140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Arial" pitchFamily="34" charset="0"/>
              </a:rPr>
              <a:t>»</a:t>
            </a:r>
            <a:endParaRPr lang="ru-RU" altLang="ru-RU" sz="1400" dirty="0" smtClean="0">
              <a:solidFill>
                <a:srgbClr val="33CC33"/>
              </a:solidFill>
              <a:latin typeface="Impact" pitchFamily="34" charset="0"/>
              <a:ea typeface="MS PGothic"/>
              <a:cs typeface="Arial" pitchFamily="34" charset="0"/>
            </a:endParaRPr>
          </a:p>
        </p:txBody>
      </p:sp>
      <p:pic>
        <p:nvPicPr>
          <p:cNvPr id="68" name="Рисунок 6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5157192"/>
            <a:ext cx="360040" cy="360040"/>
          </a:xfrm>
          <a:prstGeom prst="rect">
            <a:avLst/>
          </a:prstGeom>
        </p:spPr>
      </p:pic>
      <p:sp>
        <p:nvSpPr>
          <p:cNvPr id="69" name="Заголовок 5"/>
          <p:cNvSpPr txBox="1">
            <a:spLocks/>
          </p:cNvSpPr>
          <p:nvPr/>
        </p:nvSpPr>
        <p:spPr bwMode="auto">
          <a:xfrm>
            <a:off x="0" y="44624"/>
            <a:ext cx="9144000" cy="338137"/>
          </a:xfrm>
          <a:prstGeom prst="roundRect">
            <a:avLst>
              <a:gd name="adj" fmla="val 8800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ctr">
              <a:defRPr>
                <a:solidFill>
                  <a:srgbClr val="FFFFFF"/>
                </a:solidFill>
                <a:latin typeface="Impact" pitchFamily="34" charset="0"/>
                <a:ea typeface="Calibri" pitchFamily="34" charset="0"/>
                <a:cs typeface="Calibri" pitchFamily="34" charset="0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РГП «Национальный центр качества дорожных активов»</a:t>
            </a:r>
          </a:p>
        </p:txBody>
      </p:sp>
      <p:sp>
        <p:nvSpPr>
          <p:cNvPr id="38" name="Номер слайда 14"/>
          <p:cNvSpPr>
            <a:spLocks noGrp="1"/>
          </p:cNvSpPr>
          <p:nvPr>
            <p:ph type="sldNum" sz="quarter" idx="10"/>
          </p:nvPr>
        </p:nvSpPr>
        <p:spPr>
          <a:xfrm>
            <a:off x="8631807" y="6520259"/>
            <a:ext cx="620713" cy="365125"/>
          </a:xfrm>
        </p:spPr>
        <p:txBody>
          <a:bodyPr/>
          <a:lstStyle/>
          <a:p>
            <a:pPr algn="ctr">
              <a:defRPr/>
            </a:pPr>
            <a:r>
              <a:rPr lang="kk-KZ" dirty="0" smtClean="0">
                <a:solidFill>
                  <a:schemeClr val="tx1"/>
                </a:solidFill>
                <a:latin typeface="Impact" pitchFamily="34" charset="0"/>
              </a:rPr>
              <a:t>13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41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Users\shalibekov_a\Desktop\слайд\14528958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662"/>
            <a:ext cx="9144000" cy="605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16"/>
          <p:cNvSpPr txBox="1">
            <a:spLocks noChangeArrowheads="1"/>
          </p:cNvSpPr>
          <p:nvPr/>
        </p:nvSpPr>
        <p:spPr bwMode="auto">
          <a:xfrm>
            <a:off x="1547664" y="1625072"/>
            <a:ext cx="6048672" cy="758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508" tIns="40254" rIns="80508" bIns="40254">
            <a:spAutoFit/>
          </a:bodyPr>
          <a:lstStyle/>
          <a:p>
            <a:pPr algn="ctr"/>
            <a:r>
              <a:rPr lang="ru-RU" sz="4400" b="1" dirty="0" smtClean="0">
                <a:solidFill>
                  <a:schemeClr val="bg1"/>
                </a:solidFill>
                <a:latin typeface="Franklin Gothic Medium Cond" pitchFamily="34" charset="0"/>
                <a:cs typeface="Times New Roman" pitchFamily="18" charset="0"/>
              </a:rPr>
              <a:t>Спасибо за внимание!</a:t>
            </a:r>
            <a:endParaRPr lang="ru-RU" sz="4400" b="1" dirty="0">
              <a:solidFill>
                <a:schemeClr val="bg1"/>
              </a:solidFill>
              <a:latin typeface="Franklin Gothic Medium Cond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22433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3175" y="456438"/>
            <a:ext cx="9156699" cy="5651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4" name="TextBox 283"/>
          <p:cNvSpPr txBox="1">
            <a:spLocks noChangeArrowheads="1"/>
          </p:cNvSpPr>
          <p:nvPr/>
        </p:nvSpPr>
        <p:spPr bwMode="auto">
          <a:xfrm>
            <a:off x="46406" y="80221"/>
            <a:ext cx="9107119" cy="30645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1400">
                <a:solidFill>
                  <a:schemeClr val="bg1"/>
                </a:solidFill>
                <a:latin typeface="Impact" pitchFamily="34" charset="0"/>
                <a:ea typeface="+mj-ea"/>
                <a:cs typeface="+mj-cs"/>
              </a:defRPr>
            </a:lvl1pPr>
          </a:lstStyle>
          <a:p>
            <a:r>
              <a:rPr lang="ru-RU" sz="1800" b="1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НҰРЛЫ ЖОЛ ШЕҢБЕРІНДЕ АВТОЖОЛДАРДЫҢ ҚҰРЫЛЫСЫ МЕН РЕКОНСТРУКЦИЯСЫ</a:t>
            </a:r>
            <a:endParaRPr lang="ru-RU" sz="1800" b="1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Номер слайда 14"/>
          <p:cNvSpPr>
            <a:spLocks noGrp="1"/>
          </p:cNvSpPr>
          <p:nvPr>
            <p:ph type="sldNum" sz="quarter" idx="10"/>
          </p:nvPr>
        </p:nvSpPr>
        <p:spPr>
          <a:xfrm>
            <a:off x="8631807" y="6520259"/>
            <a:ext cx="620713" cy="365125"/>
          </a:xfrm>
        </p:spPr>
        <p:txBody>
          <a:bodyPr/>
          <a:lstStyle/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  <a:latin typeface="Impact" pitchFamily="34" charset="0"/>
              </a:rPr>
              <a:t>1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  <p:pic>
        <p:nvPicPr>
          <p:cNvPr id="6" name="Picture 69" descr="E:\! WORK\For prezentations\Build\highway_construction_25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12138" y="5762023"/>
            <a:ext cx="108108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25387" y="5557175"/>
            <a:ext cx="540000" cy="5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Rectangle 44"/>
          <p:cNvSpPr>
            <a:spLocks noChangeArrowheads="1"/>
          </p:cNvSpPr>
          <p:nvPr/>
        </p:nvSpPr>
        <p:spPr bwMode="auto">
          <a:xfrm>
            <a:off x="6892365" y="5766410"/>
            <a:ext cx="2088232" cy="76827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87782" tIns="144000" rIns="87782" bIns="43891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452438" indent="-1270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100" b="1" dirty="0" err="1" smtClean="0">
                <a:latin typeface="+mn-lt"/>
                <a:cs typeface="Arial" charset="0"/>
              </a:rPr>
              <a:t>Шартты</a:t>
            </a:r>
            <a:r>
              <a:rPr lang="ru-RU" altLang="ru-RU" sz="1100" b="1" dirty="0" smtClean="0">
                <a:latin typeface="+mn-lt"/>
                <a:cs typeface="Arial" charset="0"/>
              </a:rPr>
              <a:t> </a:t>
            </a:r>
            <a:r>
              <a:rPr lang="ru-RU" altLang="ru-RU" sz="1100" b="1" dirty="0" err="1" smtClean="0">
                <a:latin typeface="+mn-lt"/>
                <a:cs typeface="Arial" charset="0"/>
              </a:rPr>
              <a:t>белгілер</a:t>
            </a:r>
            <a:endParaRPr lang="ru-RU" altLang="ru-RU" sz="1100" b="1" dirty="0" smtClean="0">
              <a:latin typeface="+mn-lt"/>
              <a:cs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ru-RU" altLang="ru-RU" sz="300" b="1" dirty="0" smtClean="0">
              <a:solidFill>
                <a:schemeClr val="tx1">
                  <a:lumMod val="65000"/>
                  <a:lumOff val="35000"/>
                </a:schemeClr>
              </a:solidFill>
              <a:latin typeface="Franklin Gothic Medium Cond" pitchFamily="34" charset="0"/>
              <a:cs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201</a:t>
            </a:r>
            <a:r>
              <a:rPr lang="en-US" alt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8</a:t>
            </a:r>
            <a:r>
              <a:rPr lang="ru-RU" alt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ru-RU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жылға</a:t>
            </a:r>
            <a:r>
              <a:rPr lang="ru-RU" alt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ru-RU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дейін</a:t>
            </a:r>
            <a:r>
              <a:rPr lang="ru-RU" alt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ru-RU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аяқталған</a:t>
            </a:r>
            <a:endParaRPr lang="ru-RU" altLang="ru-RU" sz="9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2018-2020 </a:t>
            </a:r>
            <a:r>
              <a:rPr lang="ru-RU" altLang="ru-RU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жылдары</a:t>
            </a:r>
            <a:r>
              <a:rPr lang="ru-RU" alt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ru-RU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жұмыстармен</a:t>
            </a:r>
            <a:r>
              <a:rPr lang="ru-RU" alt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ru-RU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қамту</a:t>
            </a:r>
            <a:endParaRPr lang="ru-RU" altLang="ru-RU" sz="9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Қозғалыстың</a:t>
            </a:r>
            <a:r>
              <a:rPr lang="ru-RU" alt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 2018 </a:t>
            </a:r>
            <a:r>
              <a:rPr lang="ru-RU" altLang="ru-RU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жылы</a:t>
            </a:r>
            <a:r>
              <a:rPr lang="ru-RU" alt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ru-RU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rPr>
              <a:t>ашылуы</a:t>
            </a:r>
            <a:endParaRPr lang="ru-RU" altLang="ru-RU" sz="9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10" name="Line 45"/>
          <p:cNvSpPr>
            <a:spLocks noChangeShapeType="1"/>
          </p:cNvSpPr>
          <p:nvPr/>
        </p:nvSpPr>
        <p:spPr bwMode="auto">
          <a:xfrm>
            <a:off x="6593226" y="6459739"/>
            <a:ext cx="354998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" name="Line 45"/>
          <p:cNvSpPr>
            <a:spLocks noChangeShapeType="1"/>
          </p:cNvSpPr>
          <p:nvPr/>
        </p:nvSpPr>
        <p:spPr bwMode="auto">
          <a:xfrm>
            <a:off x="6588224" y="6317173"/>
            <a:ext cx="360000" cy="0"/>
          </a:xfrm>
          <a:prstGeom prst="line">
            <a:avLst/>
          </a:prstGeom>
          <a:noFill/>
          <a:ln w="63500">
            <a:solidFill>
              <a:srgbClr val="0045DE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" name="Line 45"/>
          <p:cNvSpPr>
            <a:spLocks noChangeShapeType="1"/>
          </p:cNvSpPr>
          <p:nvPr/>
        </p:nvSpPr>
        <p:spPr bwMode="auto">
          <a:xfrm>
            <a:off x="6588224" y="6167799"/>
            <a:ext cx="360000" cy="0"/>
          </a:xfrm>
          <a:prstGeom prst="line">
            <a:avLst/>
          </a:prstGeom>
          <a:noFill/>
          <a:ln w="63500">
            <a:solidFill>
              <a:srgbClr val="00B05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6514887" y="596782"/>
            <a:ext cx="2758138" cy="1172459"/>
          </a:xfrm>
          <a:prstGeom prst="rect">
            <a:avLst/>
          </a:prstGeom>
          <a:noFill/>
          <a:ln w="6350">
            <a:noFill/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algn="ctr" eaLnBrk="0" hangingPunct="0">
              <a:defRPr/>
            </a:pPr>
            <a:r>
              <a:rPr lang="ru-RU" altLang="ru-RU" sz="1400" b="1" dirty="0" smtClean="0">
                <a:solidFill>
                  <a:srgbClr val="00B050"/>
                </a:solidFill>
                <a:cs typeface="Arial" pitchFamily="34" charset="0"/>
              </a:rPr>
              <a:t>2018</a:t>
            </a:r>
            <a:r>
              <a:rPr lang="ru-RU" altLang="ru-RU" sz="1400" b="1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altLang="ru-RU" sz="1400" b="1" dirty="0" err="1" smtClean="0">
                <a:solidFill>
                  <a:schemeClr val="tx1"/>
                </a:solidFill>
                <a:cs typeface="Arial" pitchFamily="34" charset="0"/>
              </a:rPr>
              <a:t>жылға</a:t>
            </a:r>
            <a:r>
              <a:rPr lang="ru-RU" altLang="ru-RU" sz="1400" b="1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altLang="ru-RU" sz="1400" b="1" dirty="0" err="1" smtClean="0">
                <a:solidFill>
                  <a:schemeClr val="tx1"/>
                </a:solidFill>
                <a:cs typeface="Arial" pitchFamily="34" charset="0"/>
              </a:rPr>
              <a:t>жоспар</a:t>
            </a:r>
            <a:r>
              <a:rPr lang="ru-RU" altLang="ru-RU" sz="1400" b="1" dirty="0" smtClean="0">
                <a:solidFill>
                  <a:schemeClr val="tx1"/>
                </a:solidFill>
                <a:cs typeface="Arial" pitchFamily="34" charset="0"/>
              </a:rPr>
              <a:t>:</a:t>
            </a:r>
            <a:endParaRPr lang="ru-RU" altLang="ru-RU" sz="1400" b="1" dirty="0">
              <a:solidFill>
                <a:schemeClr val="tx1"/>
              </a:solidFill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ru-RU" altLang="ru-RU" sz="1400" b="1" dirty="0" err="1" smtClean="0">
                <a:solidFill>
                  <a:schemeClr val="tx1"/>
                </a:solidFill>
                <a:cs typeface="Arial" pitchFamily="34" charset="0"/>
              </a:rPr>
              <a:t>Жұмыспен</a:t>
            </a:r>
            <a:r>
              <a:rPr lang="ru-RU" altLang="ru-RU" sz="1400" b="1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altLang="ru-RU" sz="1400" b="1" dirty="0" err="1" smtClean="0">
                <a:solidFill>
                  <a:schemeClr val="tx1"/>
                </a:solidFill>
                <a:cs typeface="Arial" pitchFamily="34" charset="0"/>
              </a:rPr>
              <a:t>қамту</a:t>
            </a:r>
            <a:r>
              <a:rPr lang="ru-RU" altLang="ru-RU" sz="1400" b="1" dirty="0" smtClean="0">
                <a:solidFill>
                  <a:schemeClr val="tx1"/>
                </a:solidFill>
                <a:cs typeface="Arial" pitchFamily="34" charset="0"/>
              </a:rPr>
              <a:t> –</a:t>
            </a:r>
            <a:r>
              <a:rPr lang="ru-RU" altLang="ru-RU" sz="14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400" b="1" dirty="0" smtClean="0">
                <a:solidFill>
                  <a:srgbClr val="00B050"/>
                </a:solidFill>
                <a:cs typeface="Arial" pitchFamily="34" charset="0"/>
              </a:rPr>
              <a:t>4,6 </a:t>
            </a:r>
            <a:r>
              <a:rPr lang="ru-RU" altLang="ru-RU" sz="1400" b="1" dirty="0" err="1" smtClean="0">
                <a:solidFill>
                  <a:schemeClr val="tx1"/>
                </a:solidFill>
                <a:cs typeface="Arial" pitchFamily="34" charset="0"/>
              </a:rPr>
              <a:t>мың</a:t>
            </a:r>
            <a:r>
              <a:rPr lang="ru-RU" altLang="ru-RU" sz="1400" b="1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altLang="ru-RU" sz="1400" b="1" dirty="0" smtClean="0">
                <a:solidFill>
                  <a:schemeClr val="tx1"/>
                </a:solidFill>
                <a:cs typeface="Arial" pitchFamily="34" charset="0"/>
              </a:rPr>
              <a:t>км</a:t>
            </a:r>
          </a:p>
          <a:p>
            <a:pPr algn="ctr" eaLnBrk="0" hangingPunct="0">
              <a:defRPr/>
            </a:pPr>
            <a:r>
              <a:rPr lang="ru-RU" altLang="ru-RU" sz="1400" b="1" dirty="0" err="1" smtClean="0">
                <a:solidFill>
                  <a:schemeClr val="tx1"/>
                </a:solidFill>
                <a:cs typeface="Arial" pitchFamily="34" charset="0"/>
              </a:rPr>
              <a:t>Аяқталу</a:t>
            </a:r>
            <a:r>
              <a:rPr lang="ru-RU" altLang="ru-RU" sz="1400" b="1" dirty="0" smtClean="0">
                <a:solidFill>
                  <a:schemeClr val="tx1"/>
                </a:solidFill>
                <a:cs typeface="Arial" pitchFamily="34" charset="0"/>
              </a:rPr>
              <a:t> – </a:t>
            </a:r>
            <a:r>
              <a:rPr lang="ru-RU" altLang="ru-RU" sz="1400" b="1" dirty="0">
                <a:solidFill>
                  <a:srgbClr val="00B050"/>
                </a:solidFill>
                <a:cs typeface="Arial" pitchFamily="34" charset="0"/>
              </a:rPr>
              <a:t>528</a:t>
            </a:r>
            <a:r>
              <a:rPr lang="ru-RU" altLang="ru-RU" sz="1400" b="1" dirty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400" b="1" dirty="0">
                <a:solidFill>
                  <a:schemeClr val="tx1"/>
                </a:solidFill>
                <a:cs typeface="Arial" pitchFamily="34" charset="0"/>
              </a:rPr>
              <a:t>км, </a:t>
            </a:r>
            <a:r>
              <a:rPr lang="ru-RU" altLang="ru-RU" sz="1400" b="1" dirty="0" err="1" smtClean="0">
                <a:solidFill>
                  <a:schemeClr val="tx1"/>
                </a:solidFill>
                <a:cs typeface="Arial" pitchFamily="34" charset="0"/>
              </a:rPr>
              <a:t>оның</a:t>
            </a:r>
            <a:r>
              <a:rPr lang="ru-RU" altLang="ru-RU" sz="1400" b="1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altLang="ru-RU" sz="1400" b="1" dirty="0" err="1" smtClean="0">
                <a:solidFill>
                  <a:schemeClr val="tx1"/>
                </a:solidFill>
                <a:cs typeface="Arial" pitchFamily="34" charset="0"/>
              </a:rPr>
              <a:t>ішінде</a:t>
            </a:r>
            <a:r>
              <a:rPr lang="ru-RU" altLang="ru-RU" sz="1400" b="1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endParaRPr lang="ru-RU" altLang="ru-RU" sz="1400" b="1" dirty="0">
              <a:solidFill>
                <a:schemeClr val="tx1"/>
              </a:solidFill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ru-RU" altLang="ru-RU" sz="1000" b="1" i="1" dirty="0" smtClean="0">
                <a:solidFill>
                  <a:srgbClr val="0070C0"/>
                </a:solidFill>
                <a:cs typeface="Arial" pitchFamily="34" charset="0"/>
              </a:rPr>
              <a:t>Астана-Павлодар-Семей, Бейнеу-</a:t>
            </a:r>
            <a:r>
              <a:rPr lang="ru-RU" altLang="ru-RU" sz="1000" b="1" i="1" dirty="0" err="1" smtClean="0">
                <a:solidFill>
                  <a:srgbClr val="0070C0"/>
                </a:solidFill>
                <a:cs typeface="Arial" pitchFamily="34" charset="0"/>
              </a:rPr>
              <a:t>Ақжігіт</a:t>
            </a:r>
            <a:r>
              <a:rPr lang="ru-RU" altLang="ru-RU" sz="1000" b="1" i="1" dirty="0" smtClean="0">
                <a:solidFill>
                  <a:srgbClr val="0070C0"/>
                </a:solidFill>
                <a:cs typeface="Arial" pitchFamily="34" charset="0"/>
              </a:rPr>
              <a:t>,</a:t>
            </a:r>
            <a:endParaRPr lang="ru-RU" altLang="ru-RU" sz="1000" b="1" i="1" dirty="0">
              <a:solidFill>
                <a:srgbClr val="0070C0"/>
              </a:solidFill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ru-RU" altLang="ru-RU" sz="1000" b="1" i="1" dirty="0" err="1" smtClean="0">
                <a:solidFill>
                  <a:srgbClr val="0070C0"/>
                </a:solidFill>
                <a:cs typeface="Arial" pitchFamily="34" charset="0"/>
              </a:rPr>
              <a:t>Қордай</a:t>
            </a:r>
            <a:r>
              <a:rPr lang="ru-RU" altLang="ru-RU" sz="1000" b="1" i="1" dirty="0" smtClean="0">
                <a:solidFill>
                  <a:srgbClr val="0070C0"/>
                </a:solidFill>
                <a:cs typeface="Arial" pitchFamily="34" charset="0"/>
              </a:rPr>
              <a:t> </a:t>
            </a:r>
            <a:r>
              <a:rPr lang="ru-RU" altLang="ru-RU" sz="1000" b="1" i="1" dirty="0" err="1" smtClean="0">
                <a:solidFill>
                  <a:srgbClr val="0070C0"/>
                </a:solidFill>
                <a:cs typeface="Arial" pitchFamily="34" charset="0"/>
              </a:rPr>
              <a:t>айналма</a:t>
            </a:r>
            <a:r>
              <a:rPr lang="ru-RU" altLang="ru-RU" sz="1000" b="1" i="1" dirty="0" smtClean="0">
                <a:solidFill>
                  <a:srgbClr val="0070C0"/>
                </a:solidFill>
                <a:cs typeface="Arial" pitchFamily="34" charset="0"/>
              </a:rPr>
              <a:t> </a:t>
            </a:r>
            <a:r>
              <a:rPr lang="ru-RU" altLang="ru-RU" sz="1000" b="1" i="1" dirty="0" err="1" smtClean="0">
                <a:solidFill>
                  <a:srgbClr val="0070C0"/>
                </a:solidFill>
                <a:cs typeface="Arial" pitchFamily="34" charset="0"/>
              </a:rPr>
              <a:t>жолы</a:t>
            </a:r>
            <a:r>
              <a:rPr lang="ru-RU" altLang="ru-RU" sz="1000" b="1" i="1" dirty="0" smtClean="0">
                <a:solidFill>
                  <a:srgbClr val="0070C0"/>
                </a:solidFill>
                <a:cs typeface="Arial" pitchFamily="34" charset="0"/>
              </a:rPr>
              <a:t>, </a:t>
            </a:r>
          </a:p>
          <a:p>
            <a:pPr algn="ctr" eaLnBrk="0" hangingPunct="0">
              <a:defRPr/>
            </a:pPr>
            <a:r>
              <a:rPr lang="ru-RU" altLang="ru-RU" sz="1000" b="1" i="1" dirty="0" smtClean="0">
                <a:solidFill>
                  <a:srgbClr val="0070C0"/>
                </a:solidFill>
                <a:cs typeface="Arial" pitchFamily="34" charset="0"/>
              </a:rPr>
              <a:t>Таскескен-</a:t>
            </a:r>
            <a:r>
              <a:rPr lang="ru-RU" altLang="ru-RU" sz="1000" b="1" i="1" dirty="0" err="1" smtClean="0">
                <a:solidFill>
                  <a:srgbClr val="0070C0"/>
                </a:solidFill>
                <a:cs typeface="Arial" pitchFamily="34" charset="0"/>
              </a:rPr>
              <a:t>Бақты</a:t>
            </a:r>
            <a:r>
              <a:rPr lang="ru-RU" altLang="ru-RU" sz="1000" b="1" i="1" dirty="0" smtClean="0">
                <a:solidFill>
                  <a:srgbClr val="0070C0"/>
                </a:solidFill>
                <a:cs typeface="Arial" pitchFamily="34" charset="0"/>
              </a:rPr>
              <a:t>, Орал-</a:t>
            </a:r>
            <a:r>
              <a:rPr lang="ru-RU" altLang="ru-RU" sz="1000" b="1" i="1" dirty="0" err="1" smtClean="0">
                <a:solidFill>
                  <a:srgbClr val="0070C0"/>
                </a:solidFill>
                <a:cs typeface="Arial" pitchFamily="34" charset="0"/>
              </a:rPr>
              <a:t>Тасқала</a:t>
            </a:r>
            <a:endParaRPr lang="ru-RU" altLang="ru-RU" sz="1000" b="1" i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481422" y="473593"/>
            <a:ext cx="2808312" cy="1295648"/>
          </a:xfrm>
          <a:prstGeom prst="rect">
            <a:avLst/>
          </a:prstGeom>
          <a:noFill/>
          <a:ln w="6350">
            <a:noFill/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algn="ctr" eaLnBrk="0" hangingPunct="0">
              <a:defRPr/>
            </a:pPr>
            <a:r>
              <a:rPr lang="ru-RU" altLang="ru-RU" sz="2000" b="1" dirty="0" smtClean="0">
                <a:solidFill>
                  <a:srgbClr val="00B050"/>
                </a:solidFill>
                <a:ea typeface="Verdana" pitchFamily="34" charset="0"/>
                <a:cs typeface="Verdana" pitchFamily="34" charset="0"/>
              </a:rPr>
              <a:t>2015-2017 </a:t>
            </a:r>
            <a:r>
              <a:rPr lang="ru-RU" altLang="ru-RU" sz="2000" b="1" dirty="0" err="1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жылдар</a:t>
            </a:r>
            <a:r>
              <a:rPr lang="ru-RU" altLang="ru-RU" sz="20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ru-RU" altLang="ru-RU" sz="2000" b="1" dirty="0" err="1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аралы</a:t>
            </a:r>
            <a:r>
              <a:rPr lang="kk-KZ" altLang="ru-RU" sz="20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ғында</a:t>
            </a:r>
          </a:p>
          <a:p>
            <a:pPr algn="ctr" eaLnBrk="0" hangingPunct="0">
              <a:defRPr/>
            </a:pPr>
            <a:r>
              <a:rPr lang="kk-KZ" altLang="ru-RU" sz="2000" b="1" dirty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қ</a:t>
            </a:r>
            <a:r>
              <a:rPr lang="kk-KZ" altLang="ru-RU" sz="20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амту</a:t>
            </a:r>
            <a:r>
              <a:rPr lang="kk-KZ" altLang="ru-RU" sz="2000" b="1" dirty="0" smtClean="0">
                <a:solidFill>
                  <a:srgbClr val="00B050"/>
                </a:solidFill>
                <a:ea typeface="Verdana" pitchFamily="34" charset="0"/>
                <a:cs typeface="Verdana" pitchFamily="34" charset="0"/>
              </a:rPr>
              <a:t> – 5,6 </a:t>
            </a:r>
            <a:r>
              <a:rPr lang="kk-KZ" altLang="ru-RU" sz="20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мың км</a:t>
            </a:r>
            <a:endParaRPr lang="ru-RU" altLang="ru-RU" sz="2000" b="1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79512" y="5503676"/>
            <a:ext cx="464864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84250">
              <a:buClr>
                <a:srgbClr val="0070C0"/>
              </a:buClr>
            </a:pPr>
            <a:r>
              <a:rPr lang="ru-RU" sz="1600" b="1" dirty="0" err="1" smtClean="0">
                <a:solidFill>
                  <a:srgbClr val="000000"/>
                </a:solidFill>
                <a:cs typeface="Arial" pitchFamily="34" charset="0"/>
              </a:rPr>
              <a:t>Жалпы</a:t>
            </a:r>
            <a:r>
              <a:rPr lang="ru-RU" sz="1600" b="1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600" b="1" dirty="0" err="1" smtClean="0">
                <a:solidFill>
                  <a:srgbClr val="000000"/>
                </a:solidFill>
                <a:cs typeface="Arial" pitchFamily="34" charset="0"/>
              </a:rPr>
              <a:t>қолданысқа</a:t>
            </a:r>
            <a:r>
              <a:rPr lang="ru-RU" sz="1600" b="1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600" b="1" dirty="0" err="1" smtClean="0">
                <a:solidFill>
                  <a:srgbClr val="000000"/>
                </a:solidFill>
                <a:cs typeface="Arial" pitchFamily="34" charset="0"/>
              </a:rPr>
              <a:t>берілген</a:t>
            </a:r>
            <a:endParaRPr lang="ru-RU" sz="1600" b="1" dirty="0">
              <a:solidFill>
                <a:srgbClr val="0070C0"/>
              </a:solidFill>
              <a:cs typeface="Arial" pitchFamily="34" charset="0"/>
            </a:endParaRPr>
          </a:p>
          <a:p>
            <a:pPr algn="ctr" defTabSz="984250">
              <a:buClr>
                <a:srgbClr val="0070C0"/>
              </a:buClr>
            </a:pPr>
            <a:r>
              <a:rPr lang="ru-RU" sz="1600" b="1" dirty="0">
                <a:solidFill>
                  <a:srgbClr val="0070C0"/>
                </a:solidFill>
                <a:cs typeface="Arial" pitchFamily="34" charset="0"/>
              </a:rPr>
              <a:t>1,8  </a:t>
            </a:r>
            <a:r>
              <a:rPr lang="ru-RU" sz="1600" b="1" dirty="0" err="1" smtClean="0">
                <a:solidFill>
                  <a:srgbClr val="0070C0"/>
                </a:solidFill>
                <a:cs typeface="Arial" pitchFamily="34" charset="0"/>
              </a:rPr>
              <a:t>мың</a:t>
            </a:r>
            <a:r>
              <a:rPr lang="ru-RU" sz="1600" b="1" dirty="0" smtClean="0">
                <a:solidFill>
                  <a:srgbClr val="0070C0"/>
                </a:solidFill>
                <a:cs typeface="Arial" pitchFamily="34" charset="0"/>
              </a:rPr>
              <a:t> км</a:t>
            </a:r>
          </a:p>
          <a:p>
            <a:pPr algn="ctr" defTabSz="984250">
              <a:buClr>
                <a:srgbClr val="0070C0"/>
              </a:buClr>
            </a:pPr>
            <a:endParaRPr lang="ru-RU" sz="1600" b="1" dirty="0">
              <a:solidFill>
                <a:srgbClr val="0070C0"/>
              </a:solidFill>
              <a:latin typeface="Impact" pitchFamily="34" charset="0"/>
              <a:cs typeface="Arial" charset="0"/>
            </a:endParaRPr>
          </a:p>
          <a:p>
            <a:pPr algn="ctr" defTabSz="984250">
              <a:buClr>
                <a:srgbClr val="0070C0"/>
              </a:buClr>
            </a:pPr>
            <a:endParaRPr lang="ru-RU" sz="600" b="1" dirty="0">
              <a:solidFill>
                <a:srgbClr val="0070C0"/>
              </a:solidFill>
              <a:latin typeface="Impact" pitchFamily="34" charset="0"/>
              <a:cs typeface="Arial" charset="0"/>
            </a:endParaRPr>
          </a:p>
          <a:p>
            <a:pPr algn="ctr" defTabSz="984250">
              <a:buClr>
                <a:srgbClr val="0070C0"/>
              </a:buClr>
            </a:pPr>
            <a:r>
              <a:rPr lang="ru-RU" sz="1200" b="1" i="1" dirty="0" smtClean="0">
                <a:solidFill>
                  <a:srgbClr val="00B050"/>
                </a:solidFill>
                <a:cs typeface="Arial" charset="0"/>
              </a:rPr>
              <a:t>     2015 </a:t>
            </a:r>
            <a:r>
              <a:rPr lang="ru-RU" sz="1200" b="1" i="1" dirty="0" err="1" smtClean="0">
                <a:solidFill>
                  <a:srgbClr val="00B050"/>
                </a:solidFill>
                <a:cs typeface="Arial" charset="0"/>
              </a:rPr>
              <a:t>жыл</a:t>
            </a:r>
            <a:r>
              <a:rPr lang="ru-RU" sz="1200" b="1" i="1" dirty="0" smtClean="0">
                <a:solidFill>
                  <a:srgbClr val="00B050"/>
                </a:solidFill>
                <a:cs typeface="Arial" charset="0"/>
              </a:rPr>
              <a:t> – </a:t>
            </a:r>
            <a:r>
              <a:rPr lang="en-US" sz="1200" b="1" i="1" dirty="0">
                <a:solidFill>
                  <a:srgbClr val="00B050"/>
                </a:solidFill>
                <a:cs typeface="Arial" charset="0"/>
              </a:rPr>
              <a:t>4</a:t>
            </a:r>
            <a:r>
              <a:rPr lang="ru-RU" sz="1200" b="1" i="1" dirty="0">
                <a:solidFill>
                  <a:srgbClr val="00B050"/>
                </a:solidFill>
                <a:cs typeface="Arial" charset="0"/>
              </a:rPr>
              <a:t>65 </a:t>
            </a:r>
            <a:r>
              <a:rPr lang="ru-RU" sz="1200" b="1" i="1" dirty="0" smtClean="0">
                <a:solidFill>
                  <a:srgbClr val="00B050"/>
                </a:solidFill>
                <a:cs typeface="Arial" charset="0"/>
              </a:rPr>
              <a:t>км,   2016 </a:t>
            </a:r>
            <a:r>
              <a:rPr lang="ru-RU" sz="1200" b="1" i="1" dirty="0" err="1" smtClean="0">
                <a:solidFill>
                  <a:srgbClr val="00B050"/>
                </a:solidFill>
                <a:cs typeface="Arial" charset="0"/>
              </a:rPr>
              <a:t>жыл</a:t>
            </a:r>
            <a:r>
              <a:rPr lang="ru-RU" sz="1200" b="1" i="1" dirty="0" smtClean="0">
                <a:solidFill>
                  <a:srgbClr val="00B050"/>
                </a:solidFill>
                <a:cs typeface="Arial" charset="0"/>
              </a:rPr>
              <a:t> – </a:t>
            </a:r>
            <a:r>
              <a:rPr lang="ru-RU" sz="1200" b="1" i="1" dirty="0">
                <a:solidFill>
                  <a:srgbClr val="00B050"/>
                </a:solidFill>
                <a:cs typeface="Arial" charset="0"/>
              </a:rPr>
              <a:t>767 км </a:t>
            </a:r>
            <a:r>
              <a:rPr lang="ru-RU" sz="1200" b="1" i="1" dirty="0" smtClean="0">
                <a:solidFill>
                  <a:srgbClr val="00B050"/>
                </a:solidFill>
                <a:cs typeface="Arial" charset="0"/>
              </a:rPr>
              <a:t>,   2017 </a:t>
            </a:r>
            <a:r>
              <a:rPr lang="ru-RU" sz="1200" b="1" i="1" dirty="0" err="1" smtClean="0">
                <a:solidFill>
                  <a:srgbClr val="00B050"/>
                </a:solidFill>
                <a:cs typeface="Arial" charset="0"/>
              </a:rPr>
              <a:t>жыл</a:t>
            </a:r>
            <a:r>
              <a:rPr lang="ru-RU" sz="1200" b="1" i="1" dirty="0" smtClean="0">
                <a:solidFill>
                  <a:srgbClr val="00B050"/>
                </a:solidFill>
                <a:cs typeface="Arial" charset="0"/>
              </a:rPr>
              <a:t> – </a:t>
            </a:r>
            <a:r>
              <a:rPr lang="en-US" sz="1200" b="1" i="1" dirty="0">
                <a:solidFill>
                  <a:srgbClr val="00B050"/>
                </a:solidFill>
                <a:cs typeface="Arial" charset="0"/>
              </a:rPr>
              <a:t>60</a:t>
            </a:r>
            <a:r>
              <a:rPr lang="ru-RU" sz="1200" b="1" i="1" dirty="0">
                <a:solidFill>
                  <a:srgbClr val="00B050"/>
                </a:solidFill>
                <a:cs typeface="Arial" charset="0"/>
              </a:rPr>
              <a:t>3 км</a:t>
            </a:r>
          </a:p>
        </p:txBody>
      </p:sp>
      <p:sp>
        <p:nvSpPr>
          <p:cNvPr id="15" name="Пятиугольник 14"/>
          <p:cNvSpPr/>
          <p:nvPr/>
        </p:nvSpPr>
        <p:spPr bwMode="auto">
          <a:xfrm>
            <a:off x="395537" y="6080855"/>
            <a:ext cx="4432617" cy="254691"/>
          </a:xfrm>
          <a:prstGeom prst="homePlate">
            <a:avLst>
              <a:gd name="adj" fmla="val 31617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just" eaLnBrk="0" hangingPunct="0"/>
            <a:endParaRPr lang="ru-RU" sz="2133" dirty="0">
              <a:solidFill>
                <a:schemeClr val="tx1"/>
              </a:solidFill>
              <a:latin typeface="Calibri" pitchFamily="34" charset="0"/>
            </a:endParaRPr>
          </a:p>
        </p:txBody>
      </p:sp>
      <p:cxnSp>
        <p:nvCxnSpPr>
          <p:cNvPr id="4" name="Прямая соединительная линия 3"/>
          <p:cNvCxnSpPr>
            <a:endCxn id="15" idx="3"/>
          </p:cNvCxnSpPr>
          <p:nvPr/>
        </p:nvCxnSpPr>
        <p:spPr>
          <a:xfrm>
            <a:off x="395536" y="6208200"/>
            <a:ext cx="4432618" cy="1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68" descr="E:\! WORK\For prezentations\Build\road_work_ahead_256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020" y="5735583"/>
            <a:ext cx="843676" cy="690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1641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E:\! WORK\For prezentations\kz_icons\e-gov map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145781" y="999007"/>
            <a:ext cx="5687083" cy="3261718"/>
          </a:xfrm>
          <a:prstGeom prst="rect">
            <a:avLst/>
          </a:prstGeom>
          <a:noFill/>
          <a:extLst/>
        </p:spPr>
      </p:pic>
      <p:sp>
        <p:nvSpPr>
          <p:cNvPr id="5" name="Блок-схема: узел 4"/>
          <p:cNvSpPr/>
          <p:nvPr/>
        </p:nvSpPr>
        <p:spPr bwMode="auto">
          <a:xfrm>
            <a:off x="3621805" y="1916832"/>
            <a:ext cx="80926" cy="85678"/>
          </a:xfrm>
          <a:prstGeom prst="flowChartConnector">
            <a:avLst/>
          </a:prstGeom>
          <a:solidFill>
            <a:srgbClr val="00B050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396" tIns="45700" rIns="91396" bIns="45700" anchor="ctr"/>
          <a:lstStyle/>
          <a:p>
            <a:pPr algn="ctr" defTabSz="914400">
              <a:defRPr/>
            </a:pPr>
            <a:endParaRPr lang="ru-RU" sz="2000" dirty="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6" name="Скругленный прямоугольник 71"/>
          <p:cNvSpPr>
            <a:spLocks noChangeArrowheads="1"/>
          </p:cNvSpPr>
          <p:nvPr/>
        </p:nvSpPr>
        <p:spPr bwMode="auto">
          <a:xfrm>
            <a:off x="3200382" y="1735098"/>
            <a:ext cx="507662" cy="137697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defTabSz="914400">
              <a:defRPr/>
            </a:pPr>
            <a:r>
              <a:rPr lang="ru-RU" sz="900" b="1" dirty="0">
                <a:solidFill>
                  <a:srgbClr val="C00000"/>
                </a:solidFill>
                <a:cs typeface="Arial" pitchFamily="34" charset="0"/>
              </a:rPr>
              <a:t>АСТАНА</a:t>
            </a:r>
          </a:p>
        </p:txBody>
      </p:sp>
      <p:sp>
        <p:nvSpPr>
          <p:cNvPr id="7" name="Скругленный прямоугольник 71"/>
          <p:cNvSpPr>
            <a:spLocks noChangeArrowheads="1"/>
          </p:cNvSpPr>
          <p:nvPr/>
        </p:nvSpPr>
        <p:spPr bwMode="auto">
          <a:xfrm>
            <a:off x="4213716" y="3781243"/>
            <a:ext cx="587523" cy="137697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defTabSz="914400">
              <a:defRPr/>
            </a:pPr>
            <a:r>
              <a:rPr lang="ru-RU" sz="900" b="1" dirty="0">
                <a:solidFill>
                  <a:srgbClr val="C00000"/>
                </a:solidFill>
                <a:cs typeface="Arial" pitchFamily="34" charset="0"/>
              </a:rPr>
              <a:t>АЛМАТЫ</a:t>
            </a:r>
          </a:p>
        </p:txBody>
      </p:sp>
      <p:sp>
        <p:nvSpPr>
          <p:cNvPr id="10" name="Скругленный прямоугольник 71"/>
          <p:cNvSpPr>
            <a:spLocks noChangeArrowheads="1"/>
          </p:cNvSpPr>
          <p:nvPr/>
        </p:nvSpPr>
        <p:spPr bwMode="auto">
          <a:xfrm>
            <a:off x="4864025" y="3459463"/>
            <a:ext cx="440238" cy="137697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defTabSz="914400">
              <a:defRPr/>
            </a:pPr>
            <a:r>
              <a:rPr lang="ru-RU" sz="900" b="1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Arial" pitchFamily="34" charset="0"/>
              </a:rPr>
              <a:t>ҚОРҒАС</a:t>
            </a:r>
            <a:endParaRPr lang="ru-RU" sz="900" b="1" dirty="0">
              <a:solidFill>
                <a:prstClr val="black">
                  <a:lumMod val="75000"/>
                  <a:lumOff val="25000"/>
                </a:prstClr>
              </a:solidFill>
              <a:cs typeface="Arial" pitchFamily="34" charset="0"/>
            </a:endParaRPr>
          </a:p>
        </p:txBody>
      </p:sp>
      <p:sp>
        <p:nvSpPr>
          <p:cNvPr id="11" name="Скругленный прямоугольник 71"/>
          <p:cNvSpPr>
            <a:spLocks noChangeArrowheads="1"/>
          </p:cNvSpPr>
          <p:nvPr/>
        </p:nvSpPr>
        <p:spPr bwMode="auto">
          <a:xfrm>
            <a:off x="1692554" y="1975887"/>
            <a:ext cx="587523" cy="114930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defTabSz="914400">
              <a:defRPr/>
            </a:pPr>
            <a:r>
              <a:rPr lang="ru-RU" sz="900" b="1" dirty="0" smtClean="0">
                <a:solidFill>
                  <a:srgbClr val="4F81BD"/>
                </a:solidFill>
                <a:cs typeface="Arial" pitchFamily="34" charset="0"/>
              </a:rPr>
              <a:t>АҚТОБЕ</a:t>
            </a:r>
            <a:endParaRPr lang="ru-RU" sz="800" b="1" dirty="0">
              <a:solidFill>
                <a:srgbClr val="4F81BD"/>
              </a:solidFill>
              <a:cs typeface="Arial" pitchFamily="34" charset="0"/>
            </a:endParaRPr>
          </a:p>
        </p:txBody>
      </p:sp>
      <p:sp>
        <p:nvSpPr>
          <p:cNvPr id="12" name="Скругленный прямоугольник 11"/>
          <p:cNvSpPr>
            <a:spLocks noChangeArrowheads="1"/>
          </p:cNvSpPr>
          <p:nvPr/>
        </p:nvSpPr>
        <p:spPr bwMode="auto">
          <a:xfrm>
            <a:off x="3345793" y="3554254"/>
            <a:ext cx="434119" cy="131814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defTabSz="914400"/>
            <a:r>
              <a:rPr lang="ru-RU" sz="900" b="1" dirty="0" smtClean="0">
                <a:solidFill>
                  <a:srgbClr val="4F81BD"/>
                </a:solidFill>
                <a:cs typeface="Arial" pitchFamily="34" charset="0"/>
              </a:rPr>
              <a:t>ТАРАЗ</a:t>
            </a:r>
            <a:endParaRPr lang="ru-RU" sz="900" b="1" dirty="0">
              <a:solidFill>
                <a:srgbClr val="4F81BD"/>
              </a:solidFill>
              <a:cs typeface="Arial" pitchFamily="34" charset="0"/>
            </a:endParaRPr>
          </a:p>
        </p:txBody>
      </p:sp>
      <p:sp>
        <p:nvSpPr>
          <p:cNvPr id="13" name="Полилиния 12"/>
          <p:cNvSpPr/>
          <p:nvPr/>
        </p:nvSpPr>
        <p:spPr>
          <a:xfrm>
            <a:off x="4355680" y="3511126"/>
            <a:ext cx="445559" cy="161489"/>
          </a:xfrm>
          <a:custGeom>
            <a:avLst/>
            <a:gdLst>
              <a:gd name="connsiteX0" fmla="*/ 223024 w 223024"/>
              <a:gd name="connsiteY0" fmla="*/ 0 h 100361"/>
              <a:gd name="connsiteX1" fmla="*/ 111512 w 223024"/>
              <a:gd name="connsiteY1" fmla="*/ 66907 h 100361"/>
              <a:gd name="connsiteX2" fmla="*/ 0 w 223024"/>
              <a:gd name="connsiteY2" fmla="*/ 100361 h 100361"/>
              <a:gd name="connsiteX3" fmla="*/ 0 w 223024"/>
              <a:gd name="connsiteY3" fmla="*/ 100361 h 100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024" h="100361">
                <a:moveTo>
                  <a:pt x="223024" y="0"/>
                </a:moveTo>
                <a:cubicBezTo>
                  <a:pt x="185853" y="25090"/>
                  <a:pt x="148683" y="50180"/>
                  <a:pt x="111512" y="66907"/>
                </a:cubicBezTo>
                <a:cubicBezTo>
                  <a:pt x="74341" y="83634"/>
                  <a:pt x="0" y="100361"/>
                  <a:pt x="0" y="100361"/>
                </a:cubicBezTo>
                <a:lnTo>
                  <a:pt x="0" y="100361"/>
                </a:lnTo>
              </a:path>
            </a:pathLst>
          </a:custGeom>
          <a:ln w="114300">
            <a:solidFill>
              <a:srgbClr val="1F95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14" name="Полилиния 13"/>
          <p:cNvSpPr/>
          <p:nvPr/>
        </p:nvSpPr>
        <p:spPr>
          <a:xfrm>
            <a:off x="4351988" y="3497360"/>
            <a:ext cx="452337" cy="173723"/>
          </a:xfrm>
          <a:custGeom>
            <a:avLst/>
            <a:gdLst>
              <a:gd name="connsiteX0" fmla="*/ 223024 w 223024"/>
              <a:gd name="connsiteY0" fmla="*/ 0 h 100361"/>
              <a:gd name="connsiteX1" fmla="*/ 111512 w 223024"/>
              <a:gd name="connsiteY1" fmla="*/ 66907 h 100361"/>
              <a:gd name="connsiteX2" fmla="*/ 0 w 223024"/>
              <a:gd name="connsiteY2" fmla="*/ 100361 h 100361"/>
              <a:gd name="connsiteX3" fmla="*/ 0 w 223024"/>
              <a:gd name="connsiteY3" fmla="*/ 100361 h 100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024" h="100361">
                <a:moveTo>
                  <a:pt x="223024" y="0"/>
                </a:moveTo>
                <a:cubicBezTo>
                  <a:pt x="185853" y="25090"/>
                  <a:pt x="148683" y="50180"/>
                  <a:pt x="111512" y="66907"/>
                </a:cubicBezTo>
                <a:cubicBezTo>
                  <a:pt x="74341" y="83634"/>
                  <a:pt x="0" y="100361"/>
                  <a:pt x="0" y="100361"/>
                </a:cubicBezTo>
                <a:lnTo>
                  <a:pt x="0" y="100361"/>
                </a:lnTo>
              </a:path>
            </a:pathLst>
          </a:custGeom>
          <a:ln w="444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15" name="Полилиния 14"/>
          <p:cNvSpPr/>
          <p:nvPr/>
        </p:nvSpPr>
        <p:spPr>
          <a:xfrm>
            <a:off x="3204253" y="3757862"/>
            <a:ext cx="764143" cy="200856"/>
          </a:xfrm>
          <a:custGeom>
            <a:avLst/>
            <a:gdLst>
              <a:gd name="connsiteX0" fmla="*/ 1024054 w 1024054"/>
              <a:gd name="connsiteY0" fmla="*/ 0 h 262053"/>
              <a:gd name="connsiteX1" fmla="*/ 778727 w 1024054"/>
              <a:gd name="connsiteY1" fmla="*/ 44605 h 262053"/>
              <a:gd name="connsiteX2" fmla="*/ 633761 w 1024054"/>
              <a:gd name="connsiteY2" fmla="*/ 33454 h 262053"/>
              <a:gd name="connsiteX3" fmla="*/ 499947 w 1024054"/>
              <a:gd name="connsiteY3" fmla="*/ 66908 h 262053"/>
              <a:gd name="connsiteX4" fmla="*/ 354981 w 1024054"/>
              <a:gd name="connsiteY4" fmla="*/ 100361 h 262053"/>
              <a:gd name="connsiteX5" fmla="*/ 265771 w 1024054"/>
              <a:gd name="connsiteY5" fmla="*/ 144966 h 262053"/>
              <a:gd name="connsiteX6" fmla="*/ 187713 w 1024054"/>
              <a:gd name="connsiteY6" fmla="*/ 167269 h 262053"/>
              <a:gd name="connsiteX7" fmla="*/ 143108 w 1024054"/>
              <a:gd name="connsiteY7" fmla="*/ 211874 h 262053"/>
              <a:gd name="connsiteX8" fmla="*/ 20444 w 1024054"/>
              <a:gd name="connsiteY8" fmla="*/ 256478 h 262053"/>
              <a:gd name="connsiteX9" fmla="*/ 20444 w 1024054"/>
              <a:gd name="connsiteY9" fmla="*/ 245327 h 262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24054" h="262053">
                <a:moveTo>
                  <a:pt x="1024054" y="0"/>
                </a:moveTo>
                <a:cubicBezTo>
                  <a:pt x="933915" y="19514"/>
                  <a:pt x="843776" y="39029"/>
                  <a:pt x="778727" y="44605"/>
                </a:cubicBezTo>
                <a:cubicBezTo>
                  <a:pt x="713678" y="50181"/>
                  <a:pt x="680224" y="29737"/>
                  <a:pt x="633761" y="33454"/>
                </a:cubicBezTo>
                <a:cubicBezTo>
                  <a:pt x="587298" y="37171"/>
                  <a:pt x="499947" y="66908"/>
                  <a:pt x="499947" y="66908"/>
                </a:cubicBezTo>
                <a:cubicBezTo>
                  <a:pt x="453484" y="78059"/>
                  <a:pt x="394010" y="87351"/>
                  <a:pt x="354981" y="100361"/>
                </a:cubicBezTo>
                <a:cubicBezTo>
                  <a:pt x="315952" y="113371"/>
                  <a:pt x="293649" y="133815"/>
                  <a:pt x="265771" y="144966"/>
                </a:cubicBezTo>
                <a:cubicBezTo>
                  <a:pt x="237893" y="156117"/>
                  <a:pt x="208157" y="156118"/>
                  <a:pt x="187713" y="167269"/>
                </a:cubicBezTo>
                <a:cubicBezTo>
                  <a:pt x="167269" y="178420"/>
                  <a:pt x="170986" y="197006"/>
                  <a:pt x="143108" y="211874"/>
                </a:cubicBezTo>
                <a:cubicBezTo>
                  <a:pt x="115230" y="226742"/>
                  <a:pt x="40888" y="250903"/>
                  <a:pt x="20444" y="256478"/>
                </a:cubicBezTo>
                <a:cubicBezTo>
                  <a:pt x="0" y="262053"/>
                  <a:pt x="10222" y="253690"/>
                  <a:pt x="20444" y="245327"/>
                </a:cubicBezTo>
              </a:path>
            </a:pathLst>
          </a:custGeom>
          <a:ln w="114300">
            <a:solidFill>
              <a:srgbClr val="1F95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17" name="Полилиния 16"/>
          <p:cNvSpPr/>
          <p:nvPr/>
        </p:nvSpPr>
        <p:spPr>
          <a:xfrm>
            <a:off x="3097178" y="3848656"/>
            <a:ext cx="63123" cy="94094"/>
          </a:xfrm>
          <a:custGeom>
            <a:avLst/>
            <a:gdLst>
              <a:gd name="connsiteX0" fmla="*/ 0 w 61913"/>
              <a:gd name="connsiteY0" fmla="*/ 0 h 97632"/>
              <a:gd name="connsiteX1" fmla="*/ 61913 w 61913"/>
              <a:gd name="connsiteY1" fmla="*/ 97632 h 97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1913" h="97632">
                <a:moveTo>
                  <a:pt x="0" y="0"/>
                </a:moveTo>
                <a:lnTo>
                  <a:pt x="61913" y="97632"/>
                </a:ln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black"/>
              </a:solidFill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3126714" y="3948433"/>
            <a:ext cx="60694" cy="339652"/>
          </a:xfrm>
          <a:custGeom>
            <a:avLst/>
            <a:gdLst>
              <a:gd name="connsiteX0" fmla="*/ 59531 w 59531"/>
              <a:gd name="connsiteY0" fmla="*/ 0 h 352425"/>
              <a:gd name="connsiteX1" fmla="*/ 52387 w 59531"/>
              <a:gd name="connsiteY1" fmla="*/ 95250 h 352425"/>
              <a:gd name="connsiteX2" fmla="*/ 40481 w 59531"/>
              <a:gd name="connsiteY2" fmla="*/ 152400 h 352425"/>
              <a:gd name="connsiteX3" fmla="*/ 38100 w 59531"/>
              <a:gd name="connsiteY3" fmla="*/ 197644 h 352425"/>
              <a:gd name="connsiteX4" fmla="*/ 33337 w 59531"/>
              <a:gd name="connsiteY4" fmla="*/ 233363 h 352425"/>
              <a:gd name="connsiteX5" fmla="*/ 0 w 59531"/>
              <a:gd name="connsiteY5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31" h="352425">
                <a:moveTo>
                  <a:pt x="59531" y="0"/>
                </a:moveTo>
                <a:cubicBezTo>
                  <a:pt x="57546" y="34925"/>
                  <a:pt x="55562" y="69850"/>
                  <a:pt x="52387" y="95250"/>
                </a:cubicBezTo>
                <a:cubicBezTo>
                  <a:pt x="49212" y="120650"/>
                  <a:pt x="42862" y="135334"/>
                  <a:pt x="40481" y="152400"/>
                </a:cubicBezTo>
                <a:cubicBezTo>
                  <a:pt x="38100" y="169466"/>
                  <a:pt x="39291" y="184150"/>
                  <a:pt x="38100" y="197644"/>
                </a:cubicBezTo>
                <a:cubicBezTo>
                  <a:pt x="36909" y="211138"/>
                  <a:pt x="39687" y="207566"/>
                  <a:pt x="33337" y="233363"/>
                </a:cubicBezTo>
                <a:cubicBezTo>
                  <a:pt x="26987" y="259160"/>
                  <a:pt x="6350" y="330597"/>
                  <a:pt x="0" y="352425"/>
                </a:cubicBezTo>
              </a:path>
            </a:pathLst>
          </a:custGeom>
          <a:ln w="114300">
            <a:solidFill>
              <a:srgbClr val="1F95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3123198" y="4105596"/>
            <a:ext cx="41273" cy="181301"/>
          </a:xfrm>
          <a:custGeom>
            <a:avLst/>
            <a:gdLst>
              <a:gd name="connsiteX0" fmla="*/ 40482 w 40482"/>
              <a:gd name="connsiteY0" fmla="*/ 0 h 188119"/>
              <a:gd name="connsiteX1" fmla="*/ 35719 w 40482"/>
              <a:gd name="connsiteY1" fmla="*/ 64294 h 188119"/>
              <a:gd name="connsiteX2" fmla="*/ 30957 w 40482"/>
              <a:gd name="connsiteY2" fmla="*/ 80963 h 188119"/>
              <a:gd name="connsiteX3" fmla="*/ 19050 w 40482"/>
              <a:gd name="connsiteY3" fmla="*/ 104775 h 188119"/>
              <a:gd name="connsiteX4" fmla="*/ 11907 w 40482"/>
              <a:gd name="connsiteY4" fmla="*/ 154781 h 188119"/>
              <a:gd name="connsiteX5" fmla="*/ 0 w 40482"/>
              <a:gd name="connsiteY5" fmla="*/ 188119 h 188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482" h="188119">
                <a:moveTo>
                  <a:pt x="40482" y="0"/>
                </a:moveTo>
                <a:cubicBezTo>
                  <a:pt x="38894" y="25400"/>
                  <a:pt x="37306" y="50800"/>
                  <a:pt x="35719" y="64294"/>
                </a:cubicBezTo>
                <a:cubicBezTo>
                  <a:pt x="34132" y="77788"/>
                  <a:pt x="33735" y="74216"/>
                  <a:pt x="30957" y="80963"/>
                </a:cubicBezTo>
                <a:cubicBezTo>
                  <a:pt x="28179" y="87710"/>
                  <a:pt x="22225" y="92472"/>
                  <a:pt x="19050" y="104775"/>
                </a:cubicBezTo>
                <a:cubicBezTo>
                  <a:pt x="15875" y="117078"/>
                  <a:pt x="15082" y="140890"/>
                  <a:pt x="11907" y="154781"/>
                </a:cubicBezTo>
                <a:cubicBezTo>
                  <a:pt x="8732" y="168672"/>
                  <a:pt x="0" y="188119"/>
                  <a:pt x="0" y="188119"/>
                </a:cubicBezTo>
              </a:path>
            </a:pathLst>
          </a:custGeom>
          <a:ln w="114300">
            <a:solidFill>
              <a:srgbClr val="1F95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3120010" y="3986620"/>
            <a:ext cx="60694" cy="312113"/>
          </a:xfrm>
          <a:custGeom>
            <a:avLst/>
            <a:gdLst>
              <a:gd name="connsiteX0" fmla="*/ 59531 w 59531"/>
              <a:gd name="connsiteY0" fmla="*/ 0 h 323850"/>
              <a:gd name="connsiteX1" fmla="*/ 52387 w 59531"/>
              <a:gd name="connsiteY1" fmla="*/ 59531 h 323850"/>
              <a:gd name="connsiteX2" fmla="*/ 47625 w 59531"/>
              <a:gd name="connsiteY2" fmla="*/ 111919 h 323850"/>
              <a:gd name="connsiteX3" fmla="*/ 42862 w 59531"/>
              <a:gd name="connsiteY3" fmla="*/ 180975 h 323850"/>
              <a:gd name="connsiteX4" fmla="*/ 26194 w 59531"/>
              <a:gd name="connsiteY4" fmla="*/ 216694 h 323850"/>
              <a:gd name="connsiteX5" fmla="*/ 11906 w 59531"/>
              <a:gd name="connsiteY5" fmla="*/ 278606 h 323850"/>
              <a:gd name="connsiteX6" fmla="*/ 0 w 59531"/>
              <a:gd name="connsiteY6" fmla="*/ 32385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31" h="323850">
                <a:moveTo>
                  <a:pt x="59531" y="0"/>
                </a:moveTo>
                <a:cubicBezTo>
                  <a:pt x="56951" y="20439"/>
                  <a:pt x="54371" y="40878"/>
                  <a:pt x="52387" y="59531"/>
                </a:cubicBezTo>
                <a:cubicBezTo>
                  <a:pt x="50403" y="78184"/>
                  <a:pt x="49212" y="91678"/>
                  <a:pt x="47625" y="111919"/>
                </a:cubicBezTo>
                <a:cubicBezTo>
                  <a:pt x="46038" y="132160"/>
                  <a:pt x="46434" y="163513"/>
                  <a:pt x="42862" y="180975"/>
                </a:cubicBezTo>
                <a:cubicBezTo>
                  <a:pt x="39290" y="198438"/>
                  <a:pt x="31353" y="200422"/>
                  <a:pt x="26194" y="216694"/>
                </a:cubicBezTo>
                <a:cubicBezTo>
                  <a:pt x="21035" y="232966"/>
                  <a:pt x="16272" y="260747"/>
                  <a:pt x="11906" y="278606"/>
                </a:cubicBezTo>
                <a:cubicBezTo>
                  <a:pt x="7540" y="296465"/>
                  <a:pt x="3770" y="310157"/>
                  <a:pt x="0" y="323850"/>
                </a:cubicBezTo>
              </a:path>
            </a:pathLst>
          </a:custGeom>
          <a:ln w="444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21" name="Полилиния 20"/>
          <p:cNvSpPr/>
          <p:nvPr/>
        </p:nvSpPr>
        <p:spPr>
          <a:xfrm>
            <a:off x="1478782" y="2090817"/>
            <a:ext cx="1692974" cy="1857378"/>
          </a:xfrm>
          <a:custGeom>
            <a:avLst/>
            <a:gdLst>
              <a:gd name="connsiteX0" fmla="*/ 1660525 w 1660525"/>
              <a:gd name="connsiteY0" fmla="*/ 1927225 h 1927225"/>
              <a:gd name="connsiteX1" fmla="*/ 1530350 w 1660525"/>
              <a:gd name="connsiteY1" fmla="*/ 1733550 h 1927225"/>
              <a:gd name="connsiteX2" fmla="*/ 1431925 w 1660525"/>
              <a:gd name="connsiteY2" fmla="*/ 1685925 h 1927225"/>
              <a:gd name="connsiteX3" fmla="*/ 1320800 w 1660525"/>
              <a:gd name="connsiteY3" fmla="*/ 1504950 h 1927225"/>
              <a:gd name="connsiteX4" fmla="*/ 1301750 w 1660525"/>
              <a:gd name="connsiteY4" fmla="*/ 1368425 h 1927225"/>
              <a:gd name="connsiteX5" fmla="*/ 1279525 w 1660525"/>
              <a:gd name="connsiteY5" fmla="*/ 1339850 h 1927225"/>
              <a:gd name="connsiteX6" fmla="*/ 1222375 w 1660525"/>
              <a:gd name="connsiteY6" fmla="*/ 1289050 h 1927225"/>
              <a:gd name="connsiteX7" fmla="*/ 1085850 w 1660525"/>
              <a:gd name="connsiteY7" fmla="*/ 1187450 h 1927225"/>
              <a:gd name="connsiteX8" fmla="*/ 1035050 w 1660525"/>
              <a:gd name="connsiteY8" fmla="*/ 1171575 h 1927225"/>
              <a:gd name="connsiteX9" fmla="*/ 1009650 w 1660525"/>
              <a:gd name="connsiteY9" fmla="*/ 1092200 h 1927225"/>
              <a:gd name="connsiteX10" fmla="*/ 962025 w 1660525"/>
              <a:gd name="connsiteY10" fmla="*/ 1063625 h 1927225"/>
              <a:gd name="connsiteX11" fmla="*/ 882650 w 1660525"/>
              <a:gd name="connsiteY11" fmla="*/ 1060450 h 1927225"/>
              <a:gd name="connsiteX12" fmla="*/ 752475 w 1660525"/>
              <a:gd name="connsiteY12" fmla="*/ 993775 h 1927225"/>
              <a:gd name="connsiteX13" fmla="*/ 688975 w 1660525"/>
              <a:gd name="connsiteY13" fmla="*/ 879475 h 1927225"/>
              <a:gd name="connsiteX14" fmla="*/ 695325 w 1660525"/>
              <a:gd name="connsiteY14" fmla="*/ 746125 h 1927225"/>
              <a:gd name="connsiteX15" fmla="*/ 596900 w 1660525"/>
              <a:gd name="connsiteY15" fmla="*/ 352425 h 1927225"/>
              <a:gd name="connsiteX16" fmla="*/ 485775 w 1660525"/>
              <a:gd name="connsiteY16" fmla="*/ 241300 h 1927225"/>
              <a:gd name="connsiteX17" fmla="*/ 257175 w 1660525"/>
              <a:gd name="connsiteY17" fmla="*/ 190500 h 1927225"/>
              <a:gd name="connsiteX18" fmla="*/ 95250 w 1660525"/>
              <a:gd name="connsiteY18" fmla="*/ 155575 h 1927225"/>
              <a:gd name="connsiteX19" fmla="*/ 31750 w 1660525"/>
              <a:gd name="connsiteY19" fmla="*/ 139700 h 1927225"/>
              <a:gd name="connsiteX20" fmla="*/ 0 w 1660525"/>
              <a:gd name="connsiteY20" fmla="*/ 0 h 192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0525" h="1927225">
                <a:moveTo>
                  <a:pt x="1660525" y="1927225"/>
                </a:moveTo>
                <a:cubicBezTo>
                  <a:pt x="1614487" y="1850496"/>
                  <a:pt x="1568450" y="1773767"/>
                  <a:pt x="1530350" y="1733550"/>
                </a:cubicBezTo>
                <a:cubicBezTo>
                  <a:pt x="1492250" y="1693333"/>
                  <a:pt x="1466850" y="1724025"/>
                  <a:pt x="1431925" y="1685925"/>
                </a:cubicBezTo>
                <a:cubicBezTo>
                  <a:pt x="1397000" y="1647825"/>
                  <a:pt x="1342496" y="1557867"/>
                  <a:pt x="1320800" y="1504950"/>
                </a:cubicBezTo>
                <a:cubicBezTo>
                  <a:pt x="1299104" y="1452033"/>
                  <a:pt x="1308629" y="1395942"/>
                  <a:pt x="1301750" y="1368425"/>
                </a:cubicBezTo>
                <a:cubicBezTo>
                  <a:pt x="1294871" y="1340908"/>
                  <a:pt x="1292754" y="1353079"/>
                  <a:pt x="1279525" y="1339850"/>
                </a:cubicBezTo>
                <a:cubicBezTo>
                  <a:pt x="1266296" y="1326621"/>
                  <a:pt x="1254654" y="1314450"/>
                  <a:pt x="1222375" y="1289050"/>
                </a:cubicBezTo>
                <a:cubicBezTo>
                  <a:pt x="1190096" y="1263650"/>
                  <a:pt x="1117071" y="1207029"/>
                  <a:pt x="1085850" y="1187450"/>
                </a:cubicBezTo>
                <a:cubicBezTo>
                  <a:pt x="1054629" y="1167871"/>
                  <a:pt x="1047750" y="1187450"/>
                  <a:pt x="1035050" y="1171575"/>
                </a:cubicBezTo>
                <a:cubicBezTo>
                  <a:pt x="1022350" y="1155700"/>
                  <a:pt x="1021821" y="1110192"/>
                  <a:pt x="1009650" y="1092200"/>
                </a:cubicBezTo>
                <a:cubicBezTo>
                  <a:pt x="997479" y="1074208"/>
                  <a:pt x="983191" y="1068917"/>
                  <a:pt x="962025" y="1063625"/>
                </a:cubicBezTo>
                <a:cubicBezTo>
                  <a:pt x="940859" y="1058333"/>
                  <a:pt x="917575" y="1072092"/>
                  <a:pt x="882650" y="1060450"/>
                </a:cubicBezTo>
                <a:cubicBezTo>
                  <a:pt x="847725" y="1048808"/>
                  <a:pt x="784754" y="1023937"/>
                  <a:pt x="752475" y="993775"/>
                </a:cubicBezTo>
                <a:cubicBezTo>
                  <a:pt x="720196" y="963612"/>
                  <a:pt x="698500" y="920750"/>
                  <a:pt x="688975" y="879475"/>
                </a:cubicBezTo>
                <a:cubicBezTo>
                  <a:pt x="679450" y="838200"/>
                  <a:pt x="710671" y="833967"/>
                  <a:pt x="695325" y="746125"/>
                </a:cubicBezTo>
                <a:cubicBezTo>
                  <a:pt x="679979" y="658283"/>
                  <a:pt x="631825" y="436562"/>
                  <a:pt x="596900" y="352425"/>
                </a:cubicBezTo>
                <a:cubicBezTo>
                  <a:pt x="561975" y="268287"/>
                  <a:pt x="542396" y="268287"/>
                  <a:pt x="485775" y="241300"/>
                </a:cubicBezTo>
                <a:cubicBezTo>
                  <a:pt x="429154" y="214313"/>
                  <a:pt x="257175" y="190500"/>
                  <a:pt x="257175" y="190500"/>
                </a:cubicBezTo>
                <a:lnTo>
                  <a:pt x="95250" y="155575"/>
                </a:lnTo>
                <a:cubicBezTo>
                  <a:pt x="57679" y="147108"/>
                  <a:pt x="47625" y="165629"/>
                  <a:pt x="31750" y="139700"/>
                </a:cubicBezTo>
                <a:cubicBezTo>
                  <a:pt x="15875" y="113771"/>
                  <a:pt x="7937" y="56885"/>
                  <a:pt x="0" y="0"/>
                </a:cubicBezTo>
              </a:path>
            </a:pathLst>
          </a:custGeom>
          <a:ln w="635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22" name="Полилиния 21"/>
          <p:cNvSpPr/>
          <p:nvPr/>
        </p:nvSpPr>
        <p:spPr>
          <a:xfrm>
            <a:off x="1478021" y="2089981"/>
            <a:ext cx="1692974" cy="1857378"/>
          </a:xfrm>
          <a:custGeom>
            <a:avLst/>
            <a:gdLst>
              <a:gd name="connsiteX0" fmla="*/ 1660525 w 1660525"/>
              <a:gd name="connsiteY0" fmla="*/ 1927225 h 1927225"/>
              <a:gd name="connsiteX1" fmla="*/ 1530350 w 1660525"/>
              <a:gd name="connsiteY1" fmla="*/ 1733550 h 1927225"/>
              <a:gd name="connsiteX2" fmla="*/ 1431925 w 1660525"/>
              <a:gd name="connsiteY2" fmla="*/ 1685925 h 1927225"/>
              <a:gd name="connsiteX3" fmla="*/ 1320800 w 1660525"/>
              <a:gd name="connsiteY3" fmla="*/ 1504950 h 1927225"/>
              <a:gd name="connsiteX4" fmla="*/ 1301750 w 1660525"/>
              <a:gd name="connsiteY4" fmla="*/ 1368425 h 1927225"/>
              <a:gd name="connsiteX5" fmla="*/ 1279525 w 1660525"/>
              <a:gd name="connsiteY5" fmla="*/ 1339850 h 1927225"/>
              <a:gd name="connsiteX6" fmla="*/ 1222375 w 1660525"/>
              <a:gd name="connsiteY6" fmla="*/ 1289050 h 1927225"/>
              <a:gd name="connsiteX7" fmla="*/ 1085850 w 1660525"/>
              <a:gd name="connsiteY7" fmla="*/ 1187450 h 1927225"/>
              <a:gd name="connsiteX8" fmla="*/ 1035050 w 1660525"/>
              <a:gd name="connsiteY8" fmla="*/ 1171575 h 1927225"/>
              <a:gd name="connsiteX9" fmla="*/ 1009650 w 1660525"/>
              <a:gd name="connsiteY9" fmla="*/ 1092200 h 1927225"/>
              <a:gd name="connsiteX10" fmla="*/ 962025 w 1660525"/>
              <a:gd name="connsiteY10" fmla="*/ 1063625 h 1927225"/>
              <a:gd name="connsiteX11" fmla="*/ 882650 w 1660525"/>
              <a:gd name="connsiteY11" fmla="*/ 1060450 h 1927225"/>
              <a:gd name="connsiteX12" fmla="*/ 752475 w 1660525"/>
              <a:gd name="connsiteY12" fmla="*/ 993775 h 1927225"/>
              <a:gd name="connsiteX13" fmla="*/ 688975 w 1660525"/>
              <a:gd name="connsiteY13" fmla="*/ 879475 h 1927225"/>
              <a:gd name="connsiteX14" fmla="*/ 695325 w 1660525"/>
              <a:gd name="connsiteY14" fmla="*/ 746125 h 1927225"/>
              <a:gd name="connsiteX15" fmla="*/ 596900 w 1660525"/>
              <a:gd name="connsiteY15" fmla="*/ 352425 h 1927225"/>
              <a:gd name="connsiteX16" fmla="*/ 485775 w 1660525"/>
              <a:gd name="connsiteY16" fmla="*/ 241300 h 1927225"/>
              <a:gd name="connsiteX17" fmla="*/ 257175 w 1660525"/>
              <a:gd name="connsiteY17" fmla="*/ 190500 h 1927225"/>
              <a:gd name="connsiteX18" fmla="*/ 95250 w 1660525"/>
              <a:gd name="connsiteY18" fmla="*/ 155575 h 1927225"/>
              <a:gd name="connsiteX19" fmla="*/ 31750 w 1660525"/>
              <a:gd name="connsiteY19" fmla="*/ 139700 h 1927225"/>
              <a:gd name="connsiteX20" fmla="*/ 0 w 1660525"/>
              <a:gd name="connsiteY20" fmla="*/ 0 h 192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0525" h="1927225">
                <a:moveTo>
                  <a:pt x="1660525" y="1927225"/>
                </a:moveTo>
                <a:cubicBezTo>
                  <a:pt x="1614487" y="1850496"/>
                  <a:pt x="1568450" y="1773767"/>
                  <a:pt x="1530350" y="1733550"/>
                </a:cubicBezTo>
                <a:cubicBezTo>
                  <a:pt x="1492250" y="1693333"/>
                  <a:pt x="1466850" y="1724025"/>
                  <a:pt x="1431925" y="1685925"/>
                </a:cubicBezTo>
                <a:cubicBezTo>
                  <a:pt x="1397000" y="1647825"/>
                  <a:pt x="1342496" y="1557867"/>
                  <a:pt x="1320800" y="1504950"/>
                </a:cubicBezTo>
                <a:cubicBezTo>
                  <a:pt x="1299104" y="1452033"/>
                  <a:pt x="1308629" y="1395942"/>
                  <a:pt x="1301750" y="1368425"/>
                </a:cubicBezTo>
                <a:cubicBezTo>
                  <a:pt x="1294871" y="1340908"/>
                  <a:pt x="1292754" y="1353079"/>
                  <a:pt x="1279525" y="1339850"/>
                </a:cubicBezTo>
                <a:cubicBezTo>
                  <a:pt x="1266296" y="1326621"/>
                  <a:pt x="1254654" y="1314450"/>
                  <a:pt x="1222375" y="1289050"/>
                </a:cubicBezTo>
                <a:cubicBezTo>
                  <a:pt x="1190096" y="1263650"/>
                  <a:pt x="1117071" y="1207029"/>
                  <a:pt x="1085850" y="1187450"/>
                </a:cubicBezTo>
                <a:cubicBezTo>
                  <a:pt x="1054629" y="1167871"/>
                  <a:pt x="1047750" y="1187450"/>
                  <a:pt x="1035050" y="1171575"/>
                </a:cubicBezTo>
                <a:cubicBezTo>
                  <a:pt x="1022350" y="1155700"/>
                  <a:pt x="1021821" y="1110192"/>
                  <a:pt x="1009650" y="1092200"/>
                </a:cubicBezTo>
                <a:cubicBezTo>
                  <a:pt x="997479" y="1074208"/>
                  <a:pt x="983191" y="1068917"/>
                  <a:pt x="962025" y="1063625"/>
                </a:cubicBezTo>
                <a:cubicBezTo>
                  <a:pt x="940859" y="1058333"/>
                  <a:pt x="917575" y="1072092"/>
                  <a:pt x="882650" y="1060450"/>
                </a:cubicBezTo>
                <a:cubicBezTo>
                  <a:pt x="847725" y="1048808"/>
                  <a:pt x="784754" y="1023937"/>
                  <a:pt x="752475" y="993775"/>
                </a:cubicBezTo>
                <a:cubicBezTo>
                  <a:pt x="720196" y="963612"/>
                  <a:pt x="698500" y="920750"/>
                  <a:pt x="688975" y="879475"/>
                </a:cubicBezTo>
                <a:cubicBezTo>
                  <a:pt x="679450" y="838200"/>
                  <a:pt x="710671" y="833967"/>
                  <a:pt x="695325" y="746125"/>
                </a:cubicBezTo>
                <a:cubicBezTo>
                  <a:pt x="679979" y="658283"/>
                  <a:pt x="631825" y="436562"/>
                  <a:pt x="596900" y="352425"/>
                </a:cubicBezTo>
                <a:cubicBezTo>
                  <a:pt x="561975" y="268287"/>
                  <a:pt x="542396" y="268287"/>
                  <a:pt x="485775" y="241300"/>
                </a:cubicBezTo>
                <a:cubicBezTo>
                  <a:pt x="429154" y="214313"/>
                  <a:pt x="257175" y="190500"/>
                  <a:pt x="257175" y="190500"/>
                </a:cubicBezTo>
                <a:lnTo>
                  <a:pt x="95250" y="155575"/>
                </a:lnTo>
                <a:cubicBezTo>
                  <a:pt x="57679" y="147108"/>
                  <a:pt x="47625" y="165629"/>
                  <a:pt x="31750" y="139700"/>
                </a:cubicBezTo>
                <a:cubicBezTo>
                  <a:pt x="15875" y="113771"/>
                  <a:pt x="7937" y="56885"/>
                  <a:pt x="0" y="0"/>
                </a:cubicBez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23" name="Блок-схема: узел 22"/>
          <p:cNvSpPr/>
          <p:nvPr/>
        </p:nvSpPr>
        <p:spPr bwMode="auto">
          <a:xfrm>
            <a:off x="1472433" y="2177838"/>
            <a:ext cx="80926" cy="85678"/>
          </a:xfrm>
          <a:prstGeom prst="flowChartConnector">
            <a:avLst/>
          </a:prstGeom>
          <a:solidFill>
            <a:srgbClr val="00B050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396" tIns="45700" rIns="91396" bIns="45700" anchor="ctr"/>
          <a:lstStyle/>
          <a:p>
            <a:pPr algn="ctr" defTabSz="914400">
              <a:defRPr/>
            </a:pPr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24" name="Полилиния 23"/>
          <p:cNvSpPr/>
          <p:nvPr/>
        </p:nvSpPr>
        <p:spPr>
          <a:xfrm>
            <a:off x="2731848" y="3336208"/>
            <a:ext cx="459660" cy="630346"/>
          </a:xfrm>
          <a:custGeom>
            <a:avLst/>
            <a:gdLst>
              <a:gd name="connsiteX0" fmla="*/ 0 w 450850"/>
              <a:gd name="connsiteY0" fmla="*/ 0 h 654050"/>
              <a:gd name="connsiteX1" fmla="*/ 63500 w 450850"/>
              <a:gd name="connsiteY1" fmla="*/ 63500 h 654050"/>
              <a:gd name="connsiteX2" fmla="*/ 73025 w 450850"/>
              <a:gd name="connsiteY2" fmla="*/ 120650 h 654050"/>
              <a:gd name="connsiteX3" fmla="*/ 82550 w 450850"/>
              <a:gd name="connsiteY3" fmla="*/ 206375 h 654050"/>
              <a:gd name="connsiteX4" fmla="*/ 136525 w 450850"/>
              <a:gd name="connsiteY4" fmla="*/ 301625 h 654050"/>
              <a:gd name="connsiteX5" fmla="*/ 177800 w 450850"/>
              <a:gd name="connsiteY5" fmla="*/ 374650 h 654050"/>
              <a:gd name="connsiteX6" fmla="*/ 234950 w 450850"/>
              <a:gd name="connsiteY6" fmla="*/ 415925 h 654050"/>
              <a:gd name="connsiteX7" fmla="*/ 288925 w 450850"/>
              <a:gd name="connsiteY7" fmla="*/ 434975 h 654050"/>
              <a:gd name="connsiteX8" fmla="*/ 365125 w 450850"/>
              <a:gd name="connsiteY8" fmla="*/ 514350 h 654050"/>
              <a:gd name="connsiteX9" fmla="*/ 403225 w 450850"/>
              <a:gd name="connsiteY9" fmla="*/ 596900 h 654050"/>
              <a:gd name="connsiteX10" fmla="*/ 450850 w 450850"/>
              <a:gd name="connsiteY10" fmla="*/ 654050 h 65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50850" h="654050">
                <a:moveTo>
                  <a:pt x="0" y="0"/>
                </a:moveTo>
                <a:cubicBezTo>
                  <a:pt x="25664" y="21696"/>
                  <a:pt x="51329" y="43392"/>
                  <a:pt x="63500" y="63500"/>
                </a:cubicBezTo>
                <a:cubicBezTo>
                  <a:pt x="75671" y="83608"/>
                  <a:pt x="69850" y="96838"/>
                  <a:pt x="73025" y="120650"/>
                </a:cubicBezTo>
                <a:cubicBezTo>
                  <a:pt x="76200" y="144463"/>
                  <a:pt x="71967" y="176213"/>
                  <a:pt x="82550" y="206375"/>
                </a:cubicBezTo>
                <a:cubicBezTo>
                  <a:pt x="93133" y="236538"/>
                  <a:pt x="136525" y="301625"/>
                  <a:pt x="136525" y="301625"/>
                </a:cubicBezTo>
                <a:cubicBezTo>
                  <a:pt x="152400" y="329671"/>
                  <a:pt x="161396" y="355600"/>
                  <a:pt x="177800" y="374650"/>
                </a:cubicBezTo>
                <a:cubicBezTo>
                  <a:pt x="194204" y="393700"/>
                  <a:pt x="216429" y="405871"/>
                  <a:pt x="234950" y="415925"/>
                </a:cubicBezTo>
                <a:cubicBezTo>
                  <a:pt x="253471" y="425979"/>
                  <a:pt x="267229" y="418571"/>
                  <a:pt x="288925" y="434975"/>
                </a:cubicBezTo>
                <a:cubicBezTo>
                  <a:pt x="310621" y="451379"/>
                  <a:pt x="346075" y="487363"/>
                  <a:pt x="365125" y="514350"/>
                </a:cubicBezTo>
                <a:cubicBezTo>
                  <a:pt x="384175" y="541337"/>
                  <a:pt x="388938" y="573617"/>
                  <a:pt x="403225" y="596900"/>
                </a:cubicBezTo>
                <a:cubicBezTo>
                  <a:pt x="417512" y="620183"/>
                  <a:pt x="434181" y="637116"/>
                  <a:pt x="450850" y="654050"/>
                </a:cubicBezTo>
              </a:path>
            </a:pathLst>
          </a:custGeom>
          <a:ln w="114300">
            <a:solidFill>
              <a:srgbClr val="1F95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25" name="Полилиния 24"/>
          <p:cNvSpPr/>
          <p:nvPr/>
        </p:nvSpPr>
        <p:spPr>
          <a:xfrm>
            <a:off x="2701169" y="3342209"/>
            <a:ext cx="459660" cy="630346"/>
          </a:xfrm>
          <a:custGeom>
            <a:avLst/>
            <a:gdLst>
              <a:gd name="connsiteX0" fmla="*/ 0 w 450850"/>
              <a:gd name="connsiteY0" fmla="*/ 0 h 654050"/>
              <a:gd name="connsiteX1" fmla="*/ 63500 w 450850"/>
              <a:gd name="connsiteY1" fmla="*/ 63500 h 654050"/>
              <a:gd name="connsiteX2" fmla="*/ 73025 w 450850"/>
              <a:gd name="connsiteY2" fmla="*/ 120650 h 654050"/>
              <a:gd name="connsiteX3" fmla="*/ 82550 w 450850"/>
              <a:gd name="connsiteY3" fmla="*/ 206375 h 654050"/>
              <a:gd name="connsiteX4" fmla="*/ 136525 w 450850"/>
              <a:gd name="connsiteY4" fmla="*/ 301625 h 654050"/>
              <a:gd name="connsiteX5" fmla="*/ 177800 w 450850"/>
              <a:gd name="connsiteY5" fmla="*/ 374650 h 654050"/>
              <a:gd name="connsiteX6" fmla="*/ 234950 w 450850"/>
              <a:gd name="connsiteY6" fmla="*/ 415925 h 654050"/>
              <a:gd name="connsiteX7" fmla="*/ 288925 w 450850"/>
              <a:gd name="connsiteY7" fmla="*/ 434975 h 654050"/>
              <a:gd name="connsiteX8" fmla="*/ 365125 w 450850"/>
              <a:gd name="connsiteY8" fmla="*/ 514350 h 654050"/>
              <a:gd name="connsiteX9" fmla="*/ 403225 w 450850"/>
              <a:gd name="connsiteY9" fmla="*/ 596900 h 654050"/>
              <a:gd name="connsiteX10" fmla="*/ 450850 w 450850"/>
              <a:gd name="connsiteY10" fmla="*/ 654050 h 65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50850" h="654050">
                <a:moveTo>
                  <a:pt x="0" y="0"/>
                </a:moveTo>
                <a:cubicBezTo>
                  <a:pt x="25664" y="21696"/>
                  <a:pt x="51329" y="43392"/>
                  <a:pt x="63500" y="63500"/>
                </a:cubicBezTo>
                <a:cubicBezTo>
                  <a:pt x="75671" y="83608"/>
                  <a:pt x="69850" y="96838"/>
                  <a:pt x="73025" y="120650"/>
                </a:cubicBezTo>
                <a:cubicBezTo>
                  <a:pt x="76200" y="144463"/>
                  <a:pt x="71967" y="176213"/>
                  <a:pt x="82550" y="206375"/>
                </a:cubicBezTo>
                <a:cubicBezTo>
                  <a:pt x="93133" y="236538"/>
                  <a:pt x="136525" y="301625"/>
                  <a:pt x="136525" y="301625"/>
                </a:cubicBezTo>
                <a:cubicBezTo>
                  <a:pt x="152400" y="329671"/>
                  <a:pt x="161396" y="355600"/>
                  <a:pt x="177800" y="374650"/>
                </a:cubicBezTo>
                <a:cubicBezTo>
                  <a:pt x="194204" y="393700"/>
                  <a:pt x="216429" y="405871"/>
                  <a:pt x="234950" y="415925"/>
                </a:cubicBezTo>
                <a:cubicBezTo>
                  <a:pt x="253471" y="425979"/>
                  <a:pt x="267229" y="418571"/>
                  <a:pt x="288925" y="434975"/>
                </a:cubicBezTo>
                <a:cubicBezTo>
                  <a:pt x="310621" y="451379"/>
                  <a:pt x="346075" y="487363"/>
                  <a:pt x="365125" y="514350"/>
                </a:cubicBezTo>
                <a:cubicBezTo>
                  <a:pt x="384175" y="541337"/>
                  <a:pt x="388938" y="573617"/>
                  <a:pt x="403225" y="596900"/>
                </a:cubicBezTo>
                <a:cubicBezTo>
                  <a:pt x="417512" y="620183"/>
                  <a:pt x="434181" y="637116"/>
                  <a:pt x="450850" y="654050"/>
                </a:cubicBez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26" name="Полилиния 25"/>
          <p:cNvSpPr/>
          <p:nvPr/>
        </p:nvSpPr>
        <p:spPr>
          <a:xfrm>
            <a:off x="2764873" y="3318088"/>
            <a:ext cx="459660" cy="630346"/>
          </a:xfrm>
          <a:custGeom>
            <a:avLst/>
            <a:gdLst>
              <a:gd name="connsiteX0" fmla="*/ 0 w 450850"/>
              <a:gd name="connsiteY0" fmla="*/ 0 h 654050"/>
              <a:gd name="connsiteX1" fmla="*/ 63500 w 450850"/>
              <a:gd name="connsiteY1" fmla="*/ 63500 h 654050"/>
              <a:gd name="connsiteX2" fmla="*/ 73025 w 450850"/>
              <a:gd name="connsiteY2" fmla="*/ 120650 h 654050"/>
              <a:gd name="connsiteX3" fmla="*/ 82550 w 450850"/>
              <a:gd name="connsiteY3" fmla="*/ 206375 h 654050"/>
              <a:gd name="connsiteX4" fmla="*/ 136525 w 450850"/>
              <a:gd name="connsiteY4" fmla="*/ 301625 h 654050"/>
              <a:gd name="connsiteX5" fmla="*/ 177800 w 450850"/>
              <a:gd name="connsiteY5" fmla="*/ 374650 h 654050"/>
              <a:gd name="connsiteX6" fmla="*/ 234950 w 450850"/>
              <a:gd name="connsiteY6" fmla="*/ 415925 h 654050"/>
              <a:gd name="connsiteX7" fmla="*/ 288925 w 450850"/>
              <a:gd name="connsiteY7" fmla="*/ 434975 h 654050"/>
              <a:gd name="connsiteX8" fmla="*/ 365125 w 450850"/>
              <a:gd name="connsiteY8" fmla="*/ 514350 h 654050"/>
              <a:gd name="connsiteX9" fmla="*/ 403225 w 450850"/>
              <a:gd name="connsiteY9" fmla="*/ 596900 h 654050"/>
              <a:gd name="connsiteX10" fmla="*/ 450850 w 450850"/>
              <a:gd name="connsiteY10" fmla="*/ 654050 h 65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50850" h="654050">
                <a:moveTo>
                  <a:pt x="0" y="0"/>
                </a:moveTo>
                <a:cubicBezTo>
                  <a:pt x="25664" y="21696"/>
                  <a:pt x="51329" y="43392"/>
                  <a:pt x="63500" y="63500"/>
                </a:cubicBezTo>
                <a:cubicBezTo>
                  <a:pt x="75671" y="83608"/>
                  <a:pt x="69850" y="96838"/>
                  <a:pt x="73025" y="120650"/>
                </a:cubicBezTo>
                <a:cubicBezTo>
                  <a:pt x="76200" y="144463"/>
                  <a:pt x="71967" y="176213"/>
                  <a:pt x="82550" y="206375"/>
                </a:cubicBezTo>
                <a:cubicBezTo>
                  <a:pt x="93133" y="236538"/>
                  <a:pt x="136525" y="301625"/>
                  <a:pt x="136525" y="301625"/>
                </a:cubicBezTo>
                <a:cubicBezTo>
                  <a:pt x="152400" y="329671"/>
                  <a:pt x="161396" y="355600"/>
                  <a:pt x="177800" y="374650"/>
                </a:cubicBezTo>
                <a:cubicBezTo>
                  <a:pt x="194204" y="393700"/>
                  <a:pt x="216429" y="405871"/>
                  <a:pt x="234950" y="415925"/>
                </a:cubicBezTo>
                <a:cubicBezTo>
                  <a:pt x="253471" y="425979"/>
                  <a:pt x="267229" y="418571"/>
                  <a:pt x="288925" y="434975"/>
                </a:cubicBezTo>
                <a:cubicBezTo>
                  <a:pt x="310621" y="451379"/>
                  <a:pt x="346075" y="487363"/>
                  <a:pt x="365125" y="514350"/>
                </a:cubicBezTo>
                <a:cubicBezTo>
                  <a:pt x="384175" y="541337"/>
                  <a:pt x="388938" y="573617"/>
                  <a:pt x="403225" y="596900"/>
                </a:cubicBezTo>
                <a:cubicBezTo>
                  <a:pt x="417512" y="620183"/>
                  <a:pt x="434181" y="637116"/>
                  <a:pt x="450850" y="654050"/>
                </a:cubicBez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27" name="Полилиния 26"/>
          <p:cNvSpPr/>
          <p:nvPr/>
        </p:nvSpPr>
        <p:spPr>
          <a:xfrm>
            <a:off x="2739761" y="3333387"/>
            <a:ext cx="459660" cy="630346"/>
          </a:xfrm>
          <a:custGeom>
            <a:avLst/>
            <a:gdLst>
              <a:gd name="connsiteX0" fmla="*/ 0 w 450850"/>
              <a:gd name="connsiteY0" fmla="*/ 0 h 654050"/>
              <a:gd name="connsiteX1" fmla="*/ 63500 w 450850"/>
              <a:gd name="connsiteY1" fmla="*/ 63500 h 654050"/>
              <a:gd name="connsiteX2" fmla="*/ 73025 w 450850"/>
              <a:gd name="connsiteY2" fmla="*/ 120650 h 654050"/>
              <a:gd name="connsiteX3" fmla="*/ 82550 w 450850"/>
              <a:gd name="connsiteY3" fmla="*/ 206375 h 654050"/>
              <a:gd name="connsiteX4" fmla="*/ 136525 w 450850"/>
              <a:gd name="connsiteY4" fmla="*/ 301625 h 654050"/>
              <a:gd name="connsiteX5" fmla="*/ 177800 w 450850"/>
              <a:gd name="connsiteY5" fmla="*/ 374650 h 654050"/>
              <a:gd name="connsiteX6" fmla="*/ 234950 w 450850"/>
              <a:gd name="connsiteY6" fmla="*/ 415925 h 654050"/>
              <a:gd name="connsiteX7" fmla="*/ 288925 w 450850"/>
              <a:gd name="connsiteY7" fmla="*/ 434975 h 654050"/>
              <a:gd name="connsiteX8" fmla="*/ 365125 w 450850"/>
              <a:gd name="connsiteY8" fmla="*/ 514350 h 654050"/>
              <a:gd name="connsiteX9" fmla="*/ 403225 w 450850"/>
              <a:gd name="connsiteY9" fmla="*/ 596900 h 654050"/>
              <a:gd name="connsiteX10" fmla="*/ 450850 w 450850"/>
              <a:gd name="connsiteY10" fmla="*/ 654050 h 65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50850" h="654050">
                <a:moveTo>
                  <a:pt x="0" y="0"/>
                </a:moveTo>
                <a:cubicBezTo>
                  <a:pt x="25664" y="21696"/>
                  <a:pt x="51329" y="43392"/>
                  <a:pt x="63500" y="63500"/>
                </a:cubicBezTo>
                <a:cubicBezTo>
                  <a:pt x="75671" y="83608"/>
                  <a:pt x="69850" y="96838"/>
                  <a:pt x="73025" y="120650"/>
                </a:cubicBezTo>
                <a:cubicBezTo>
                  <a:pt x="76200" y="144463"/>
                  <a:pt x="71967" y="176213"/>
                  <a:pt x="82550" y="206375"/>
                </a:cubicBezTo>
                <a:cubicBezTo>
                  <a:pt x="93133" y="236538"/>
                  <a:pt x="136525" y="301625"/>
                  <a:pt x="136525" y="301625"/>
                </a:cubicBezTo>
                <a:cubicBezTo>
                  <a:pt x="152400" y="329671"/>
                  <a:pt x="161396" y="355600"/>
                  <a:pt x="177800" y="374650"/>
                </a:cubicBezTo>
                <a:cubicBezTo>
                  <a:pt x="194204" y="393700"/>
                  <a:pt x="216429" y="405871"/>
                  <a:pt x="234950" y="415925"/>
                </a:cubicBezTo>
                <a:cubicBezTo>
                  <a:pt x="253471" y="425979"/>
                  <a:pt x="267229" y="418571"/>
                  <a:pt x="288925" y="434975"/>
                </a:cubicBezTo>
                <a:cubicBezTo>
                  <a:pt x="310621" y="451379"/>
                  <a:pt x="346075" y="487363"/>
                  <a:pt x="365125" y="514350"/>
                </a:cubicBezTo>
                <a:cubicBezTo>
                  <a:pt x="384175" y="541337"/>
                  <a:pt x="388938" y="573617"/>
                  <a:pt x="403225" y="596900"/>
                </a:cubicBezTo>
                <a:cubicBezTo>
                  <a:pt x="417512" y="620183"/>
                  <a:pt x="434181" y="637116"/>
                  <a:pt x="450850" y="654050"/>
                </a:cubicBezTo>
              </a:path>
            </a:pathLst>
          </a:custGeom>
          <a:ln w="444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28" name="Блок-схема: узел 27"/>
          <p:cNvSpPr/>
          <p:nvPr/>
        </p:nvSpPr>
        <p:spPr bwMode="auto">
          <a:xfrm>
            <a:off x="2686325" y="3293183"/>
            <a:ext cx="80926" cy="85678"/>
          </a:xfrm>
          <a:prstGeom prst="flowChartConnector">
            <a:avLst/>
          </a:prstGeom>
          <a:solidFill>
            <a:srgbClr val="00B050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396" tIns="45700" rIns="91396" bIns="45700" anchor="ctr"/>
          <a:lstStyle/>
          <a:p>
            <a:pPr algn="ctr" defTabSz="914400">
              <a:defRPr/>
            </a:pPr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29" name="Полилиния 28"/>
          <p:cNvSpPr/>
          <p:nvPr/>
        </p:nvSpPr>
        <p:spPr>
          <a:xfrm>
            <a:off x="3955181" y="3675188"/>
            <a:ext cx="356343" cy="83451"/>
          </a:xfrm>
          <a:custGeom>
            <a:avLst/>
            <a:gdLst>
              <a:gd name="connsiteX0" fmla="*/ 339725 w 339725"/>
              <a:gd name="connsiteY0" fmla="*/ 0 h 86589"/>
              <a:gd name="connsiteX1" fmla="*/ 212725 w 339725"/>
              <a:gd name="connsiteY1" fmla="*/ 53975 h 86589"/>
              <a:gd name="connsiteX2" fmla="*/ 133350 w 339725"/>
              <a:gd name="connsiteY2" fmla="*/ 82550 h 86589"/>
              <a:gd name="connsiteX3" fmla="*/ 0 w 339725"/>
              <a:gd name="connsiteY3" fmla="*/ 85725 h 86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725" h="86589">
                <a:moveTo>
                  <a:pt x="339725" y="0"/>
                </a:moveTo>
                <a:lnTo>
                  <a:pt x="212725" y="53975"/>
                </a:lnTo>
                <a:cubicBezTo>
                  <a:pt x="178329" y="67733"/>
                  <a:pt x="168804" y="77258"/>
                  <a:pt x="133350" y="82550"/>
                </a:cubicBezTo>
                <a:cubicBezTo>
                  <a:pt x="97896" y="87842"/>
                  <a:pt x="48948" y="86783"/>
                  <a:pt x="0" y="85725"/>
                </a:cubicBezTo>
              </a:path>
            </a:pathLst>
          </a:custGeom>
          <a:ln w="114300">
            <a:solidFill>
              <a:srgbClr val="1F95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30" name="Полилиния 29"/>
          <p:cNvSpPr/>
          <p:nvPr/>
        </p:nvSpPr>
        <p:spPr>
          <a:xfrm>
            <a:off x="3964957" y="3674146"/>
            <a:ext cx="346364" cy="83451"/>
          </a:xfrm>
          <a:custGeom>
            <a:avLst/>
            <a:gdLst>
              <a:gd name="connsiteX0" fmla="*/ 339725 w 339725"/>
              <a:gd name="connsiteY0" fmla="*/ 0 h 86589"/>
              <a:gd name="connsiteX1" fmla="*/ 212725 w 339725"/>
              <a:gd name="connsiteY1" fmla="*/ 53975 h 86589"/>
              <a:gd name="connsiteX2" fmla="*/ 133350 w 339725"/>
              <a:gd name="connsiteY2" fmla="*/ 82550 h 86589"/>
              <a:gd name="connsiteX3" fmla="*/ 0 w 339725"/>
              <a:gd name="connsiteY3" fmla="*/ 85725 h 86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725" h="86589">
                <a:moveTo>
                  <a:pt x="339725" y="0"/>
                </a:moveTo>
                <a:lnTo>
                  <a:pt x="212725" y="53975"/>
                </a:lnTo>
                <a:cubicBezTo>
                  <a:pt x="178329" y="67733"/>
                  <a:pt x="168804" y="77258"/>
                  <a:pt x="133350" y="82550"/>
                </a:cubicBezTo>
                <a:cubicBezTo>
                  <a:pt x="97896" y="87842"/>
                  <a:pt x="48948" y="86783"/>
                  <a:pt x="0" y="85725"/>
                </a:cubicBezTo>
              </a:path>
            </a:pathLst>
          </a:custGeom>
          <a:ln w="571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31" name="Полилиния 30"/>
          <p:cNvSpPr/>
          <p:nvPr/>
        </p:nvSpPr>
        <p:spPr>
          <a:xfrm>
            <a:off x="4346148" y="3467861"/>
            <a:ext cx="452337" cy="173723"/>
          </a:xfrm>
          <a:custGeom>
            <a:avLst/>
            <a:gdLst>
              <a:gd name="connsiteX0" fmla="*/ 223024 w 223024"/>
              <a:gd name="connsiteY0" fmla="*/ 0 h 100361"/>
              <a:gd name="connsiteX1" fmla="*/ 111512 w 223024"/>
              <a:gd name="connsiteY1" fmla="*/ 66907 h 100361"/>
              <a:gd name="connsiteX2" fmla="*/ 0 w 223024"/>
              <a:gd name="connsiteY2" fmla="*/ 100361 h 100361"/>
              <a:gd name="connsiteX3" fmla="*/ 0 w 223024"/>
              <a:gd name="connsiteY3" fmla="*/ 100361 h 100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024" h="100361">
                <a:moveTo>
                  <a:pt x="223024" y="0"/>
                </a:moveTo>
                <a:cubicBezTo>
                  <a:pt x="185853" y="25090"/>
                  <a:pt x="148683" y="50180"/>
                  <a:pt x="111512" y="66907"/>
                </a:cubicBezTo>
                <a:cubicBezTo>
                  <a:pt x="74341" y="83634"/>
                  <a:pt x="0" y="100361"/>
                  <a:pt x="0" y="100361"/>
                </a:cubicBezTo>
                <a:lnTo>
                  <a:pt x="0" y="100361"/>
                </a:ln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32" name="Полилиния 31"/>
          <p:cNvSpPr/>
          <p:nvPr/>
        </p:nvSpPr>
        <p:spPr>
          <a:xfrm>
            <a:off x="4359876" y="3523371"/>
            <a:ext cx="452337" cy="173723"/>
          </a:xfrm>
          <a:custGeom>
            <a:avLst/>
            <a:gdLst>
              <a:gd name="connsiteX0" fmla="*/ 223024 w 223024"/>
              <a:gd name="connsiteY0" fmla="*/ 0 h 100361"/>
              <a:gd name="connsiteX1" fmla="*/ 111512 w 223024"/>
              <a:gd name="connsiteY1" fmla="*/ 66907 h 100361"/>
              <a:gd name="connsiteX2" fmla="*/ 0 w 223024"/>
              <a:gd name="connsiteY2" fmla="*/ 100361 h 100361"/>
              <a:gd name="connsiteX3" fmla="*/ 0 w 223024"/>
              <a:gd name="connsiteY3" fmla="*/ 100361 h 100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024" h="100361">
                <a:moveTo>
                  <a:pt x="223024" y="0"/>
                </a:moveTo>
                <a:cubicBezTo>
                  <a:pt x="185853" y="25090"/>
                  <a:pt x="148683" y="50180"/>
                  <a:pt x="111512" y="66907"/>
                </a:cubicBezTo>
                <a:cubicBezTo>
                  <a:pt x="74341" y="83634"/>
                  <a:pt x="0" y="100361"/>
                  <a:pt x="0" y="100361"/>
                </a:cubicBezTo>
                <a:lnTo>
                  <a:pt x="0" y="100361"/>
                </a:ln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33" name="Полилиния 32"/>
          <p:cNvSpPr/>
          <p:nvPr/>
        </p:nvSpPr>
        <p:spPr>
          <a:xfrm>
            <a:off x="3230350" y="3758481"/>
            <a:ext cx="731572" cy="201955"/>
          </a:xfrm>
          <a:custGeom>
            <a:avLst/>
            <a:gdLst>
              <a:gd name="connsiteX0" fmla="*/ 717550 w 717550"/>
              <a:gd name="connsiteY0" fmla="*/ 0 h 209550"/>
              <a:gd name="connsiteX1" fmla="*/ 631825 w 717550"/>
              <a:gd name="connsiteY1" fmla="*/ 12700 h 209550"/>
              <a:gd name="connsiteX2" fmla="*/ 539750 w 717550"/>
              <a:gd name="connsiteY2" fmla="*/ 38100 h 209550"/>
              <a:gd name="connsiteX3" fmla="*/ 460375 w 717550"/>
              <a:gd name="connsiteY3" fmla="*/ 22225 h 209550"/>
              <a:gd name="connsiteX4" fmla="*/ 396875 w 717550"/>
              <a:gd name="connsiteY4" fmla="*/ 28575 h 209550"/>
              <a:gd name="connsiteX5" fmla="*/ 231775 w 717550"/>
              <a:gd name="connsiteY5" fmla="*/ 82550 h 209550"/>
              <a:gd name="connsiteX6" fmla="*/ 127000 w 717550"/>
              <a:gd name="connsiteY6" fmla="*/ 127000 h 209550"/>
              <a:gd name="connsiteX7" fmla="*/ 69850 w 717550"/>
              <a:gd name="connsiteY7" fmla="*/ 161925 h 209550"/>
              <a:gd name="connsiteX8" fmla="*/ 0 w 717550"/>
              <a:gd name="connsiteY8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50" h="209550">
                <a:moveTo>
                  <a:pt x="717550" y="0"/>
                </a:moveTo>
                <a:cubicBezTo>
                  <a:pt x="689504" y="3175"/>
                  <a:pt x="661458" y="6350"/>
                  <a:pt x="631825" y="12700"/>
                </a:cubicBezTo>
                <a:cubicBezTo>
                  <a:pt x="602192" y="19050"/>
                  <a:pt x="568325" y="36513"/>
                  <a:pt x="539750" y="38100"/>
                </a:cubicBezTo>
                <a:cubicBezTo>
                  <a:pt x="511175" y="39688"/>
                  <a:pt x="484188" y="23813"/>
                  <a:pt x="460375" y="22225"/>
                </a:cubicBezTo>
                <a:cubicBezTo>
                  <a:pt x="436562" y="20637"/>
                  <a:pt x="434975" y="18521"/>
                  <a:pt x="396875" y="28575"/>
                </a:cubicBezTo>
                <a:cubicBezTo>
                  <a:pt x="358775" y="38629"/>
                  <a:pt x="276754" y="66146"/>
                  <a:pt x="231775" y="82550"/>
                </a:cubicBezTo>
                <a:cubicBezTo>
                  <a:pt x="186796" y="98954"/>
                  <a:pt x="153987" y="113771"/>
                  <a:pt x="127000" y="127000"/>
                </a:cubicBezTo>
                <a:cubicBezTo>
                  <a:pt x="100012" y="140229"/>
                  <a:pt x="91017" y="148167"/>
                  <a:pt x="69850" y="161925"/>
                </a:cubicBezTo>
                <a:cubicBezTo>
                  <a:pt x="48683" y="175683"/>
                  <a:pt x="24341" y="192616"/>
                  <a:pt x="0" y="209550"/>
                </a:cubicBezTo>
              </a:path>
            </a:pathLst>
          </a:custGeom>
          <a:ln w="444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229101" y="3729228"/>
            <a:ext cx="731572" cy="201955"/>
          </a:xfrm>
          <a:custGeom>
            <a:avLst/>
            <a:gdLst>
              <a:gd name="connsiteX0" fmla="*/ 717550 w 717550"/>
              <a:gd name="connsiteY0" fmla="*/ 0 h 209550"/>
              <a:gd name="connsiteX1" fmla="*/ 631825 w 717550"/>
              <a:gd name="connsiteY1" fmla="*/ 12700 h 209550"/>
              <a:gd name="connsiteX2" fmla="*/ 539750 w 717550"/>
              <a:gd name="connsiteY2" fmla="*/ 38100 h 209550"/>
              <a:gd name="connsiteX3" fmla="*/ 460375 w 717550"/>
              <a:gd name="connsiteY3" fmla="*/ 22225 h 209550"/>
              <a:gd name="connsiteX4" fmla="*/ 396875 w 717550"/>
              <a:gd name="connsiteY4" fmla="*/ 28575 h 209550"/>
              <a:gd name="connsiteX5" fmla="*/ 231775 w 717550"/>
              <a:gd name="connsiteY5" fmla="*/ 82550 h 209550"/>
              <a:gd name="connsiteX6" fmla="*/ 127000 w 717550"/>
              <a:gd name="connsiteY6" fmla="*/ 127000 h 209550"/>
              <a:gd name="connsiteX7" fmla="*/ 69850 w 717550"/>
              <a:gd name="connsiteY7" fmla="*/ 161925 h 209550"/>
              <a:gd name="connsiteX8" fmla="*/ 0 w 717550"/>
              <a:gd name="connsiteY8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50" h="209550">
                <a:moveTo>
                  <a:pt x="717550" y="0"/>
                </a:moveTo>
                <a:cubicBezTo>
                  <a:pt x="689504" y="3175"/>
                  <a:pt x="661458" y="6350"/>
                  <a:pt x="631825" y="12700"/>
                </a:cubicBezTo>
                <a:cubicBezTo>
                  <a:pt x="602192" y="19050"/>
                  <a:pt x="568325" y="36513"/>
                  <a:pt x="539750" y="38100"/>
                </a:cubicBezTo>
                <a:cubicBezTo>
                  <a:pt x="511175" y="39688"/>
                  <a:pt x="484188" y="23813"/>
                  <a:pt x="460375" y="22225"/>
                </a:cubicBezTo>
                <a:cubicBezTo>
                  <a:pt x="436562" y="20637"/>
                  <a:pt x="434975" y="18521"/>
                  <a:pt x="396875" y="28575"/>
                </a:cubicBezTo>
                <a:cubicBezTo>
                  <a:pt x="358775" y="38629"/>
                  <a:pt x="276754" y="66146"/>
                  <a:pt x="231775" y="82550"/>
                </a:cubicBezTo>
                <a:cubicBezTo>
                  <a:pt x="186796" y="98954"/>
                  <a:pt x="153987" y="113771"/>
                  <a:pt x="127000" y="127000"/>
                </a:cubicBezTo>
                <a:cubicBezTo>
                  <a:pt x="100012" y="140229"/>
                  <a:pt x="91017" y="148167"/>
                  <a:pt x="69850" y="161925"/>
                </a:cubicBezTo>
                <a:cubicBezTo>
                  <a:pt x="48683" y="175683"/>
                  <a:pt x="24341" y="192616"/>
                  <a:pt x="0" y="209550"/>
                </a:cubicBez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35" name="Полилиния 34"/>
          <p:cNvSpPr/>
          <p:nvPr/>
        </p:nvSpPr>
        <p:spPr>
          <a:xfrm>
            <a:off x="3240261" y="3782007"/>
            <a:ext cx="731572" cy="201955"/>
          </a:xfrm>
          <a:custGeom>
            <a:avLst/>
            <a:gdLst>
              <a:gd name="connsiteX0" fmla="*/ 717550 w 717550"/>
              <a:gd name="connsiteY0" fmla="*/ 0 h 209550"/>
              <a:gd name="connsiteX1" fmla="*/ 631825 w 717550"/>
              <a:gd name="connsiteY1" fmla="*/ 12700 h 209550"/>
              <a:gd name="connsiteX2" fmla="*/ 539750 w 717550"/>
              <a:gd name="connsiteY2" fmla="*/ 38100 h 209550"/>
              <a:gd name="connsiteX3" fmla="*/ 460375 w 717550"/>
              <a:gd name="connsiteY3" fmla="*/ 22225 h 209550"/>
              <a:gd name="connsiteX4" fmla="*/ 396875 w 717550"/>
              <a:gd name="connsiteY4" fmla="*/ 28575 h 209550"/>
              <a:gd name="connsiteX5" fmla="*/ 231775 w 717550"/>
              <a:gd name="connsiteY5" fmla="*/ 82550 h 209550"/>
              <a:gd name="connsiteX6" fmla="*/ 127000 w 717550"/>
              <a:gd name="connsiteY6" fmla="*/ 127000 h 209550"/>
              <a:gd name="connsiteX7" fmla="*/ 69850 w 717550"/>
              <a:gd name="connsiteY7" fmla="*/ 161925 h 209550"/>
              <a:gd name="connsiteX8" fmla="*/ 0 w 717550"/>
              <a:gd name="connsiteY8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50" h="209550">
                <a:moveTo>
                  <a:pt x="717550" y="0"/>
                </a:moveTo>
                <a:cubicBezTo>
                  <a:pt x="689504" y="3175"/>
                  <a:pt x="661458" y="6350"/>
                  <a:pt x="631825" y="12700"/>
                </a:cubicBezTo>
                <a:cubicBezTo>
                  <a:pt x="602192" y="19050"/>
                  <a:pt x="568325" y="36513"/>
                  <a:pt x="539750" y="38100"/>
                </a:cubicBezTo>
                <a:cubicBezTo>
                  <a:pt x="511175" y="39688"/>
                  <a:pt x="484188" y="23813"/>
                  <a:pt x="460375" y="22225"/>
                </a:cubicBezTo>
                <a:cubicBezTo>
                  <a:pt x="436562" y="20637"/>
                  <a:pt x="434975" y="18521"/>
                  <a:pt x="396875" y="28575"/>
                </a:cubicBezTo>
                <a:cubicBezTo>
                  <a:pt x="358775" y="38629"/>
                  <a:pt x="276754" y="66146"/>
                  <a:pt x="231775" y="82550"/>
                </a:cubicBezTo>
                <a:cubicBezTo>
                  <a:pt x="186796" y="98954"/>
                  <a:pt x="153987" y="113771"/>
                  <a:pt x="127000" y="127000"/>
                </a:cubicBezTo>
                <a:cubicBezTo>
                  <a:pt x="100012" y="140229"/>
                  <a:pt x="91017" y="148167"/>
                  <a:pt x="69850" y="161925"/>
                </a:cubicBezTo>
                <a:cubicBezTo>
                  <a:pt x="48683" y="175683"/>
                  <a:pt x="24341" y="192616"/>
                  <a:pt x="0" y="209550"/>
                </a:cubicBez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36" name="Блок-схема: узел 35"/>
          <p:cNvSpPr/>
          <p:nvPr/>
        </p:nvSpPr>
        <p:spPr bwMode="auto">
          <a:xfrm>
            <a:off x="3559694" y="3757862"/>
            <a:ext cx="80926" cy="85678"/>
          </a:xfrm>
          <a:prstGeom prst="flowChartConnector">
            <a:avLst/>
          </a:prstGeom>
          <a:solidFill>
            <a:srgbClr val="00B050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396" tIns="45700" rIns="91396" bIns="45700" anchor="ctr"/>
          <a:lstStyle/>
          <a:p>
            <a:pPr algn="ctr" defTabSz="914400">
              <a:defRPr/>
            </a:pPr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3089662" y="3986620"/>
            <a:ext cx="60694" cy="312113"/>
          </a:xfrm>
          <a:custGeom>
            <a:avLst/>
            <a:gdLst>
              <a:gd name="connsiteX0" fmla="*/ 59531 w 59531"/>
              <a:gd name="connsiteY0" fmla="*/ 0 h 323850"/>
              <a:gd name="connsiteX1" fmla="*/ 52387 w 59531"/>
              <a:gd name="connsiteY1" fmla="*/ 59531 h 323850"/>
              <a:gd name="connsiteX2" fmla="*/ 47625 w 59531"/>
              <a:gd name="connsiteY2" fmla="*/ 111919 h 323850"/>
              <a:gd name="connsiteX3" fmla="*/ 42862 w 59531"/>
              <a:gd name="connsiteY3" fmla="*/ 180975 h 323850"/>
              <a:gd name="connsiteX4" fmla="*/ 26194 w 59531"/>
              <a:gd name="connsiteY4" fmla="*/ 216694 h 323850"/>
              <a:gd name="connsiteX5" fmla="*/ 11906 w 59531"/>
              <a:gd name="connsiteY5" fmla="*/ 278606 h 323850"/>
              <a:gd name="connsiteX6" fmla="*/ 0 w 59531"/>
              <a:gd name="connsiteY6" fmla="*/ 32385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31" h="323850">
                <a:moveTo>
                  <a:pt x="59531" y="0"/>
                </a:moveTo>
                <a:cubicBezTo>
                  <a:pt x="56951" y="20439"/>
                  <a:pt x="54371" y="40878"/>
                  <a:pt x="52387" y="59531"/>
                </a:cubicBezTo>
                <a:cubicBezTo>
                  <a:pt x="50403" y="78184"/>
                  <a:pt x="49212" y="91678"/>
                  <a:pt x="47625" y="111919"/>
                </a:cubicBezTo>
                <a:cubicBezTo>
                  <a:pt x="46038" y="132160"/>
                  <a:pt x="46434" y="163513"/>
                  <a:pt x="42862" y="180975"/>
                </a:cubicBezTo>
                <a:cubicBezTo>
                  <a:pt x="39290" y="198438"/>
                  <a:pt x="31353" y="200422"/>
                  <a:pt x="26194" y="216694"/>
                </a:cubicBezTo>
                <a:cubicBezTo>
                  <a:pt x="21035" y="232966"/>
                  <a:pt x="16272" y="260747"/>
                  <a:pt x="11906" y="278606"/>
                </a:cubicBezTo>
                <a:cubicBezTo>
                  <a:pt x="7540" y="296465"/>
                  <a:pt x="3770" y="310157"/>
                  <a:pt x="0" y="323850"/>
                </a:cubicBez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3149060" y="4001133"/>
            <a:ext cx="60694" cy="312113"/>
          </a:xfrm>
          <a:custGeom>
            <a:avLst/>
            <a:gdLst>
              <a:gd name="connsiteX0" fmla="*/ 59531 w 59531"/>
              <a:gd name="connsiteY0" fmla="*/ 0 h 323850"/>
              <a:gd name="connsiteX1" fmla="*/ 52387 w 59531"/>
              <a:gd name="connsiteY1" fmla="*/ 59531 h 323850"/>
              <a:gd name="connsiteX2" fmla="*/ 47625 w 59531"/>
              <a:gd name="connsiteY2" fmla="*/ 111919 h 323850"/>
              <a:gd name="connsiteX3" fmla="*/ 42862 w 59531"/>
              <a:gd name="connsiteY3" fmla="*/ 180975 h 323850"/>
              <a:gd name="connsiteX4" fmla="*/ 26194 w 59531"/>
              <a:gd name="connsiteY4" fmla="*/ 216694 h 323850"/>
              <a:gd name="connsiteX5" fmla="*/ 11906 w 59531"/>
              <a:gd name="connsiteY5" fmla="*/ 278606 h 323850"/>
              <a:gd name="connsiteX6" fmla="*/ 0 w 59531"/>
              <a:gd name="connsiteY6" fmla="*/ 32385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31" h="323850">
                <a:moveTo>
                  <a:pt x="59531" y="0"/>
                </a:moveTo>
                <a:cubicBezTo>
                  <a:pt x="56951" y="20439"/>
                  <a:pt x="54371" y="40878"/>
                  <a:pt x="52387" y="59531"/>
                </a:cubicBezTo>
                <a:cubicBezTo>
                  <a:pt x="50403" y="78184"/>
                  <a:pt x="49212" y="91678"/>
                  <a:pt x="47625" y="111919"/>
                </a:cubicBezTo>
                <a:cubicBezTo>
                  <a:pt x="46038" y="132160"/>
                  <a:pt x="46434" y="163513"/>
                  <a:pt x="42862" y="180975"/>
                </a:cubicBezTo>
                <a:cubicBezTo>
                  <a:pt x="39290" y="198438"/>
                  <a:pt x="31353" y="200422"/>
                  <a:pt x="26194" y="216694"/>
                </a:cubicBezTo>
                <a:cubicBezTo>
                  <a:pt x="21035" y="232966"/>
                  <a:pt x="16272" y="260747"/>
                  <a:pt x="11906" y="278606"/>
                </a:cubicBezTo>
                <a:cubicBezTo>
                  <a:pt x="7540" y="296465"/>
                  <a:pt x="3770" y="310157"/>
                  <a:pt x="0" y="323850"/>
                </a:cubicBez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39" name="Блок-схема: узел 38"/>
          <p:cNvSpPr/>
          <p:nvPr/>
        </p:nvSpPr>
        <p:spPr bwMode="auto">
          <a:xfrm>
            <a:off x="3156555" y="3918842"/>
            <a:ext cx="80926" cy="85678"/>
          </a:xfrm>
          <a:prstGeom prst="flowChartConnector">
            <a:avLst/>
          </a:prstGeom>
          <a:solidFill>
            <a:srgbClr val="00B050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396" tIns="45700" rIns="91396" bIns="45700" anchor="ctr"/>
          <a:lstStyle/>
          <a:p>
            <a:pPr algn="ctr" defTabSz="914400">
              <a:defRPr/>
            </a:pPr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40" name="Овал 39"/>
          <p:cNvSpPr/>
          <p:nvPr/>
        </p:nvSpPr>
        <p:spPr bwMode="auto">
          <a:xfrm>
            <a:off x="3180704" y="2629866"/>
            <a:ext cx="932269" cy="881260"/>
          </a:xfrm>
          <a:prstGeom prst="ellipse">
            <a:avLst/>
          </a:prstGeom>
          <a:noFill/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just" defTabSz="914400" eaLnBrk="0" hangingPunct="0"/>
            <a:endParaRPr lang="ru-RU" sz="1600" dirty="0" smtClean="0">
              <a:solidFill>
                <a:prstClr val="black"/>
              </a:solidFill>
            </a:endParaRPr>
          </a:p>
        </p:txBody>
      </p:sp>
      <p:grpSp>
        <p:nvGrpSpPr>
          <p:cNvPr id="41" name="Группа 40"/>
          <p:cNvGrpSpPr/>
          <p:nvPr/>
        </p:nvGrpSpPr>
        <p:grpSpPr>
          <a:xfrm>
            <a:off x="2983731" y="2051891"/>
            <a:ext cx="2168895" cy="1266197"/>
            <a:chOff x="3571215" y="1520310"/>
            <a:chExt cx="2196606" cy="1352614"/>
          </a:xfrm>
        </p:grpSpPr>
        <p:sp>
          <p:nvSpPr>
            <p:cNvPr id="42" name="Rectangle 29"/>
            <p:cNvSpPr>
              <a:spLocks noChangeArrowheads="1"/>
            </p:cNvSpPr>
            <p:nvPr/>
          </p:nvSpPr>
          <p:spPr bwMode="auto">
            <a:xfrm>
              <a:off x="3910177" y="1520310"/>
              <a:ext cx="1857644" cy="315913"/>
            </a:xfrm>
            <a:prstGeom prst="rect">
              <a:avLst/>
            </a:prstGeom>
            <a:solidFill>
              <a:srgbClr val="80808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000" rIns="18000" anchor="ctr"/>
            <a:lstStyle/>
            <a:p>
              <a:pPr marL="0" lvl="1" algn="ctr">
                <a:lnSpc>
                  <a:spcPct val="85000"/>
                </a:lnSpc>
                <a:spcBef>
                  <a:spcPct val="20000"/>
                </a:spcBef>
              </a:pPr>
              <a:r>
                <a:rPr lang="ru-RU" sz="1400" b="1" dirty="0" err="1">
                  <a:solidFill>
                    <a:prstClr val="white"/>
                  </a:solidFill>
                  <a:cs typeface="Lucida Sans" pitchFamily="34" charset="0"/>
                </a:rPr>
                <a:t>Қорғас</a:t>
              </a:r>
              <a:r>
                <a:rPr lang="en-US" sz="1400" b="1" dirty="0">
                  <a:solidFill>
                    <a:prstClr val="white"/>
                  </a:solidFill>
                  <a:cs typeface="Lucida Sans" pitchFamily="34" charset="0"/>
                </a:rPr>
                <a:t>-</a:t>
              </a:r>
              <a:r>
                <a:rPr lang="ru-RU" sz="1400" b="1" dirty="0" err="1">
                  <a:solidFill>
                    <a:prstClr val="white"/>
                  </a:solidFill>
                  <a:cs typeface="Lucida Sans" pitchFamily="34" charset="0"/>
                </a:rPr>
                <a:t>Алматы</a:t>
              </a:r>
              <a:endParaRPr lang="en-US" sz="1400" b="1" dirty="0">
                <a:solidFill>
                  <a:prstClr val="white"/>
                </a:solidFill>
                <a:cs typeface="Lucida Sans" pitchFamily="34" charset="0"/>
              </a:endParaRPr>
            </a:p>
          </p:txBody>
        </p:sp>
        <p:sp>
          <p:nvSpPr>
            <p:cNvPr id="43" name="Oval 30"/>
            <p:cNvSpPr>
              <a:spLocks noChangeArrowheads="1"/>
            </p:cNvSpPr>
            <p:nvPr/>
          </p:nvSpPr>
          <p:spPr bwMode="gray">
            <a:xfrm>
              <a:off x="3571215" y="1520310"/>
              <a:ext cx="329862" cy="31591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457200" indent="-45720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50" b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1</a:t>
              </a:r>
            </a:p>
          </p:txBody>
        </p:sp>
        <p:sp>
          <p:nvSpPr>
            <p:cNvPr id="44" name="AutoShape 33"/>
            <p:cNvSpPr>
              <a:spLocks noChangeArrowheads="1"/>
            </p:cNvSpPr>
            <p:nvPr/>
          </p:nvSpPr>
          <p:spPr bwMode="auto">
            <a:xfrm>
              <a:off x="3571215" y="1856435"/>
              <a:ext cx="2196606" cy="1016489"/>
            </a:xfrm>
            <a:prstGeom prst="wedgeRectCallout">
              <a:avLst>
                <a:gd name="adj1" fmla="val -724"/>
                <a:gd name="adj2" fmla="val 88446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000" tIns="36000" rIns="18000" bIns="36000" anchor="ctr"/>
            <a:lstStyle/>
            <a:p>
              <a:pPr marL="0" lvl="1"/>
              <a:r>
                <a:rPr lang="kk-KZ" sz="1300" b="1" dirty="0" smtClean="0">
                  <a:solidFill>
                    <a:prstClr val="white"/>
                  </a:solidFill>
                  <a:cs typeface="Lucida Sans" pitchFamily="34" charset="0"/>
                </a:rPr>
                <a:t>Қытай,</a:t>
              </a:r>
              <a:r>
                <a:rPr lang="kk-KZ" sz="1300" b="1" dirty="0">
                  <a:solidFill>
                    <a:prstClr val="white"/>
                  </a:solidFill>
                  <a:cs typeface="Lucida Sans" pitchFamily="34" charset="0"/>
                </a:rPr>
                <a:t> </a:t>
              </a:r>
              <a:r>
                <a:rPr lang="kk-KZ" sz="1300" b="1" dirty="0" smtClean="0">
                  <a:solidFill>
                    <a:prstClr val="white"/>
                  </a:solidFill>
                  <a:cs typeface="Lucida Sans" pitchFamily="34" charset="0"/>
                </a:rPr>
                <a:t>Қазақстан </a:t>
              </a:r>
              <a:r>
                <a:rPr lang="kk-KZ" sz="1300" b="1" dirty="0">
                  <a:solidFill>
                    <a:prstClr val="white"/>
                  </a:solidFill>
                  <a:cs typeface="Lucida Sans" pitchFamily="34" charset="0"/>
                </a:rPr>
                <a:t>және </a:t>
              </a:r>
              <a:r>
                <a:rPr lang="kk-KZ" sz="1300" b="1" dirty="0" smtClean="0">
                  <a:solidFill>
                    <a:prstClr val="white"/>
                  </a:solidFill>
                  <a:cs typeface="Lucida Sans" pitchFamily="34" charset="0"/>
                </a:rPr>
                <a:t>ОАМ,</a:t>
              </a:r>
              <a:endParaRPr lang="kk-KZ" sz="1300" b="1" dirty="0">
                <a:solidFill>
                  <a:prstClr val="white"/>
                </a:solidFill>
                <a:cs typeface="Lucida Sans" pitchFamily="34" charset="0"/>
              </a:endParaRPr>
            </a:p>
            <a:p>
              <a:pPr marL="0" lvl="1"/>
              <a:r>
                <a:rPr lang="kk-KZ" sz="1300" b="1" dirty="0" smtClean="0">
                  <a:solidFill>
                    <a:prstClr val="white"/>
                  </a:solidFill>
                  <a:cs typeface="Lucida Sans" pitchFamily="34" charset="0"/>
                </a:rPr>
                <a:t>Иран, Ресей </a:t>
              </a:r>
              <a:r>
                <a:rPr lang="kk-KZ" sz="1300" b="1" dirty="0">
                  <a:solidFill>
                    <a:prstClr val="white"/>
                  </a:solidFill>
                  <a:cs typeface="Lucida Sans" pitchFamily="34" charset="0"/>
                </a:rPr>
                <a:t>арасындағы трафиктке қызмет көрсетеді</a:t>
              </a:r>
              <a:endParaRPr lang="ru-RU" sz="1300" b="1" dirty="0">
                <a:solidFill>
                  <a:prstClr val="white"/>
                </a:solidFill>
                <a:cs typeface="Lucida Sans" pitchFamily="34" charset="0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06903" y="2348884"/>
            <a:ext cx="1728793" cy="1494655"/>
            <a:chOff x="115809" y="2348880"/>
            <a:chExt cx="2024924" cy="1433727"/>
          </a:xfrm>
        </p:grpSpPr>
        <p:sp>
          <p:nvSpPr>
            <p:cNvPr id="46" name="Rectangle 29"/>
            <p:cNvSpPr>
              <a:spLocks noChangeArrowheads="1"/>
            </p:cNvSpPr>
            <p:nvPr/>
          </p:nvSpPr>
          <p:spPr bwMode="auto">
            <a:xfrm>
              <a:off x="435326" y="2348880"/>
              <a:ext cx="1672113" cy="369612"/>
            </a:xfrm>
            <a:prstGeom prst="rect">
              <a:avLst/>
            </a:prstGeom>
            <a:solidFill>
              <a:srgbClr val="80808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000" rIns="18000" anchor="ctr"/>
            <a:lstStyle/>
            <a:p>
              <a:pPr marL="0" lvl="1" algn="ctr">
                <a:lnSpc>
                  <a:spcPct val="85000"/>
                </a:lnSpc>
                <a:spcBef>
                  <a:spcPct val="20000"/>
                </a:spcBef>
              </a:pPr>
              <a:r>
                <a:rPr lang="ru-RU" sz="1200" b="1" dirty="0">
                  <a:solidFill>
                    <a:prstClr val="white"/>
                  </a:solidFill>
                  <a:cs typeface="Lucida Sans" pitchFamily="34" charset="0"/>
                </a:rPr>
                <a:t>Шымкент- РФ </a:t>
              </a:r>
              <a:r>
                <a:rPr lang="ru-RU" sz="1200" b="1" dirty="0" err="1">
                  <a:solidFill>
                    <a:prstClr val="white"/>
                  </a:solidFill>
                  <a:cs typeface="Lucida Sans" pitchFamily="34" charset="0"/>
                </a:rPr>
                <a:t>шек</a:t>
              </a:r>
              <a:r>
                <a:rPr lang="ru-RU" sz="1200" b="1" dirty="0">
                  <a:solidFill>
                    <a:prstClr val="white"/>
                  </a:solidFill>
                  <a:cs typeface="Lucida Sans" pitchFamily="34" charset="0"/>
                </a:rPr>
                <a:t>.</a:t>
              </a:r>
              <a:endParaRPr lang="en-US" sz="1200" b="1" dirty="0">
                <a:solidFill>
                  <a:prstClr val="white"/>
                </a:solidFill>
                <a:cs typeface="Lucida Sans" pitchFamily="34" charset="0"/>
              </a:endParaRPr>
            </a:p>
          </p:txBody>
        </p:sp>
        <p:sp>
          <p:nvSpPr>
            <p:cNvPr id="47" name="Oval 30"/>
            <p:cNvSpPr>
              <a:spLocks noChangeArrowheads="1"/>
            </p:cNvSpPr>
            <p:nvPr/>
          </p:nvSpPr>
          <p:spPr bwMode="gray">
            <a:xfrm>
              <a:off x="115809" y="2348880"/>
              <a:ext cx="319233" cy="36961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457200" indent="-457200" algn="ctr" defTabSz="914400" eaLnBrk="0" hangingPunct="0"/>
              <a:r>
                <a:rPr lang="en-US" sz="1350" b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3</a:t>
              </a:r>
            </a:p>
          </p:txBody>
        </p:sp>
        <p:sp>
          <p:nvSpPr>
            <p:cNvPr id="48" name="AutoShape 31"/>
            <p:cNvSpPr>
              <a:spLocks noChangeArrowheads="1"/>
            </p:cNvSpPr>
            <p:nvPr/>
          </p:nvSpPr>
          <p:spPr bwMode="auto">
            <a:xfrm>
              <a:off x="116092" y="2738006"/>
              <a:ext cx="2024641" cy="1044601"/>
            </a:xfrm>
            <a:prstGeom prst="wedgeRectCallout">
              <a:avLst>
                <a:gd name="adj1" fmla="val 89027"/>
                <a:gd name="adj2" fmla="val -8604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000" tIns="36000" rIns="18000" bIns="36000" anchor="ctr"/>
            <a:lstStyle/>
            <a:p>
              <a:pPr marL="0" lvl="1" defTabSz="914400"/>
              <a:r>
                <a:rPr lang="kk-KZ" sz="1300" b="1" dirty="0" smtClean="0">
                  <a:solidFill>
                    <a:prstClr val="white"/>
                  </a:solidFill>
                  <a:cs typeface="Lucida Sans" pitchFamily="34" charset="0"/>
                </a:rPr>
                <a:t>Ресей,</a:t>
              </a:r>
            </a:p>
            <a:p>
              <a:pPr marL="0" lvl="1" defTabSz="914400"/>
              <a:r>
                <a:rPr lang="kk-KZ" sz="1300" b="1" dirty="0" smtClean="0">
                  <a:solidFill>
                    <a:prstClr val="white"/>
                  </a:solidFill>
                  <a:cs typeface="Lucida Sans" pitchFamily="34" charset="0"/>
                </a:rPr>
                <a:t>Қазақстан,</a:t>
              </a:r>
            </a:p>
            <a:p>
              <a:pPr marL="0" lvl="1" defTabSz="914400"/>
              <a:r>
                <a:rPr lang="kk-KZ" sz="1300" b="1" dirty="0" smtClean="0">
                  <a:solidFill>
                    <a:prstClr val="white"/>
                  </a:solidFill>
                  <a:cs typeface="Lucida Sans" pitchFamily="34" charset="0"/>
                </a:rPr>
                <a:t>Қытай арасындағы трафикке қызмет көрсетеді </a:t>
              </a:r>
              <a:endParaRPr lang="ru-RU" sz="1300" b="1" dirty="0" smtClean="0">
                <a:solidFill>
                  <a:prstClr val="white"/>
                </a:solidFill>
                <a:cs typeface="Lucida Sans" pitchFamily="34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188360" y="3872075"/>
            <a:ext cx="2493062" cy="1356491"/>
            <a:chOff x="297036" y="3800701"/>
            <a:chExt cx="2700818" cy="1428500"/>
          </a:xfrm>
        </p:grpSpPr>
        <p:sp>
          <p:nvSpPr>
            <p:cNvPr id="45" name="AutoShape 32"/>
            <p:cNvSpPr>
              <a:spLocks noChangeArrowheads="1"/>
            </p:cNvSpPr>
            <p:nvPr/>
          </p:nvSpPr>
          <p:spPr bwMode="auto">
            <a:xfrm>
              <a:off x="297036" y="4203022"/>
              <a:ext cx="2700818" cy="1026179"/>
            </a:xfrm>
            <a:prstGeom prst="wedgeRectCallout">
              <a:avLst>
                <a:gd name="adj1" fmla="val 69109"/>
                <a:gd name="adj2" fmla="val -65869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000" tIns="36000" rIns="18000" bIns="36000" anchor="ctr"/>
            <a:lstStyle/>
            <a:p>
              <a:pPr marL="0" lvl="1" defTabSz="914400"/>
              <a:r>
                <a:rPr lang="kk-KZ" sz="1300" b="1" dirty="0">
                  <a:solidFill>
                    <a:prstClr val="white"/>
                  </a:solidFill>
                  <a:cs typeface="Lucida Sans" pitchFamily="34" charset="0"/>
                </a:rPr>
                <a:t>Қытай және Иран, ОАМ және</a:t>
              </a:r>
            </a:p>
            <a:p>
              <a:pPr marL="0" lvl="1" defTabSz="914400"/>
              <a:r>
                <a:rPr lang="kk-KZ" sz="1300" b="1" dirty="0" smtClean="0">
                  <a:solidFill>
                    <a:prstClr val="white"/>
                  </a:solidFill>
                  <a:cs typeface="Lucida Sans" pitchFamily="34" charset="0"/>
                </a:rPr>
                <a:t>Ресей, Қазақстан</a:t>
              </a:r>
              <a:r>
                <a:rPr lang="kk-KZ" sz="1300" b="1" dirty="0">
                  <a:solidFill>
                    <a:prstClr val="white"/>
                  </a:solidFill>
                  <a:cs typeface="Lucida Sans" pitchFamily="34" charset="0"/>
                </a:rPr>
                <a:t>, ОАМ және Ресей арасындағы  трафиктке қызмет көрсетеді</a:t>
              </a:r>
              <a:endParaRPr lang="ru-RU" sz="1300" b="1" dirty="0">
                <a:solidFill>
                  <a:prstClr val="white"/>
                </a:solidFill>
                <a:cs typeface="Lucida Sans" pitchFamily="34" charset="0"/>
              </a:endParaRPr>
            </a:p>
          </p:txBody>
        </p:sp>
        <p:sp>
          <p:nvSpPr>
            <p:cNvPr id="49" name="Oval 30"/>
            <p:cNvSpPr>
              <a:spLocks noChangeArrowheads="1"/>
            </p:cNvSpPr>
            <p:nvPr/>
          </p:nvSpPr>
          <p:spPr bwMode="gray">
            <a:xfrm>
              <a:off x="298310" y="3843241"/>
              <a:ext cx="416343" cy="34468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457200" indent="-457200" algn="ctr" defTabSz="914400" eaLnBrk="0" hangingPunct="0"/>
              <a:r>
                <a:rPr lang="en-US" sz="1350" b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2</a:t>
              </a:r>
            </a:p>
          </p:txBody>
        </p:sp>
        <p:sp>
          <p:nvSpPr>
            <p:cNvPr id="50" name="Rectangle 29"/>
            <p:cNvSpPr>
              <a:spLocks noChangeArrowheads="1"/>
            </p:cNvSpPr>
            <p:nvPr/>
          </p:nvSpPr>
          <p:spPr bwMode="auto">
            <a:xfrm>
              <a:off x="690852" y="3800701"/>
              <a:ext cx="2307002" cy="386854"/>
            </a:xfrm>
            <a:prstGeom prst="rect">
              <a:avLst/>
            </a:prstGeom>
            <a:solidFill>
              <a:srgbClr val="80808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000" rIns="18000" anchor="ctr"/>
            <a:lstStyle/>
            <a:p>
              <a:pPr marL="0" lvl="1" algn="ctr">
                <a:lnSpc>
                  <a:spcPct val="85000"/>
                </a:lnSpc>
                <a:spcBef>
                  <a:spcPct val="20000"/>
                </a:spcBef>
              </a:pPr>
              <a:r>
                <a:rPr lang="ru-RU" sz="1200" b="1" dirty="0">
                  <a:solidFill>
                    <a:prstClr val="white"/>
                  </a:solidFill>
                  <a:cs typeface="Lucida Sans" pitchFamily="34" charset="0"/>
                </a:rPr>
                <a:t>Алматы-Шымкент-Ташкент</a:t>
              </a:r>
            </a:p>
          </p:txBody>
        </p:sp>
      </p:grpSp>
      <p:sp>
        <p:nvSpPr>
          <p:cNvPr id="51" name="AutoShape 8" descr="data:image/jpeg;base64,/9j/4AAQSkZJRgABAQAAAQABAAD/2wCEAAkGBhQSERQUEhQVFRUUFxQWFBQXFhYVFBUXFBQVFxoYFRUYHSYgGBojGhQYHy8gIycpLSwsFx4xNTAqNSYrLCkBCQoKDgwOGg8PGiwkHiQvLzUtKiwsLC0pLyo1LykwNCwpKSwsLCkpLCwsLCwsLCksLCkvKSopLC0pLCwsKSkpLP/AABEIAPMA0AMBIgACEQEDEQH/xAAbAAEAAQUBAAAAAAAAAAAAAAAAAgEDBAUGB//EAEUQAAEDAQQGBgcGBAQHAQAAAAEAAgMRBAUhMQYSE0FRYSJxgZGh8CMyUmKxwdEHFEJyguFDkqKyFWOTwhckJVODs/EW/8QAGQEBAAMBAQAAAAAAAAAAAAAAAAIDBAUB/8QALhEBAAICAAUCBAYCAwAAAAAAAAECAxEEEiEx8BNBIlGx0WFxgZGh4RRSIzIz/9oADAMBAAIRAxEAPwD3FERAREQEREBERAREQEREBERAREQEREBERAREQEREBERBQOqqrHMZQxHyUF8FAarGEZyp9N/7KezPkoL6LH2R4K+wYBBVERAREQULlVWZIySotYfOCC+Shcscwnh8EbGTu7/OKDJRY5iPkqTIzUILyIiAiIgKgKOGCsGMoMhUBVnZnyVDZEbvhXwQZIcqqxsj5PnuVNkeCDIREQEREBERAREQEUNfhj8O9WLVbGRisrw3lWleoZleTMR3GS54GZUdp19xWhk0sZWkMbnnqp9T4KzJfNrP8NkY98hp/qcPgqpz09uqHqQ6XX5Hw+qpr8j4LlDeto32iAdrT8GlG3zaB/Hgd+pg+ICh/k1R9WHV7UdXXgpArm4tILQPWha8cYzX+0uWTZtJ4HGjqxu5j5j50U4zUn3/AHSi9W8RWo5KirSHA5Go8CMCptfX6K5NJERAREQEREBERAREQEREBEVHOogOdRWZ5g1pc8hrRnXDv+itW+3thYZJD1DeTwHErlJ5nWj0s5LIgegwZu/L83Hs5U5MsU6e6Fr6Z9p0hkmJZZm6rRnIaCg444NHXitW9sTTV5M795JIZ3+s7wVu1XgXDVaAxgyYMus8TzKwXSLl5M82nz6Mtr7Z0t6vpRpDG+ywBg8M+1YD5Vbc9W3PWa1pnuqm203PVtz1bc9Qc5QR2ntKGowPEYHvWU2+5Mn0lHCQax7H+sOwrXFygXL2LTHZ5EzHZ0V33o0GsMhhf7DzWN36936h2rp7DpEHHZ2huzk3HJprkQd1e48VwTLktDhUQyEfkPzVLJexYNnKC+MEjVOD2HfsyfVPI4HeN614+Ivj7/15+S+uWa93rGtTPLj9VNcfc1/7IND3bSB2DJN7D7LxupvHaKhdWx2RBq05HPPnwXWx5IvHRsraLLqIisSEREBERBRrqqpKxzCVUwHkgvBwKNdVY+xPAfLf+ykYTy89iC8CrFotDWNdI80a0Vr8/kFF8Jywx+HnBczpDajPM2ysNGsxkduFBUk8mjxKryX5K7RtblhjSWj7y4zzVETDRkftHPVHxcfIwbZbjI6ruoAZNAyAG4JeFtDiGswjYNWMcuJ5k4lYTnri5cnNOvJYbW2m56tOeoOep2Oyume1jBVzu4cSeQVHWZ1CHdSNjnuDWguccgBUldDYdB3uxleGe63pO7TkPFZ8ghu+LHpPcOWu87/ytHmpz5e8NI5JcyQ3HoDBufeTTitnp48X/p1n5LeWtP8At3+TpXaM2JmD5Mfela3wFFE6K2OTCOU192Rr/DFcV95A3Y8cO/r84q3t6DDOgxwwOFaLz1sX+kHqU/1hvb+0SfZ264e1zKgY9F9TkA3f2dy6LRLRgQtEso9K7EA/wxw/NxO7LjXC0Uu+SYCWUuLGn0LHGorkXCuJGFBXmt7fF4izs1iNZxOrGwes95wAHLzyWrDhxx/y61Ht9/stpSsfGw9LtJRZ2ajD6V4w9we0efD9l5k5yv3jaJHyvdLXaFx164EEYUpupSlOSxS5c/iM05bb9mXLkm8s27ryMTjhrMdhIzc4cuDhmDu7wu30dvcRlsbna0MuMLzuqfVdwNcCNx5FedVWzuS2AkwvNGyHouP4JMmu5A+qeRB3L3BlmlnuO81l66w0w7lIOWl0evIzRFj8JYjqurnUYAnroQeYK2QjNAf/AL589XdraLRuHRidxtkqgeFZ2J5KJhPnqUnrIDvBKqzsTy89ibE8kF9ERARFF7qAoMO8reIYpJT+EdHmcgO1xXCRSFkBeT6S0E479m04n9T/AO1bvTu0HVhgbm91acaUa3vLvBc9fEw2pa31YwI29UYpXtNT2rmcXk66880y5rdWM56tl6g56gXrmMm03OXZ6K2Ztnsz7TJm4E8wwZAcyfkuHGJAGZNB1ldvpxJsrLHE3Ilo/TG366q1cN8PNk+UfyuxdN2+Tj7zvJ08jpHnE7tzRuA5BYZcol2Q3nADeTwA3lX7wum0QxiR8LmsJA1nUwrlVoNR20Wb4rbnup6z1Y5ctno3cptUwb+BtDIRuHAczl3ncufjD5HBralziA1o3kmgC9j0auJtkgawULj0pHe0459gyHUtHC4PVt17Qsw055/BnSysgiJNGRxt7GtaF5k7TcutrJ3trG0lrWnEsYcC4e/v8FkfaBpNtX7CM+jjPTI/G8bupvx6guOoruK4nduWnaPqlmzddV9ndfaNdgBZaY6Uko15GRNKtd2gEdgXFCVehw+nuU1xLI3Ur/kOJH9LQvOVTxNY5ovHvG0M0deaPdLaprqCqsqh3FwXxSSGcn1/Qz/nbSjj1tLHdYevQW4Ejjj9V47cT6tmi9pm0b+aGrv/AFmTwXqdy23a2eGTeQA7rHRPiF2eDyc0adDBbcNkiItzSIiICIiAoSbuseGPyU1B+Y7fgg4m/Z9a82VyhYHfyMfL9Fy7pK/Nbq9JP+eth9mKQd8cbf8AcufLlwuJndv1lz8s9Ui5QLlEuUHvpiVlUL9nko9pOQc0nsIXXfae8tZAR7TxXgSGkfArz2acu5BekXoz79dTXtxexrX0368YLXjtGt4LXg+LHenv9l2PrW1Wl+zQsdaZC4AvEdWE7ukA7V4GhHivQL2u8TwSRH8bSK8DuPYaHsXkOi947C1RSE0brarvyv6J7q17F7UtvBTFsc1aOHmJppwugOibo3OnnYWuaSyNpGI3Of8AIcqneFstOdJfu8WzjPpZAaEZsbkXde4dp3LfXneLIInyvNGsFeZO4DmTgvF70vJ9olfK/Nxy3NG5o5AKOa0cPj9OneUckxiry17sSikAgClFEXuDWirnEADiSaAd65LC9E0f6Nzyk72Wk9+s34rzii9J0rIsl2ss4PScGx9dKOee0j+pecUWviunLT5QvzdNV+UKUSilRKLIoZ1wyatphJyL2tP5X9A+DivQtBpD93kjOccjx4A/Gq8zgdRzSNxB7iF6XoefTW5vCY+LpPot/BT8WvPOjVw89XUgqqjHkOoKS7DeIiIINlBVTIOIVowlVMB4oJiUUrVRMgwPM/AqAgNfn3pJDkeY+PwxQee3rhb7WPaikp/otf8A7Vzpcut0lGzvKGuUzWtJrh0y6M4caEdi5CQEEg4EEgjgQcVwuKrq36y52aNSo+Siw5JC4qsslTyUFlUKUXW6BaSCCQwyH0chFDua/LsBwHWBzXJqTHUIPAg9xqrMd5paLQlS01ncOp0z0UML3TRN9E41cB/DJz/SfDLgthdX2kbOFjZYnPc0auu1w6QbTEg76ELG0e04DPR2gFzMg/1nNB3O9obuIHFbyfROz2lu0s0gFTXoHWZU7tWvR6sFvrG5m+Ce/eGqsbnmxz+jk9KtLXWzVaG6kbcdWtS45Vd1DIcytBq76LsptALUD0TG4VqOm4HfnVuI5K5D9n9ocRrujaBwc5x/F7oFceIyVFsGW9t2idqpx3tO5cUWnPiu80K0ZEX/ADNoo0gEsa7DVFMXurkaZDdWvBbBlz2SwgPmeHPA6Jfi7DeyMZu5404hctpDpg60dFoLIgagVo51Mi+nVkpxjpgnmvPX2j7pRSuPrbv8mLpVfv3qcuFdm3oxjl7RHEnHu4LTqcr9Y1VA1Yr2m1pmWe07ncoqoaphqkGqDxWyxaz2ji5o7yAvRNDHVltr9zpjTnR0n1XE3KwbdhOTCZHdUQMh/tXbaDQk2MvNayPecTUnJufWCujwUfFvzzq1cPHV1UbxQYjIIJQd6gITx8/NRMB89S67cvCQJtBxVvY9Xn5psTxQXkREBUe2oIVUQcV9pViLrPHM3OJ1CeAfQV7HBveuMv5+s8SDKdol7XYPHZIHjsXrl4WBs0UkTvVkaR1V3jmDivI22Zxjls7x6WzOe9o4swErR1UbIOWuuZxmPrv5/WP6Y89WrSirRVouWxI0VaLZXNcUlpcQzVAaKve40Y0cz2HuKzLfoo5kRljlinY31zG6pb1jgpxjtMc0R0SikzG2ior9mtDozrMc5h3FpLT3jcsu8rmdA2FznNImZrtArgKNNHVHvblW9LlfA2JznNO2ZrtpWoFGmhqM+luTltXf4HLMMmHTO2NFBMT+ZrHeJaoz6XWt+c7x+XVZ/aAl7aLy2eOOR5aQ/CgrVpIrR1Rnn3FWrbcroooZCWkTAuaBWopT1qj3lZa2aNxMz0/FOZyR0mZYD3FxLiSScySSe8qgatrd1wulifKHsa1jmtOsSPWLRXKlBrLaDQklpeLRZ9UGhdrnVB4VpTeoRivbrEPIpaezmA1SDVuLfo26KLaiSORgdqOLCTqnnUZZd4Vu23I6GKOR5aDLi2PHXA4nCgGXevJx2jvDzkmGtDVINUg1TZGSQAKk4ADMk7gq3i8w6lnlfvk1YGDiXkOfT9LQP/IF6lc9g2MEMXsNGt1gVJ/mK4e4ru29tjjGMViGs8jJ0xNT/WAByi5r0VmJJ7B2LtcJj5Y3559m/BXUbTREW5oEREBERAREQReN4zC4P7QLodG9lug9ZhbtMK5YNcRvFOi7kRzXfKzLECC1wBa4EEHEY4EEcCq8lOeukbV5o08Yt9naQ2WIeikrQZ7Nw9aI821w4tIPFYlFv79uY3dK4Fpksc5oRvaRUihOUjcS0n1hUHetVa7DqUIIfG/GOQeq8dX4XDItOIK4WXHNZ8805t6TEt1chL7DaYo/XLmuIGbm9HAcfVd381kaO2V0EU8klBHJC4atca1IAc078/5lzlmlcwhzSWncQaeQst99TOBDpC4OBaQQCKHlSleaVyRGpnvD2LxGt+zZ6QxukgshaC4NiDSWgmhozh1HuWwtVl2ktijd/DiDnjgGhmB6y2i5qy3lLGKMe5o4ZjuOSoLdJVztd1XCjjXEjh1J6sd599fwc8OstUgtDLSzaskLztI2tJqzUAAGPUBhxK1t7xOkstkDWudqsNaAmlQzOnUtHZ5nMOswlp4hZMd6TAUEjgBkKr2cvN3867ezeJ7tnYGllhtLHAglzMCKH8O4qlmf/wBOkb/mg/2LWPt0jg4F7iHU1udMq9wUWzu1Syp1Salu6vHwUfU+mnnN9G30UtVHuiIBjlB1mnKrRUGnh3cFhX3bnTTPc7cS1o4NaSAPn2rGglcwhzSQRkRmhFanfmV5N5mnK85vh0thqydqYGCQCs0lWWdoxdU9EyU5Vo3i4+6UAZGzazYMFQ1oNHSuH4WcB7Ttw50C6XQ3R973/fbUKPIGwjpQRspRpDd2GDRuBrmVdgwza3n7/ZPHSZlu9FLh+6WdrP4j+lIfeIyrwaMPHet4BRRYN5zPgprt1rFY1DoRGo1AiIpPRERBBsoQyjioGDz5zVTBz8EFRMKKolHUrYgNc/OP18FLY8/BBIShSzVr7vz8FdaKBBi22xMlY6OVofG4UIPnA8CvM750fmu4uLWmexvNXNP4dwLiPUcMhIM8jwXq5CtOZhSlWnAg8PmOSpy4oyfmhekWePCytkaZLO4yNGLmGglj/OwZt99tR1ZLHDV2l+fZu1zttYX7CUGoaCQyvukYxnqqOQXK261Swu1bwszgf+/GA0u5mno5P6TxK5OXhpr50Yb4pqsNjJyClsjwPcVk2Z8T6bGeNxxo2Q7F+OYo86p7HFZElhmbiYngUI1tVxaQTucMFR6eoQ5WC2E8D3KrYydx7j4K7tCMCBhhjWtOGakypFGjMAGlScKLzVTULLYzwPdwUtnyPctgLDL6xj1BhVz/AEbMMsXkALDtF42eMUfMH0/BCDIf9RxDB1gu6lL03vKi2OuAzOQ3lXLVNHZzSQa8p9WztPSqctqR6n5R0jyzWRd1ittqws0X3SI5zPJ2rgeDyA4/oDRxK7DRzQuCx9IAyTb5HZiueqMmDx5lasPCzbr5/a2mKZanR3Q58jxarfTWAGzgoNSMDKrRgKbmbt9Su3aK4nsH1QM3n9gprq0pFI1DZWsVjoKAlCk4VVoweCmkubQcVQTBR2PNRNn4U7kFwShNqFHY8/BU2HPwQXkREBERAREQEVmSSixJbSUGc4D91blAIIcGuacwaY9YOBWqltjliyW1yCzeOgNgmx1NkTvjOoP5TVngtP8A8KizGzWyRnDD/cxzfgtq+3OVh1ucqZwY59lc46z7ML/8ReQyvAkc3y/A1VRoJeDvXvF4HJ0p8NYLL/xN/F38x+qf4i85kntK8/x6fj+8npVY0X2Uw1raLTJIf0tr2u1j4rorq0XsdnoYoWlw/G7pu7HPrTsWqjtrlkx25ylXDSvaHsUrHaHTDHfTq+qk0AZLQx2xyy4rUVam2qLFinKyWlBVERAREQEREBERAREQEREFC1WnWYFXkQYjrvBVl10hbFEGqdcoVs3CFuUQaX/AAguELdIg1DbjCuNucLZogwm3aArrbIAshEEGxgKaIgIiICIiAiIgtiYb8O9VMwUDBw893UqmDmgqJx+yCYb1EWfn5x+qlseaComCkCrew5lXGiiCqIiAiIgg+SibUI6KpUBB5+qCRnHMoZhuxVDZ+aNg4n9+tBIzBVEgUDBzVWw0NUFxERAREQCVbEw81UyFaMCCe1CoJwqbHmqGz8CgkJh53qu2CpseapsOaC6iIgIiICIiAiIgIiICIiAiIgIiICIiAiIgIiICIiAiIgIiICIiAiIgIiICIiAiIgIiICIiAiIgIiICIiAiIgIiI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52" name="AutoShape 10" descr="data:image/jpeg;base64,/9j/4AAQSkZJRgABAQAAAQABAAD/2wCEAAkGBhQSERQUEhQVFRUUFxQWFBQXFhYVFBUXFBQVFxoYFRUYHSYgGBojGhQYHy8gIycpLSwsFx4xNTAqNSYrLCkBCQoKDgwOGg8PGiwkHiQvLzUtKiwsLC0pLyo1LykwNCwpKSwsLCkpLCwsLCwsLCksLCkvKSopLC0pLCwsKSkpLP/AABEIAPMA0AMBIgACEQEDEQH/xAAbAAEAAQUBAAAAAAAAAAAAAAAAAgEDBAUGB//EAEUQAAEDAQQGBgcGBAQHAQAAAAEAAgMRBAUhMQYSE0FRYSJxgZGh8CMyUmKxwdEHFEJyguFDkqKyFWOTwhckJVODs/EW/8QAGQEBAAMBAQAAAAAAAAAAAAAAAAIDBAUB/8QALhEBAAICAAUCBAYCAwAAAAAAAAECAxEEEiEx8BNBIlGx0WFxgZGh4RRSIzIz/9oADAMBAAIRAxEAPwD3FERAREQEREBERAREQEREBERAREQEREBERAREQEREBERBQOqqrHMZQxHyUF8FAarGEZyp9N/7KezPkoL6LH2R4K+wYBBVERAREQULlVWZIySotYfOCC+Shcscwnh8EbGTu7/OKDJRY5iPkqTIzUILyIiAiIgKgKOGCsGMoMhUBVnZnyVDZEbvhXwQZIcqqxsj5PnuVNkeCDIREQEREBERAREQEUNfhj8O9WLVbGRisrw3lWleoZleTMR3GS54GZUdp19xWhk0sZWkMbnnqp9T4KzJfNrP8NkY98hp/qcPgqpz09uqHqQ6XX5Hw+qpr8j4LlDeto32iAdrT8GlG3zaB/Hgd+pg+ICh/k1R9WHV7UdXXgpArm4tILQPWha8cYzX+0uWTZtJ4HGjqxu5j5j50U4zUn3/AHSi9W8RWo5KirSHA5Go8CMCptfX6K5NJERAREQEREBERAREQEREBEVHOogOdRWZ5g1pc8hrRnXDv+itW+3thYZJD1DeTwHErlJ5nWj0s5LIgegwZu/L83Hs5U5MsU6e6Fr6Z9p0hkmJZZm6rRnIaCg444NHXitW9sTTV5M795JIZ3+s7wVu1XgXDVaAxgyYMus8TzKwXSLl5M82nz6Mtr7Z0t6vpRpDG+ywBg8M+1YD5Vbc9W3PWa1pnuqm203PVtz1bc9Qc5QR2ntKGowPEYHvWU2+5Mn0lHCQax7H+sOwrXFygXL2LTHZ5EzHZ0V33o0GsMhhf7DzWN36936h2rp7DpEHHZ2huzk3HJprkQd1e48VwTLktDhUQyEfkPzVLJexYNnKC+MEjVOD2HfsyfVPI4HeN614+Ivj7/15+S+uWa93rGtTPLj9VNcfc1/7IND3bSB2DJN7D7LxupvHaKhdWx2RBq05HPPnwXWx5IvHRsraLLqIisSEREBERBRrqqpKxzCVUwHkgvBwKNdVY+xPAfLf+ykYTy89iC8CrFotDWNdI80a0Vr8/kFF8Jywx+HnBczpDajPM2ysNGsxkduFBUk8mjxKryX5K7RtblhjSWj7y4zzVETDRkftHPVHxcfIwbZbjI6ruoAZNAyAG4JeFtDiGswjYNWMcuJ5k4lYTnri5cnNOvJYbW2m56tOeoOep2Oyume1jBVzu4cSeQVHWZ1CHdSNjnuDWguccgBUldDYdB3uxleGe63pO7TkPFZ8ghu+LHpPcOWu87/ytHmpz5e8NI5JcyQ3HoDBufeTTitnp48X/p1n5LeWtP8At3+TpXaM2JmD5Mfela3wFFE6K2OTCOU192Rr/DFcV95A3Y8cO/r84q3t6DDOgxwwOFaLz1sX+kHqU/1hvb+0SfZ264e1zKgY9F9TkA3f2dy6LRLRgQtEso9K7EA/wxw/NxO7LjXC0Uu+SYCWUuLGn0LHGorkXCuJGFBXmt7fF4izs1iNZxOrGwes95wAHLzyWrDhxx/y61Ht9/stpSsfGw9LtJRZ2ajD6V4w9we0efD9l5k5yv3jaJHyvdLXaFx164EEYUpupSlOSxS5c/iM05bb9mXLkm8s27ryMTjhrMdhIzc4cuDhmDu7wu30dvcRlsbna0MuMLzuqfVdwNcCNx5FedVWzuS2AkwvNGyHouP4JMmu5A+qeRB3L3BlmlnuO81l66w0w7lIOWl0evIzRFj8JYjqurnUYAnroQeYK2QjNAf/AL589XdraLRuHRidxtkqgeFZ2J5KJhPnqUnrIDvBKqzsTy89ibE8kF9ERARFF7qAoMO8reIYpJT+EdHmcgO1xXCRSFkBeT6S0E479m04n9T/AO1bvTu0HVhgbm91acaUa3vLvBc9fEw2pa31YwI29UYpXtNT2rmcXk66880y5rdWM56tl6g56gXrmMm03OXZ6K2Ztnsz7TJm4E8wwZAcyfkuHGJAGZNB1ldvpxJsrLHE3Ilo/TG366q1cN8PNk+UfyuxdN2+Tj7zvJ08jpHnE7tzRuA5BYZcol2Q3nADeTwA3lX7wum0QxiR8LmsJA1nUwrlVoNR20Wb4rbnup6z1Y5ctno3cptUwb+BtDIRuHAczl3ncufjD5HBralziA1o3kmgC9j0auJtkgawULj0pHe0459gyHUtHC4PVt17Qsw055/BnSysgiJNGRxt7GtaF5k7TcutrJ3trG0lrWnEsYcC4e/v8FkfaBpNtX7CM+jjPTI/G8bupvx6guOoruK4nduWnaPqlmzddV9ndfaNdgBZaY6Uko15GRNKtd2gEdgXFCVehw+nuU1xLI3Ur/kOJH9LQvOVTxNY5ovHvG0M0deaPdLaprqCqsqh3FwXxSSGcn1/Qz/nbSjj1tLHdYevQW4Ejjj9V47cT6tmi9pm0b+aGrv/AFmTwXqdy23a2eGTeQA7rHRPiF2eDyc0adDBbcNkiItzSIiICIiAoSbuseGPyU1B+Y7fgg4m/Z9a82VyhYHfyMfL9Fy7pK/Nbq9JP+eth9mKQd8cbf8AcufLlwuJndv1lz8s9Ui5QLlEuUHvpiVlUL9nko9pOQc0nsIXXfae8tZAR7TxXgSGkfArz2acu5BekXoz79dTXtxexrX0368YLXjtGt4LXg+LHenv9l2PrW1Wl+zQsdaZC4AvEdWE7ukA7V4GhHivQL2u8TwSRH8bSK8DuPYaHsXkOi947C1RSE0brarvyv6J7q17F7UtvBTFsc1aOHmJppwugOibo3OnnYWuaSyNpGI3Of8AIcqneFstOdJfu8WzjPpZAaEZsbkXde4dp3LfXneLIInyvNGsFeZO4DmTgvF70vJ9olfK/Nxy3NG5o5AKOa0cPj9OneUckxiry17sSikAgClFEXuDWirnEADiSaAd65LC9E0f6Nzyk72Wk9+s34rzii9J0rIsl2ss4PScGx9dKOee0j+pecUWviunLT5QvzdNV+UKUSilRKLIoZ1wyatphJyL2tP5X9A+DivQtBpD93kjOccjx4A/Gq8zgdRzSNxB7iF6XoefTW5vCY+LpPot/BT8WvPOjVw89XUgqqjHkOoKS7DeIiIINlBVTIOIVowlVMB4oJiUUrVRMgwPM/AqAgNfn3pJDkeY+PwxQee3rhb7WPaikp/otf8A7Vzpcut0lGzvKGuUzWtJrh0y6M4caEdi5CQEEg4EEgjgQcVwuKrq36y52aNSo+Siw5JC4qsslTyUFlUKUXW6BaSCCQwyH0chFDua/LsBwHWBzXJqTHUIPAg9xqrMd5paLQlS01ncOp0z0UML3TRN9E41cB/DJz/SfDLgthdX2kbOFjZYnPc0auu1w6QbTEg76ELG0e04DPR2gFzMg/1nNB3O9obuIHFbyfROz2lu0s0gFTXoHWZU7tWvR6sFvrG5m+Ce/eGqsbnmxz+jk9KtLXWzVaG6kbcdWtS45Vd1DIcytBq76LsptALUD0TG4VqOm4HfnVuI5K5D9n9ocRrujaBwc5x/F7oFceIyVFsGW9t2idqpx3tO5cUWnPiu80K0ZEX/ADNoo0gEsa7DVFMXurkaZDdWvBbBlz2SwgPmeHPA6Jfi7DeyMZu5404hctpDpg60dFoLIgagVo51Mi+nVkpxjpgnmvPX2j7pRSuPrbv8mLpVfv3qcuFdm3oxjl7RHEnHu4LTqcr9Y1VA1Yr2m1pmWe07ncoqoaphqkGqDxWyxaz2ji5o7yAvRNDHVltr9zpjTnR0n1XE3KwbdhOTCZHdUQMh/tXbaDQk2MvNayPecTUnJufWCujwUfFvzzq1cPHV1UbxQYjIIJQd6gITx8/NRMB89S67cvCQJtBxVvY9Xn5psTxQXkREBUe2oIVUQcV9pViLrPHM3OJ1CeAfQV7HBveuMv5+s8SDKdol7XYPHZIHjsXrl4WBs0UkTvVkaR1V3jmDivI22Zxjls7x6WzOe9o4swErR1UbIOWuuZxmPrv5/WP6Y89WrSirRVouWxI0VaLZXNcUlpcQzVAaKve40Y0cz2HuKzLfoo5kRljlinY31zG6pb1jgpxjtMc0R0SikzG2ior9mtDozrMc5h3FpLT3jcsu8rmdA2FznNImZrtArgKNNHVHvblW9LlfA2JznNO2ZrtpWoFGmhqM+luTltXf4HLMMmHTO2NFBMT+ZrHeJaoz6XWt+c7x+XVZ/aAl7aLy2eOOR5aQ/CgrVpIrR1Rnn3FWrbcroooZCWkTAuaBWopT1qj3lZa2aNxMz0/FOZyR0mZYD3FxLiSScySSe8qgatrd1wulifKHsa1jmtOsSPWLRXKlBrLaDQklpeLRZ9UGhdrnVB4VpTeoRivbrEPIpaezmA1SDVuLfo26KLaiSORgdqOLCTqnnUZZd4Vu23I6GKOR5aDLi2PHXA4nCgGXevJx2jvDzkmGtDVINUg1TZGSQAKk4ADMk7gq3i8w6lnlfvk1YGDiXkOfT9LQP/IF6lc9g2MEMXsNGt1gVJ/mK4e4ru29tjjGMViGs8jJ0xNT/WAByi5r0VmJJ7B2LtcJj5Y3559m/BXUbTREW5oEREBERAREQReN4zC4P7QLodG9lug9ZhbtMK5YNcRvFOi7kRzXfKzLECC1wBa4EEHEY4EEcCq8lOeukbV5o08Yt9naQ2WIeikrQZ7Nw9aI821w4tIPFYlFv79uY3dK4Fpksc5oRvaRUihOUjcS0n1hUHetVa7DqUIIfG/GOQeq8dX4XDItOIK4WXHNZ8805t6TEt1chL7DaYo/XLmuIGbm9HAcfVd381kaO2V0EU8klBHJC4atca1IAc078/5lzlmlcwhzSWncQaeQst99TOBDpC4OBaQQCKHlSleaVyRGpnvD2LxGt+zZ6QxukgshaC4NiDSWgmhozh1HuWwtVl2ktijd/DiDnjgGhmB6y2i5qy3lLGKMe5o4ZjuOSoLdJVztd1XCjjXEjh1J6sd599fwc8OstUgtDLSzaskLztI2tJqzUAAGPUBhxK1t7xOkstkDWudqsNaAmlQzOnUtHZ5nMOswlp4hZMd6TAUEjgBkKr2cvN3867ezeJ7tnYGllhtLHAglzMCKH8O4qlmf/wBOkb/mg/2LWPt0jg4F7iHU1udMq9wUWzu1Syp1Salu6vHwUfU+mnnN9G30UtVHuiIBjlB1mnKrRUGnh3cFhX3bnTTPc7cS1o4NaSAPn2rGglcwhzSQRkRmhFanfmV5N5mnK85vh0thqydqYGCQCs0lWWdoxdU9EyU5Vo3i4+6UAZGzazYMFQ1oNHSuH4WcB7Ttw50C6XQ3R973/fbUKPIGwjpQRspRpDd2GDRuBrmVdgwza3n7/ZPHSZlu9FLh+6WdrP4j+lIfeIyrwaMPHet4BRRYN5zPgprt1rFY1DoRGo1AiIpPRERBBsoQyjioGDz5zVTBz8EFRMKKolHUrYgNc/OP18FLY8/BBIShSzVr7vz8FdaKBBi22xMlY6OVofG4UIPnA8CvM750fmu4uLWmexvNXNP4dwLiPUcMhIM8jwXq5CtOZhSlWnAg8PmOSpy4oyfmhekWePCytkaZLO4yNGLmGglj/OwZt99tR1ZLHDV2l+fZu1zttYX7CUGoaCQyvukYxnqqOQXK261Swu1bwszgf+/GA0u5mno5P6TxK5OXhpr50Yb4pqsNjJyClsjwPcVk2Z8T6bGeNxxo2Q7F+OYo86p7HFZElhmbiYngUI1tVxaQTucMFR6eoQ5WC2E8D3KrYydx7j4K7tCMCBhhjWtOGakypFGjMAGlScKLzVTULLYzwPdwUtnyPctgLDL6xj1BhVz/AEbMMsXkALDtF42eMUfMH0/BCDIf9RxDB1gu6lL03vKi2OuAzOQ3lXLVNHZzSQa8p9WztPSqctqR6n5R0jyzWRd1ittqws0X3SI5zPJ2rgeDyA4/oDRxK7DRzQuCx9IAyTb5HZiueqMmDx5lasPCzbr5/a2mKZanR3Q58jxarfTWAGzgoNSMDKrRgKbmbt9Su3aK4nsH1QM3n9gprq0pFI1DZWsVjoKAlCk4VVoweCmkubQcVQTBR2PNRNn4U7kFwShNqFHY8/BU2HPwQXkREBERAREQEVmSSixJbSUGc4D91blAIIcGuacwaY9YOBWqltjliyW1yCzeOgNgmx1NkTvjOoP5TVngtP8A8KizGzWyRnDD/cxzfgtq+3OVh1ucqZwY59lc46z7ML/8ReQyvAkc3y/A1VRoJeDvXvF4HJ0p8NYLL/xN/F38x+qf4i85kntK8/x6fj+8npVY0X2Uw1raLTJIf0tr2u1j4rorq0XsdnoYoWlw/G7pu7HPrTsWqjtrlkx25ylXDSvaHsUrHaHTDHfTq+qk0AZLQx2xyy4rUVam2qLFinKyWlBVERAREQEREBERAREQEREFC1WnWYFXkQYjrvBVl10hbFEGqdcoVs3CFuUQaX/AAguELdIg1DbjCuNucLZogwm3aArrbIAshEEGxgKaIgIiICIiAiIgtiYb8O9VMwUDBw893UqmDmgqJx+yCYb1EWfn5x+qlseaComCkCrew5lXGiiCqIiAiIgg+SibUI6KpUBB5+qCRnHMoZhuxVDZ+aNg4n9+tBIzBVEgUDBzVWw0NUFxERAREQCVbEw81UyFaMCCe1CoJwqbHmqGz8CgkJh53qu2CpseapsOaC6iIgIiICIiAiIgIiICIiAiIgIiICIiAiIgIiICIiAiIgIiICIiAiIgIiICIiAiIgIiICIiAiIgIiICIiAiIgIiI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53" name="AutoShape 16" descr="data:image/jpeg;base64,/9j/4AAQSkZJRgABAQAAAQABAAD/2wCEAAkGBhQSEBUUEhQUFRQVFBQWFBUUFRUUFRQVFRQVFxQVFBUXGyYeFxojGRUUHy8gIycpOCwsFR4yNTAqNSYrLCkBCQoKDgwOGg8PGi8kHiQtLzUqLCotLC4sMi8sLCkpKSosKS0uKik1LzUpLC0pLCkwNCk1LDQ1LC8sKikwLCwsMP/AABEIAMIBAwMBIgACEQEDEQH/xAAcAAEAAQUBAQAAAAAAAAAAAAAAAgEDBAUGBwj/xABEEAABAwEFBAUICAQGAwEAAAABAAIDEQQFEiExBkFRYRMiMnGBByNCUmKRobEUM1NygpLh8ENjssEkc3TC0fFEVLM0/8QAGQEBAQEBAQEAAAAAAAAAAAAAAAEDAgQF/8QALhEBAAEDAgUCBAYDAAAAAAAAAAECAxEhMQQSUWHwQXGRobHBIjJCgdHxkqLh/9oADAMBAAIRAxEAPwD2eWyvLiWyFtd1K7qbzT/s8qQ+hyfamtPVHyqs1EGH9EfT601qTWg4AAU8D71R1lkoaSmvV1Ayoamnhks1EGCbFJX6003ZDnrnmp/RX5ecORBOWooMtdK5+Ky0Qax93TEmlpcM3UHRsyHojwPv5KMl2zGv+IIyAyYPVAJ1qCTU5cfdtUQadt12gtAdaDXPHRo3+qcqfqeSvMu+UV8+TkRmwZV0Ouo/ueVNkiDBs1ika+rpnOGfVwgDNZyIgIiICIiCD2ncaeAIWO8TDQxu5EOZ8QXfJZaINZJb7Q3WzYh/KlYT7pAxY79qms+tgtUfMwuePfEXBbtEGij24sRNPpDAeD8TD7ngLYwXxA/sTRO+7I0/Iq7abDHIKSMY8e20O+YWkt2wtgfUugYzmwmL+kgIOhBVV5reOzdihqYrxfCeAkbKB4Mo/wCK5t21NpidSK1yygE9ajy0jccMmIjfln3qZHtyLx+Dym2xgGJ8TzXsvYK041YW/FdXsv5QnWmZsMkOB7q0LX8BWpY7rAc89UicjtURFQREQEREBERAREQEREBERAREQEREBERAREQEREBERAWDfN6CzwulILsNKNG8k0Aru71nLAvu6/pED4sRYXDqvFCWOGbXUORoQMjrog8mvbylWqUnC/om7gwUP5jmtG+0Pka6SWR7wHBtC6pc4iuZdXCKb1eva5JIpnRSMwTgF2BucczBrLZidW8WHNtd4Wus0+GtKEOFHNIoHDnz4EaLivONFhXpjuAA5CvxOa6XZ3YuS2Ztc0AUxveXODKgEBsbSC9xB3uAHNc50Af9WSD6ju1+E6P+B5LJufaCayvxRvIIyI5V7LmnUcj4USmYnYeoXf5LLKz610sx3gu6Jn5IcII76rprtuWCztwwRRxg64Ghte8jM+K4+4vKvFJRs7TG71m1c097e0PDEu2sdtZK0Pje17TvaQR8NCu0X0REBERAREQEREBERAREQEREBERAREQEREBERAREQEREBERBqNpdm47ZDgf1XtOKKVvbikHZe0/MbxUHVeM7S2ExSHEAHVAkA7OOlSW8iQ/8o4r3S8bwZDG6R5Aa0E5mi8J2kvczSF5GcjzJSmbWUwxVG4kF76cHtQanpGnUrMZbGP6s3cJRm5v3/Wb8QsAuHBQDRuyXNVMVLE4ZFugdG7C4cwRo4cQd6ybtv6aBwdG9zTxBoe4nQjkQRyWXd7DPZ3RntRnzZ72uLR3VYW/jb6oWla/iFnarmrNNW8b/AGlZjGsPUdnfKuHUbaW19tgo7vdH6Xe33L0Cw3hHMwPie17ToWmvv4FfOQcOS3Fy7RyQPxRyFjt51Y/lK3ePa1HPds5e+ouc2W2xZaxgcOjmb2mE682HeCujQEREBERAREQEREBERAREQEREBERAREQEREBEVi121kTcUjg0cz8uKC+tbfe0ENlYXSuA4DeeC4+//KaKEWUCgqDM80YDwBzxHk0E9y80vO/3yPxYnOfn512RHHom1Ij783cxog6HazbB9of1xRo7EB+Dphu3EM1PpUFAuVdIXElxqSaknUk6lYjZe9VMqDKDFF7gFabVZFhsTpX4RQACrnHssaNXOPAfHRc1VRTGZI1bzZZ2FjpDk3GPywtdLIf/AJt73rmumXRX7aWxRCCMEEtAIPaZFXFR38yR1Hu4ANG5c3hXl4bNU1XZ/Vt7Rs0r0xSlhqphoG9WCgeV7Gbe3TbHVGB1JYwXRHeWtzdGeOVSO4jeKez7H7SC1wB3pgUcOf7/ALHevBLDOWSMeNWuafcQu+2CtXQW+WIdnpMhyLsPycz8qK9bRERBERAREQEREBERAREQEREBERARFqb12os9nBMkgy3Ag/oEG2WLbrzjhFZHho5nP3Lzu+fKfI9vmGiNh0lkOEH7uWJ/4QuCvG/zI4l7nTO4ydWMHlED1u95Pcg9LvnynihFlbiAyMryGxg/eOVeQqeS8+vfaJ8xJkeZXcDVsQ7mdp/4qD2VpJrU55BcSaZDgBwaBk0cgrRcgvTzueauJJpQcAOAAyA5BWXFQLlEvKASq1Csly210bNPlwukxNY7sNaAZJaa9G05BvF7qAc1ncuU245qpWImdlu7rC6ZxDaBrc3vdkxg4uPyGp3LoLVbWWRgYwecycGuAxYt0s43OGrIvR1dmrFuvlkDRHBhxN0LetHEdC5hP1svGU6eiAubL6mpJJJqScySdSTvXkiiviJ5q9KfSOvv5/M6ZijSN1ySVziSSSSaknMknUkqrXcVDEpBe9knRGsTEnSIMixWbHIxg9J7R7yF12y7sd4zPGmMAeMrQP6Vz1yno2yWg/w2lrOcrxRvuBJ8V2Hkzus9Rx1e/pD9xnZr3n+pSVh6wiIqgiIgIiICIiAiIgIiICLX3jf0MAPSPAI3A1P6eK4q9PKniJZZYy8jUgVpzc49Vvig9CmnawVcQ0cSaBctfflHs0GQON2gA3ngBqfcvL722lllNZpyf5cJqe50p6o/CHLRuvBwr0YEYOpbUvP3pT1j4EDkg7O/vKDaZKhzhZ2eqRWQjlE01H4yFxtovmpq0FzvtJqPd+FnYZ7ieawHBQKCc9pc84nEuJ1JNT7yotco1VcSC+16riWPiVcSC6SpWWxPleGRtLnHcPmeA5lbS7tmnuwmXEwOzYxoxTSD2GeiPadQBbG23nDZmGNrWuO+FjqsqN9plGczvYFGheO5xWvJajmn5ef1mGkUesrdhuSKFvSyuY6h7bhiha4bo262l/d1RvJosG9NojJibHiax3bc41llpp0jho3gxtAFrLbeMkzsUjqnQbmtG5rWjJo5BYznJb4bXnuzmr5R55GdSa/SlJz1QOVlzlQOXsZsoPVRIsdpUgUF8vUrNZ3Pe1jBVzjQD97lZBXQRN+iQ4j/APombRg3xRnV1PWP70KC9LZhLNHY4jWOLOVw9J/8R3+0cyvXdjLvDWGSlAepGODG607yKfgC4bYzZktwx6Sy5yH7Ng19wP5nL1uCEMaGtFGtAAHAAUCi7JoiKoIiICIiAiLW3jtDBCDjeKjcMz47h40QbJW5p2sFXODRxJAHxXnV8eVkYsFnaXP3Boxv91KD3FcZe+0c8hJtE3Reww9LN3Ghws7ifBFepX15RLNZwetiPfQf8/BcRe3lEtM4rGBFGdHyHo2n7o7b+4VXCuvQNNYmAO+0kPSy+BIws8B4rEltLnuxOcXOOpcST7yg29qvEONXufO72qxxDujBxO8SO5Ys9te8UJo0aMaA1g7mNy8VhgquJEXaKhCtl6oZUFXBWnBVL1ac5BOiVVbJY5JXhkbXPcdzRXxPAcyuku3ZhjSekpNI3tMa7DBFx6efeR6rc1573EUWvzTr08+suqaJq2ae7rofNUtAaxvbkecMbO9x+QXR2Www2ZgkJpwmlbV7v9LZz/W/3ELFvHaZjKCPDM9vYdhw2eH/ACIfSPtuqubtNsfI8vkcXOOpcan9ByXl5b3E/m/DT09Z87/4zu0zTRtrLc3ltI5+JsVY2O7bi7FNL/mya/hGQWlKtYkqvdbtU24xTDKZmd0nPVpz1KioWrRFsoAp4VQNQTYFcaFALdXNdTS0zz9WBnvkd6jeP7HEgL90WNsUf0mcVaD5lh1kfuP3R++e02fsTpXm1z51NYxxOgcBwGjR/wALCsNmfb5+kkGGCPINGQAGkbfhU/pT1DZG5ekcJXCkUZpEKUDnDLFTg3dz7lFjq3mzFz9DHjePOyULvZb6LPDU8yt0iKoIiICIiC1aLS1gq9waOJIC5i+/KNZ4AaHERvJwj3a/JeU3tf8AapTinkFmaftCXzkezEKuHjQLnpL0iaaxxmV/2tpo/Pi2IdRvjiUV3l5+Ua02kHoWkR73uIihHe4691SuStt6MJ87K+d3qR1jhHIvPWcO4DvWktVuklNZHudTSpyHJrdGjuCtgKmWxlvp5bgZSJh9CIYAfvHtO/ESsIOUAphESCk1RCriQXAmNWi9WnPQX3Sq26VWS9ba7dmZJG9LK4QQ/aSZV5Rt1eTu4rO5cptxmqcLETOzXNkJIABJOQAzJPADeugsWyxBabSXMLs2QMGK0SdzdGDm74LcWazRWVmJv+HYR9fMA61SjhDFSkY5kd43rSW/ak0cyzAxNd25CcU8vN8mo7gfHcvBPEXb88tmMR18+ms9eVryU061eeeZbm2W6KzM6NwDB/6sDqvd/qrRr+FvxC5m8r9kno00ZG3sRRjDG0bshqeZ+C11UXos8JRb/FOs9fPrrPdzVXM6JpVRVCV62apco4lEuVC5BdxqhcrWJVqgniRqhiW5uK5OmrJKcEDM3vOVaei0/wB+fFBcuO5hIDLKcEDO07TFT0W/vfTVZgx2+YMYOjgjpQDRjdO4vO4bvA1sz2l9ulbDA3BAzsilA1oyxvpv4DnxqV2d03VhwWazjrHU/wBT3n97hwUmViGwuC4xK5sEQwxMA6Rw3D1Qd7jnn3r0uCAMaGtADWgAAbgFi3NdLLPEI2d7nb3O3krOSCZERFUEREBERB8kk1NTmTqTqe9KqlUAQVxKQKoqFyCYKkCrONDIgul6j0ismVXrBYZJ34ImOe7gNw4uOgHMqVVRTGZ2IjKhkWddVxzWk+bb1R2pHdWNvGrj8hVbu7tmYo34ZK2q0DWzwmkcZ/nynId2XcVmXve0UQw2hzZnt7Nkh6tmipoJD6ZHP8oXzbnGzVPJZjM+bRp8ZxHeW0W8a1F03LFGMUIbO5vatM3VssVNSwfxCP2Qsa8tq4434oibROP/ACJR1Gf5EWje/wCLlz177RTWk+cdRg7MberG2mlG7+81WuDlbfBzVPPenM9P5nT4RiO0k3MaUsq1W58ry+Rxe46lxr4DgOQVsOVrEnSL6MRERiGK9iVcSx+kVOkVF8yK26RQxqJcgliVaq1jVQ5BdDlXGrJct7s7s70oM05wWdmbnHLHTUNPDifAZ6BK4Lh6asspwWdmb3nLFTVrT8z/AHWTbLwfbZG2ezNwQt7LdAAP4knADcOe8lWrxvN9tkbZ7OzDC3JjBkKN9N/ADhurvJXW3dd8djiwtzeaYnUze7QZcM6Ac+JUmViMr133e2zMbFCC6R5A06z3HKp/sNw8SvTdltnBZY6uoZn5yO4ew08B8SsDYzZYxDp5x55w6oP8Jp3feO/hp39WkQTIiIqgiIgIiICIiD5FBUsStY1TEguF6iZFAlRQSMiRMc9wa0FziaBrQSSeAA1W+u3ZBxZ0tpcLPCM8T8nuHssPHn4ArprvgEcZNmY2yw069qtABmeP5bHaD71Bwavn3uOoo0o1n5fH1ntGZa02pndobJsi2LC62vLS7sWeLrzycqCtPCvMhdBaZGwRUlIscGos8JraZvvvGld9PFy0ts2rjhxCxtLnu7dqm60r/u4t3fQeyuWntDnuLnuLnHVziST3krCnh73ETzXZxHm0bR7zmfZ3NdNGlLeXlta5zOiszRZ4PVZk93EveM8+XiStCo1Sq+lbtUWoxTHneWM1TVuqq1VAUJWrkLlGqEqKCVUBUaqoQSqoqQCFBGikAqVXS7P7ONLPpNqOCBoqAcuk4E78PIZu3cwhs9s2HtM9oOCztzzy6SnDg2uVd+g5UvW9pLdK2CBuGIZRxjIUHpvpkABu3DmoXtfMtumbFC0iMGkcYy09N9MhQeDR8evue6I7HF6z3dt29x9UcGj9SpMrEZSuu7I7FDuLzm95yxEfJo/ea7fYnZYuItVoGesLCKU4SOB0PAbhnrpgbF7Lm0uFpnHmQaxMP8Ug5PI9QbhvOfBelJELM+giIq5EREBERAREQEREHx9VVCzLrueW0OwxMLuJ0a37ztAunslxWezvDXA2u0/Yx9hnN5OQHN35V5b3FUWtN56R9/SI7y7ptzU0VzbMTWnNoDI98r8mAb6et4e8Lprmu6KN1LHH9IlBobTLlBGRrgp2jybU+0r17WhrRW8JAcgWWOE9X2cehf40HCq5i+drZZxgbSKEZCNmQp7RFK92Q5L52b/GbaU/6/HSav2xHu3xTb9/n/xvbyvuCB+J7/plpGhOUMJ9hoyHhU8wuVvW+pbQ/FK8u4DRrfut3d+vNYCUX0LHCUWtd56z9o2iO0Mark1K1RFQletmKlVElUqgniQuUKqmJBPEolyjVAgk1XAoNCmgqqFF11y7PsgZ9JtmQbQsjIqa7sTd7uDfE8gs3Ds4xjPpNs6sYoWsd6XAuG8Hc3f3a4V73xLb5mxxg4a+bj/3vOlab9APjG9r1mt0wa0GlfNxg5Di5x401O5dfclzMskZJzee2/j7LeDf+zykysRlK5bmZY4vWkd23b3Hc1vBo/UroNktmXW6TpZR/hmnT7Yg9gewDqd+mlVi7N7PPvGYl1W2dhpI4ZYj9lGePrO3aa6eu2eztjY1jGhrWgBrQKAAaABSIWZ9E2MAAAFAMgBoAqoi6ciIiAiIgIiICIiAiIg8EeHmLzhFhsg0Y2jZnjgSOxXgKlaC3bYNjaYrCwQx75KecfzzrQ8zU9y568L1lndileXHdXRvJoGQHcsWq+ZZ4CmNbuvb0/f1me8t6r0/pXJJS4kuJJJqSTUk8STqqVUKqoK+mwSqq1UMSpiQTqokqJcokoJkqBKiSqVQSqlVREEgpBQCkEEwVJueQVI2FxAaCSTQACpJOgAXbXZdMdgj+kWnOX0GihwmnZbxdxdu+JCFz3JHZI/pNqpiHYjOdDuy9J/Ld8tJeN5zW6cAAmpIjjByaN5J+bj+it228JrbOBSpOTGDssG/5VJP6Ls7luZlljJJBeR138fZbwHz+UmViMpXLczLLGSc3kdd/H2W8B89Ty2Nx3LJeM+BtWwsPnZB6I9Rh3yEe4eCx7ru2W32joouq1tDJJuiafnIdw8dNfZLnueOywthhbhY0eJO9zjvJOZKkQszhdu+72QRNiiaGsYKNaNwWQiLpyIiICIiAiIgIiICIiAiIg+OUKIgoqoiChVERAUURBFAiIKoERBIKqqiDqvJ7GDaHkgEiPIkZirgDThlkrG3UhNrIJNBGygrkKg1pwREGdsAwYZjQVqwV30o40rwqAt7eh7Pj/ZEXEtI2ej+SWMC7IyAKudIXGmbjjObjvPNdkiLtmIiICIiAiIgIiICIiAiIgIiI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1302" y="640792"/>
            <a:ext cx="256275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987425">
              <a:buFont typeface="Wingdings" pitchFamily="2" charset="2"/>
              <a:buChar char="Ø"/>
            </a:pPr>
            <a:r>
              <a:rPr lang="ru-RU" altLang="ru-RU" sz="1100" b="1" dirty="0">
                <a:solidFill>
                  <a:prstClr val="black"/>
                </a:solidFill>
                <a:cs typeface="Lucida Sans" pitchFamily="34" charset="0"/>
              </a:rPr>
              <a:t>1 </a:t>
            </a:r>
            <a:r>
              <a:rPr lang="ru-RU" altLang="ru-RU" sz="1100" b="1" dirty="0" err="1" smtClean="0">
                <a:solidFill>
                  <a:prstClr val="black"/>
                </a:solidFill>
                <a:cs typeface="Lucida Sans" pitchFamily="34" charset="0"/>
              </a:rPr>
              <a:t>санат</a:t>
            </a:r>
            <a:r>
              <a:rPr lang="ru-RU" altLang="ru-RU" sz="1100" b="1" dirty="0" smtClean="0">
                <a:solidFill>
                  <a:prstClr val="black"/>
                </a:solidFill>
                <a:cs typeface="Lucida Sans" pitchFamily="34" charset="0"/>
              </a:rPr>
              <a:t> (4 </a:t>
            </a:r>
            <a:r>
              <a:rPr lang="ru-RU" altLang="ru-RU" sz="1100" b="1" dirty="0" err="1" smtClean="0">
                <a:solidFill>
                  <a:prstClr val="black"/>
                </a:solidFill>
                <a:cs typeface="Lucida Sans" pitchFamily="34" charset="0"/>
              </a:rPr>
              <a:t>жолақты</a:t>
            </a:r>
            <a:r>
              <a:rPr lang="ru-RU" altLang="ru-RU" sz="1100" b="1" dirty="0" smtClean="0">
                <a:solidFill>
                  <a:prstClr val="black"/>
                </a:solidFill>
                <a:cs typeface="Lucida Sans" pitchFamily="34" charset="0"/>
              </a:rPr>
              <a:t>) </a:t>
            </a:r>
            <a:r>
              <a:rPr lang="ru-RU" altLang="ru-RU" sz="1100" b="1" dirty="0">
                <a:solidFill>
                  <a:srgbClr val="00B050"/>
                </a:solidFill>
                <a:cs typeface="Lucida Sans" pitchFamily="34" charset="0"/>
              </a:rPr>
              <a:t>– 1391 км</a:t>
            </a:r>
          </a:p>
          <a:p>
            <a:pPr marL="171450" lvl="1" indent="-171450" defTabSz="987425">
              <a:buFont typeface="Wingdings" pitchFamily="2" charset="2"/>
              <a:buChar char="Ø"/>
            </a:pPr>
            <a:r>
              <a:rPr lang="ru-RU" altLang="ru-RU" sz="1100" b="1" dirty="0">
                <a:solidFill>
                  <a:prstClr val="black"/>
                </a:solidFill>
                <a:cs typeface="Lucida Sans" pitchFamily="34" charset="0"/>
              </a:rPr>
              <a:t>2 </a:t>
            </a:r>
            <a:r>
              <a:rPr lang="ru-RU" altLang="ru-RU" sz="1100" b="1" dirty="0" err="1">
                <a:solidFill>
                  <a:prstClr val="black"/>
                </a:solidFill>
                <a:cs typeface="Lucida Sans" pitchFamily="34" charset="0"/>
              </a:rPr>
              <a:t>санат</a:t>
            </a:r>
            <a:r>
              <a:rPr lang="ru-RU" altLang="ru-RU" sz="1100" b="1" dirty="0">
                <a:solidFill>
                  <a:prstClr val="black"/>
                </a:solidFill>
                <a:cs typeface="Lucida Sans" pitchFamily="34" charset="0"/>
              </a:rPr>
              <a:t> (2 </a:t>
            </a:r>
            <a:r>
              <a:rPr lang="ru-RU" altLang="ru-RU" sz="1100" b="1" dirty="0" err="1">
                <a:solidFill>
                  <a:prstClr val="black"/>
                </a:solidFill>
                <a:cs typeface="Lucida Sans" pitchFamily="34" charset="0"/>
              </a:rPr>
              <a:t>жолақты</a:t>
            </a:r>
            <a:r>
              <a:rPr lang="ru-RU" altLang="ru-RU" sz="1100" b="1" dirty="0">
                <a:solidFill>
                  <a:prstClr val="black"/>
                </a:solidFill>
                <a:cs typeface="Lucida Sans" pitchFamily="34" charset="0"/>
              </a:rPr>
              <a:t>) </a:t>
            </a:r>
            <a:r>
              <a:rPr lang="ru-RU" altLang="ru-RU" sz="1100" b="1" dirty="0">
                <a:solidFill>
                  <a:srgbClr val="00B050"/>
                </a:solidFill>
                <a:cs typeface="Lucida Sans" pitchFamily="34" charset="0"/>
              </a:rPr>
              <a:t>– 1061 </a:t>
            </a:r>
            <a:r>
              <a:rPr lang="ru-RU" altLang="ru-RU" sz="1100" b="1" dirty="0" smtClean="0">
                <a:solidFill>
                  <a:srgbClr val="00B050"/>
                </a:solidFill>
                <a:cs typeface="Lucida Sans" pitchFamily="34" charset="0"/>
              </a:rPr>
              <a:t>км</a:t>
            </a:r>
            <a:endParaRPr lang="ru-RU" altLang="ru-RU" sz="1100" b="1" dirty="0">
              <a:solidFill>
                <a:srgbClr val="00B050"/>
              </a:solidFill>
              <a:cs typeface="Lucida Sans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5496" y="404664"/>
            <a:ext cx="511713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 eaLnBrk="0" hangingPunct="0"/>
            <a:r>
              <a:rPr lang="ru-RU" sz="1200" b="1" dirty="0" err="1" smtClean="0">
                <a:solidFill>
                  <a:prstClr val="black"/>
                </a:solidFill>
                <a:cs typeface="Lucida Sans" pitchFamily="34" charset="0"/>
              </a:rPr>
              <a:t>Жалпы</a:t>
            </a:r>
            <a:r>
              <a:rPr lang="ru-RU" sz="1200" b="1" dirty="0" smtClean="0">
                <a:solidFill>
                  <a:prstClr val="black"/>
                </a:solidFill>
                <a:cs typeface="Lucida Sans" pitchFamily="34" charset="0"/>
              </a:rPr>
              <a:t> </a:t>
            </a:r>
            <a:r>
              <a:rPr lang="ru-RU" sz="1200" b="1" dirty="0" err="1" smtClean="0">
                <a:solidFill>
                  <a:prstClr val="black"/>
                </a:solidFill>
                <a:cs typeface="Lucida Sans" pitchFamily="34" charset="0"/>
              </a:rPr>
              <a:t>ұзындығы</a:t>
            </a:r>
            <a:r>
              <a:rPr lang="ru-RU" sz="1200" b="1" dirty="0" smtClean="0">
                <a:solidFill>
                  <a:prstClr val="black"/>
                </a:solidFill>
                <a:cs typeface="Lucida Sans" pitchFamily="34" charset="0"/>
              </a:rPr>
              <a:t> </a:t>
            </a:r>
            <a:r>
              <a:rPr lang="ru-RU" sz="1200" b="1" dirty="0" smtClean="0">
                <a:solidFill>
                  <a:srgbClr val="00B050"/>
                </a:solidFill>
                <a:cs typeface="Lucida Sans" pitchFamily="34" charset="0"/>
              </a:rPr>
              <a:t>2787 </a:t>
            </a:r>
            <a:r>
              <a:rPr lang="ru-RU" sz="1200" b="1" dirty="0">
                <a:solidFill>
                  <a:srgbClr val="00B050"/>
                </a:solidFill>
                <a:cs typeface="Lucida Sans" pitchFamily="34" charset="0"/>
              </a:rPr>
              <a:t>км  </a:t>
            </a:r>
            <a:r>
              <a:rPr lang="ru-RU" sz="1200" b="1" dirty="0" smtClean="0">
                <a:solidFill>
                  <a:prstClr val="black"/>
                </a:solidFill>
                <a:cs typeface="Lucida Sans" pitchFamily="34" charset="0"/>
              </a:rPr>
              <a:t>(</a:t>
            </a:r>
            <a:r>
              <a:rPr lang="ru-RU" sz="1200" b="1" dirty="0" err="1" smtClean="0">
                <a:solidFill>
                  <a:prstClr val="black"/>
                </a:solidFill>
                <a:cs typeface="Lucida Sans" pitchFamily="34" charset="0"/>
              </a:rPr>
              <a:t>қайта</a:t>
            </a:r>
            <a:r>
              <a:rPr lang="ru-RU" sz="1200" b="1" dirty="0" smtClean="0">
                <a:solidFill>
                  <a:prstClr val="black"/>
                </a:solidFill>
                <a:cs typeface="Lucida Sans" pitchFamily="34" charset="0"/>
              </a:rPr>
              <a:t> </a:t>
            </a:r>
            <a:r>
              <a:rPr lang="ru-RU" sz="1200" b="1" dirty="0" err="1" smtClean="0">
                <a:solidFill>
                  <a:prstClr val="black"/>
                </a:solidFill>
                <a:cs typeface="Lucida Sans" pitchFamily="34" charset="0"/>
              </a:rPr>
              <a:t>құрылатын</a:t>
            </a:r>
            <a:r>
              <a:rPr lang="ru-RU" sz="1200" b="1" dirty="0" smtClean="0">
                <a:solidFill>
                  <a:prstClr val="black"/>
                </a:solidFill>
                <a:cs typeface="Lucida Sans" pitchFamily="34" charset="0"/>
              </a:rPr>
              <a:t> </a:t>
            </a:r>
            <a:r>
              <a:rPr lang="ru-RU" sz="1200" b="1" dirty="0" err="1" smtClean="0">
                <a:solidFill>
                  <a:prstClr val="black"/>
                </a:solidFill>
                <a:cs typeface="Lucida Sans" pitchFamily="34" charset="0"/>
              </a:rPr>
              <a:t>учаскелер</a:t>
            </a:r>
            <a:r>
              <a:rPr lang="ru-RU" sz="1200" b="1" dirty="0" smtClean="0">
                <a:solidFill>
                  <a:prstClr val="black"/>
                </a:solidFill>
                <a:cs typeface="Lucida Sans" pitchFamily="34" charset="0"/>
              </a:rPr>
              <a:t> </a:t>
            </a:r>
            <a:r>
              <a:rPr lang="ru-RU" sz="1200" b="1" dirty="0" smtClean="0">
                <a:solidFill>
                  <a:srgbClr val="00B050"/>
                </a:solidFill>
                <a:cs typeface="Lucida Sans" pitchFamily="34" charset="0"/>
              </a:rPr>
              <a:t>2452</a:t>
            </a:r>
            <a:r>
              <a:rPr lang="ru-RU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cs typeface="Lucida Sans" pitchFamily="34" charset="0"/>
              </a:rPr>
              <a:t>км) </a:t>
            </a:r>
          </a:p>
        </p:txBody>
      </p:sp>
      <p:grpSp>
        <p:nvGrpSpPr>
          <p:cNvPr id="56" name="Группа 55"/>
          <p:cNvGrpSpPr/>
          <p:nvPr/>
        </p:nvGrpSpPr>
        <p:grpSpPr>
          <a:xfrm>
            <a:off x="5635512" y="620687"/>
            <a:ext cx="3553352" cy="5699964"/>
            <a:chOff x="5507012" y="2441157"/>
            <a:chExt cx="3791199" cy="5519927"/>
          </a:xfrm>
        </p:grpSpPr>
        <p:sp>
          <p:nvSpPr>
            <p:cNvPr id="57" name="Прямоугольник 56"/>
            <p:cNvSpPr/>
            <p:nvPr/>
          </p:nvSpPr>
          <p:spPr>
            <a:xfrm>
              <a:off x="5614588" y="2789826"/>
              <a:ext cx="3563889" cy="51712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defTabSz="914400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  <a:buFont typeface="Arial" pitchFamily="34" charset="0"/>
                <a:buChar char="•"/>
              </a:pPr>
              <a:r>
                <a:rPr lang="ru-RU" sz="1200" b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Жол-көлік</a:t>
              </a:r>
              <a:r>
                <a:rPr lang="ru-RU" sz="12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оқиғалары</a:t>
              </a:r>
              <a:endParaRPr lang="ru-RU" sz="1200" b="1" dirty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endParaRPr>
            </a:p>
            <a:p>
              <a:pPr defTabSz="914400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</a:pPr>
              <a:r>
                <a:rPr lang="ru-RU" sz="12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     </a:t>
              </a:r>
              <a:r>
                <a:rPr lang="ru-RU" sz="1200" b="1" dirty="0" smtClean="0">
                  <a:solidFill>
                    <a:srgbClr val="00B050"/>
                  </a:solidFill>
                  <a:cs typeface="Lucida Sans" pitchFamily="34" charset="0"/>
                </a:rPr>
                <a:t>27% </a:t>
              </a:r>
              <a:r>
                <a:rPr lang="ru-RU" sz="1200" b="1" dirty="0" err="1" smtClean="0">
                  <a:solidFill>
                    <a:srgbClr val="00B050"/>
                  </a:solidFill>
                  <a:cs typeface="Lucida Sans" pitchFamily="34" charset="0"/>
                </a:rPr>
                <a:t>қысқарды</a:t>
              </a:r>
              <a:endParaRPr lang="ru-RU" sz="1200" b="1" dirty="0" smtClean="0">
                <a:solidFill>
                  <a:srgbClr val="00B050"/>
                </a:solidFill>
                <a:cs typeface="Lucida Sans" pitchFamily="34" charset="0"/>
              </a:endParaRPr>
            </a:p>
            <a:p>
              <a:pPr indent="182563" defTabSz="914400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</a:pPr>
              <a:r>
                <a:rPr lang="ru-RU" sz="1200" b="1" i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оның</a:t>
              </a:r>
              <a:r>
                <a:rPr lang="ru-RU" sz="1200" b="1" i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i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ішінде</a:t>
              </a:r>
              <a:r>
                <a:rPr lang="ru-RU" sz="1200" b="1" i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i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өлім-жітім</a:t>
              </a:r>
              <a:r>
                <a:rPr lang="ru-RU" sz="1200" b="1" i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i="1" dirty="0" smtClean="0">
                  <a:solidFill>
                    <a:srgbClr val="00B050"/>
                  </a:solidFill>
                  <a:cs typeface="Lucida Sans" pitchFamily="34" charset="0"/>
                </a:rPr>
                <a:t>35% </a:t>
              </a:r>
            </a:p>
            <a:p>
              <a:pPr indent="182563" defTabSz="914400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</a:pPr>
              <a:endParaRPr lang="ru-RU" sz="1200" b="1" i="1" dirty="0">
                <a:solidFill>
                  <a:srgbClr val="00B050"/>
                </a:solidFill>
                <a:cs typeface="Lucida Sans" pitchFamily="34" charset="0"/>
              </a:endParaRPr>
            </a:p>
            <a:p>
              <a:pPr marL="171450" indent="-171450" algn="just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  <a:buFont typeface="Arial" pitchFamily="34" charset="0"/>
                <a:buChar char="•"/>
              </a:pP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ЖКА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қысқаруы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және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ЖКА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қайтыс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болған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адамдардың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,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жолда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жүру</a:t>
              </a:r>
              <a:r>
                <a:rPr lang="ru-RU" sz="12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уақытының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қысқаруы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, АКҚ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күтіп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ұстауға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жұмсалатын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шығындардың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төмендеуі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, ІАӨ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өсуінің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есебінен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экономикалық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пайда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ea typeface="MS PGothic" pitchFamily="34" charset="-128"/>
                  <a:cs typeface="Lucida Sans" pitchFamily="34" charset="0"/>
                </a:rPr>
                <a:t>- </a:t>
              </a:r>
              <a:r>
                <a:rPr lang="en-US" sz="1200" b="1" dirty="0" smtClean="0">
                  <a:solidFill>
                    <a:srgbClr val="00B050"/>
                  </a:solidFill>
                  <a:cs typeface="Lucida Sans" pitchFamily="34" charset="0"/>
                </a:rPr>
                <a:t>19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0 </a:t>
              </a:r>
              <a:r>
                <a:rPr lang="ru-RU" sz="1200" b="1" dirty="0" err="1" smtClean="0">
                  <a:solidFill>
                    <a:srgbClr val="00B050"/>
                  </a:solidFill>
                  <a:cs typeface="Lucida Sans" pitchFamily="34" charset="0"/>
                </a:rPr>
                <a:t>млрд.тг</a:t>
              </a:r>
              <a:endParaRPr lang="ru-RU" sz="1200" b="1" dirty="0">
                <a:solidFill>
                  <a:srgbClr val="00B050"/>
                </a:solidFill>
                <a:cs typeface="Lucida Sans" pitchFamily="34" charset="0"/>
              </a:endParaRPr>
            </a:p>
            <a:p>
              <a:pPr marL="171450" indent="-171450" algn="just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  <a:buFont typeface="Arial" pitchFamily="34" charset="0"/>
                <a:buChar char="•"/>
              </a:pP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Елді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мекендерді</a:t>
              </a:r>
              <a:r>
                <a:rPr lang="ru-RU" sz="12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24 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айналма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 </a:t>
              </a:r>
              <a:r>
                <a:rPr lang="ru-RU" sz="1200" b="1" dirty="0" err="1" smtClean="0">
                  <a:solidFill>
                    <a:srgbClr val="00B050"/>
                  </a:solidFill>
                  <a:cs typeface="Lucida Sans" pitchFamily="34" charset="0"/>
                </a:rPr>
                <a:t>жолдар</a:t>
              </a:r>
              <a:r>
                <a:rPr lang="ru-RU" sz="1200" b="1" dirty="0" smtClean="0">
                  <a:solidFill>
                    <a:srgbClr val="00B050"/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және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3 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таулы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асулар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 </a:t>
              </a:r>
              <a:r>
                <a:rPr lang="ru-RU" sz="12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құрылды</a:t>
              </a:r>
              <a:endParaRPr lang="ru-RU" sz="1200" b="1" dirty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endParaRPr>
            </a:p>
            <a:p>
              <a:pPr marL="171450" indent="-171450" algn="just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  <a:buFont typeface="Arial" pitchFamily="34" charset="0"/>
                <a:buChar char="•"/>
              </a:pP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47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жаңа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өндіріс</a:t>
              </a:r>
              <a:r>
                <a:rPr lang="ru-RU" sz="12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құрылды </a:t>
              </a:r>
              <a:r>
                <a:rPr lang="ru-RU" sz="1200" b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және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/>
              </a:r>
              <a:b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</a:b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8 </a:t>
              </a:r>
              <a:r>
                <a:rPr lang="ru-RU" sz="12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өндіріс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ұлғайтылды</a:t>
              </a:r>
              <a:endParaRPr lang="ru-RU" sz="1200" b="1" dirty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endParaRPr>
            </a:p>
            <a:p>
              <a:pPr marL="171450" indent="-171450" algn="just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  <a:buFont typeface="Arial" pitchFamily="34" charset="0"/>
                <a:buChar char="•"/>
              </a:pP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АКҚ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орташа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қозғалыс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жылдамдығы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/>
              </a:r>
              <a:b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</a:b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 3 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есе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артты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 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(25 км/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сағ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80 км/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сағ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дейін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)</a:t>
              </a:r>
            </a:p>
            <a:p>
              <a:pPr marL="171450" indent="-171450" algn="just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  <a:buFont typeface="Arial" pitchFamily="34" charset="0"/>
                <a:buChar char="•"/>
              </a:pP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73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қызмет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көрсеті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объектілері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жасалды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,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жалпы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саны 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277 </a:t>
              </a:r>
            </a:p>
            <a:p>
              <a:pPr marL="171450" indent="-171450" algn="just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  <a:buFont typeface="Arial" pitchFamily="34" charset="0"/>
                <a:buChar char="•"/>
              </a:pPr>
              <a:r>
                <a:rPr lang="ru-RU" sz="1200" b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Дәліз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барлық</a:t>
              </a:r>
              <a:r>
                <a:rPr lang="ru-RU" sz="12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узындығы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бойынша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халық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саны 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5,5 млн</a:t>
              </a:r>
              <a:r>
                <a:rPr lang="ru-RU" sz="1200" b="1" dirty="0">
                  <a:solidFill>
                    <a:srgbClr val="4BACC6"/>
                  </a:solidFill>
                  <a:ea typeface="MS PGothic" pitchFamily="34" charset="-128"/>
                  <a:cs typeface="Lucida Sans" pitchFamily="34" charset="0"/>
                </a:rPr>
                <a:t>.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құрайтын</a:t>
              </a:r>
              <a:r>
                <a:rPr lang="ru-RU" sz="1200" b="1" dirty="0">
                  <a:solidFill>
                    <a:srgbClr val="4BACC6"/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200</a:t>
              </a:r>
              <a:r>
                <a:rPr lang="ru-RU" sz="1200" b="1" dirty="0">
                  <a:solidFill>
                    <a:srgbClr val="4BACC6"/>
                  </a:solidFill>
                  <a:ea typeface="MS PGothic" pitchFamily="34" charset="-128"/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елді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мекеннен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аса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қамтиды</a:t>
              </a:r>
              <a:endParaRPr lang="ru-RU" sz="1200" b="1" dirty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endParaRPr>
            </a:p>
            <a:p>
              <a:pPr marL="171450" indent="-171450" algn="just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  <a:buFont typeface="Arial" pitchFamily="34" charset="0"/>
                <a:buChar char="•"/>
              </a:pPr>
              <a:r>
                <a:rPr lang="ru-RU" sz="1200" b="1" dirty="0">
                  <a:solidFill>
                    <a:srgbClr val="008000"/>
                  </a:solidFill>
                  <a:cs typeface="Lucida Sans" pitchFamily="34" charset="0"/>
                </a:rPr>
                <a:t>24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туристтік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орталықтарға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өту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қамтамасыз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етілген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(</a:t>
              </a:r>
              <a:r>
                <a:rPr lang="ru-RU" sz="1200" b="1" dirty="0" err="1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шамамен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 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400-700 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мың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. 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туристтер</a:t>
              </a:r>
              <a:r>
                <a:rPr lang="ru-RU" sz="1200" b="1" dirty="0">
                  <a:solidFill>
                    <a:srgbClr val="00B050"/>
                  </a:solidFill>
                  <a:cs typeface="Lucida Sans" pitchFamily="34" charset="0"/>
                </a:rPr>
                <a:t>/</a:t>
              </a:r>
              <a:r>
                <a:rPr lang="ru-RU" sz="1200" b="1" dirty="0" err="1">
                  <a:solidFill>
                    <a:srgbClr val="00B050"/>
                  </a:solidFill>
                  <a:cs typeface="Lucida Sans" pitchFamily="34" charset="0"/>
                </a:rPr>
                <a:t>жыл</a:t>
              </a:r>
              <a:r>
                <a:rPr lang="ru-RU" sz="1200" b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Lucida Sans" pitchFamily="34" charset="0"/>
                </a:rPr>
                <a:t>)</a:t>
              </a:r>
            </a:p>
            <a:p>
              <a:pPr indent="182563" defTabSz="914400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</a:pPr>
              <a:endParaRPr lang="ru-RU" sz="1000" b="1" i="1" dirty="0" smtClean="0">
                <a:solidFill>
                  <a:srgbClr val="00B050"/>
                </a:solidFill>
                <a:latin typeface="Lucida Sans" pitchFamily="34" charset="0"/>
                <a:cs typeface="Lucida Sans" pitchFamily="34" charset="0"/>
              </a:endParaRPr>
            </a:p>
          </p:txBody>
        </p:sp>
        <p:sp>
          <p:nvSpPr>
            <p:cNvPr id="58" name="Пятиугольник 57"/>
            <p:cNvSpPr/>
            <p:nvPr/>
          </p:nvSpPr>
          <p:spPr>
            <a:xfrm>
              <a:off x="5569479" y="2441157"/>
              <a:ext cx="3585534" cy="267759"/>
            </a:xfrm>
            <a:prstGeom prst="homePlate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000" tIns="36000" rIns="18000" bIns="36000" anchor="ctr"/>
            <a:lstStyle/>
            <a:p>
              <a:pPr marL="92075" algn="just" defTabSz="914400"/>
              <a:r>
                <a:rPr lang="ru-RU" altLang="ru-RU" sz="1400" b="1" dirty="0" err="1" smtClean="0">
                  <a:solidFill>
                    <a:prstClr val="white"/>
                  </a:solidFill>
                </a:rPr>
                <a:t>Жобаның</a:t>
              </a:r>
              <a:r>
                <a:rPr lang="ru-RU" altLang="ru-RU" sz="1400" b="1" dirty="0" smtClean="0">
                  <a:solidFill>
                    <a:prstClr val="white"/>
                  </a:solidFill>
                </a:rPr>
                <a:t> </a:t>
              </a:r>
              <a:r>
                <a:rPr lang="ru-RU" altLang="ru-RU" sz="1400" b="1" dirty="0" err="1" smtClean="0">
                  <a:solidFill>
                    <a:prstClr val="white"/>
                  </a:solidFill>
                </a:rPr>
                <a:t>экономикалық</a:t>
              </a:r>
              <a:r>
                <a:rPr lang="ru-RU" altLang="ru-RU" sz="1400" b="1" dirty="0" smtClean="0">
                  <a:solidFill>
                    <a:prstClr val="white"/>
                  </a:solidFill>
                </a:rPr>
                <a:t> </a:t>
              </a:r>
              <a:r>
                <a:rPr lang="ru-RU" altLang="ru-RU" sz="1400" b="1" dirty="0" err="1" smtClean="0">
                  <a:solidFill>
                    <a:prstClr val="white"/>
                  </a:solidFill>
                </a:rPr>
                <a:t>көрсеткіштері</a:t>
              </a:r>
              <a:endParaRPr lang="ru-RU" altLang="ru-RU" sz="1400" b="1" dirty="0">
                <a:solidFill>
                  <a:prstClr val="white"/>
                </a:solidFill>
              </a:endParaRPr>
            </a:p>
          </p:txBody>
        </p:sp>
        <p:pic>
          <p:nvPicPr>
            <p:cNvPr id="59" name="Picture 2" descr="C:\Documents and Settings\kemengerov_m\Рабочий стол\Презентации\картинки\Дорогои\curved-road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41609" t="12547" r="-2763" b="62495"/>
            <a:stretch>
              <a:fillRect/>
            </a:stretch>
          </p:blipFill>
          <p:spPr bwMode="auto">
            <a:xfrm>
              <a:off x="8211394" y="2901801"/>
              <a:ext cx="1086817" cy="3731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" name="Прямоугольник 59"/>
            <p:cNvSpPr/>
            <p:nvPr/>
          </p:nvSpPr>
          <p:spPr>
            <a:xfrm>
              <a:off x="5507012" y="3696363"/>
              <a:ext cx="3666961" cy="2682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algn="just" defTabSz="914400">
                <a:spcBef>
                  <a:spcPts val="600"/>
                </a:spcBef>
                <a:buClr>
                  <a:srgbClr val="4BACC6">
                    <a:lumMod val="75000"/>
                  </a:srgbClr>
                </a:buClr>
                <a:buFont typeface="Arial" pitchFamily="34" charset="0"/>
                <a:buChar char="•"/>
              </a:pPr>
              <a:endParaRPr lang="ru-RU" sz="1200" b="1" dirty="0" smtClean="0">
                <a:solidFill>
                  <a:srgbClr val="4BACC6"/>
                </a:solidFill>
                <a:latin typeface="Franklin Gothic Medium Cond" pitchFamily="34" charset="0"/>
                <a:ea typeface="MS PGothic" pitchFamily="34" charset="-128"/>
                <a:cs typeface="Calibri" pitchFamily="34" charset="0"/>
              </a:endParaRPr>
            </a:p>
          </p:txBody>
        </p:sp>
        <p:sp>
          <p:nvSpPr>
            <p:cNvPr id="61" name="Стрелка вниз 60"/>
            <p:cNvSpPr/>
            <p:nvPr/>
          </p:nvSpPr>
          <p:spPr>
            <a:xfrm>
              <a:off x="8084718" y="2837561"/>
              <a:ext cx="144016" cy="432048"/>
            </a:xfrm>
            <a:prstGeom prst="downArrow">
              <a:avLst/>
            </a:prstGeom>
            <a:solidFill>
              <a:srgbClr val="00B050"/>
            </a:solidFill>
            <a:ln>
              <a:noFill/>
            </a:ln>
            <a:effectLst>
              <a:innerShdw blurRad="63500" dist="50800" dir="18900000">
                <a:srgbClr val="FF0000">
                  <a:alpha val="50000"/>
                </a:srgbClr>
              </a:innerShdw>
            </a:effectLst>
            <a:scene3d>
              <a:camera prst="orthographicFront">
                <a:rot lat="10800000" lon="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>
                <a:defRPr/>
              </a:pPr>
              <a:endParaRPr lang="ru-RU" sz="1200" b="1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62" name="TextBox 19"/>
            <p:cNvSpPr txBox="1">
              <a:spLocks noChangeArrowheads="1"/>
            </p:cNvSpPr>
            <p:nvPr/>
          </p:nvSpPr>
          <p:spPr bwMode="auto">
            <a:xfrm>
              <a:off x="8203284" y="2734871"/>
              <a:ext cx="21602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914400"/>
              <a:r>
                <a:rPr lang="ru-RU" sz="1200" b="1" dirty="0" smtClean="0">
                  <a:solidFill>
                    <a:srgbClr val="FF0000"/>
                  </a:solidFill>
                  <a:latin typeface="+mj-lt"/>
                </a:rPr>
                <a:t>%</a:t>
              </a:r>
              <a:endParaRPr lang="ru-RU" sz="1200" b="1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63" name="Стрелка вниз 62"/>
            <p:cNvSpPr/>
            <p:nvPr/>
          </p:nvSpPr>
          <p:spPr>
            <a:xfrm>
              <a:off x="8183583" y="2966489"/>
              <a:ext cx="152400" cy="296416"/>
            </a:xfrm>
            <a:prstGeom prst="downArrow">
              <a:avLst/>
            </a:prstGeom>
            <a:solidFill>
              <a:srgbClr val="00B050"/>
            </a:solidFill>
            <a:ln>
              <a:noFill/>
            </a:ln>
            <a:effectLst>
              <a:innerShdw blurRad="63500" dist="50800" dir="18900000">
                <a:srgbClr val="FF0000">
                  <a:alpha val="50000"/>
                </a:srgbClr>
              </a:innerShdw>
            </a:effectLst>
            <a:scene3d>
              <a:camera prst="orthographicFront">
                <a:rot lat="10800000" lon="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>
                <a:defRPr/>
              </a:pPr>
              <a:endParaRPr lang="ru-RU" sz="1200" b="1">
                <a:solidFill>
                  <a:prstClr val="white"/>
                </a:solidFill>
                <a:latin typeface="+mj-lt"/>
              </a:endParaRPr>
            </a:p>
          </p:txBody>
        </p:sp>
      </p:grpSp>
      <p:sp>
        <p:nvSpPr>
          <p:cNvPr id="64" name="Прямоугольник 63"/>
          <p:cNvSpPr/>
          <p:nvPr/>
        </p:nvSpPr>
        <p:spPr>
          <a:xfrm>
            <a:off x="91041" y="5390847"/>
            <a:ext cx="5492706" cy="276999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defTabSz="914400"/>
            <a:r>
              <a:rPr lang="ru-RU" b="1" dirty="0" err="1" smtClean="0">
                <a:solidFill>
                  <a:prstClr val="white"/>
                </a:solidFill>
                <a:cs typeface="Lucida Sans" pitchFamily="34" charset="0"/>
              </a:rPr>
              <a:t>Дәліз</a:t>
            </a:r>
            <a:r>
              <a:rPr lang="ru-RU" b="1" dirty="0" smtClean="0">
                <a:solidFill>
                  <a:prstClr val="white"/>
                </a:solidFill>
                <a:cs typeface="Lucida Sans" pitchFamily="34" charset="0"/>
              </a:rPr>
              <a:t> </a:t>
            </a:r>
            <a:r>
              <a:rPr lang="ru-RU" b="1" dirty="0" err="1" smtClean="0">
                <a:solidFill>
                  <a:prstClr val="white"/>
                </a:solidFill>
                <a:cs typeface="Lucida Sans" pitchFamily="34" charset="0"/>
              </a:rPr>
              <a:t>бойынша</a:t>
            </a:r>
            <a:r>
              <a:rPr lang="ru-RU" b="1" dirty="0" smtClean="0">
                <a:solidFill>
                  <a:prstClr val="white"/>
                </a:solidFill>
                <a:cs typeface="Lucida Sans" pitchFamily="34" charset="0"/>
              </a:rPr>
              <a:t> </a:t>
            </a:r>
            <a:r>
              <a:rPr lang="ru-RU" b="1" dirty="0" err="1" smtClean="0">
                <a:solidFill>
                  <a:prstClr val="white"/>
                </a:solidFill>
                <a:cs typeface="Lucida Sans" pitchFamily="34" charset="0"/>
              </a:rPr>
              <a:t>транзиттік</a:t>
            </a:r>
            <a:r>
              <a:rPr lang="ru-RU" b="1" dirty="0" smtClean="0">
                <a:solidFill>
                  <a:prstClr val="white"/>
                </a:solidFill>
                <a:cs typeface="Lucida Sans" pitchFamily="34" charset="0"/>
              </a:rPr>
              <a:t> </a:t>
            </a:r>
            <a:r>
              <a:rPr lang="ru-RU" b="1" dirty="0" err="1" smtClean="0">
                <a:solidFill>
                  <a:prstClr val="white"/>
                </a:solidFill>
                <a:cs typeface="Lucida Sans" pitchFamily="34" charset="0"/>
              </a:rPr>
              <a:t>тасымалдау</a:t>
            </a:r>
            <a:endParaRPr lang="ru-RU" b="1" dirty="0">
              <a:solidFill>
                <a:prstClr val="white"/>
              </a:solidFill>
              <a:cs typeface="Lucida Sans" pitchFamily="34" charset="0"/>
            </a:endParaRPr>
          </a:p>
        </p:txBody>
      </p:sp>
      <p:sp>
        <p:nvSpPr>
          <p:cNvPr id="65" name="TextBox 9"/>
          <p:cNvSpPr txBox="1">
            <a:spLocks noChangeArrowheads="1"/>
          </p:cNvSpPr>
          <p:nvPr/>
        </p:nvSpPr>
        <p:spPr bwMode="auto">
          <a:xfrm>
            <a:off x="91258" y="5725284"/>
            <a:ext cx="3277487" cy="954107"/>
          </a:xfrm>
          <a:prstGeom prst="rect">
            <a:avLst/>
          </a:prstGeom>
          <a:solidFill>
            <a:schemeClr val="bg1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/>
            <a:r>
              <a:rPr lang="kk-KZ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Бағыт бойынша жүк тасымалдау көлемі</a:t>
            </a:r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:</a:t>
            </a:r>
            <a:endParaRPr lang="ru-RU" sz="1400" b="1" dirty="0">
              <a:solidFill>
                <a:prstClr val="black">
                  <a:lumMod val="65000"/>
                  <a:lumOff val="35000"/>
                </a:prstClr>
              </a:solidFill>
              <a:cs typeface="Lucida Sans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2006 </a:t>
            </a:r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ж. </a:t>
            </a: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– </a:t>
            </a:r>
            <a:r>
              <a:rPr lang="ru-RU" sz="1400" b="1" dirty="0">
                <a:solidFill>
                  <a:srgbClr val="00B050"/>
                </a:solidFill>
                <a:cs typeface="Lucida Sans" pitchFamily="34" charset="0"/>
              </a:rPr>
              <a:t>13 </a:t>
            </a:r>
            <a:r>
              <a:rPr lang="ru-RU" sz="1400" b="1" dirty="0" err="1" smtClean="0">
                <a:solidFill>
                  <a:srgbClr val="00B050"/>
                </a:solidFill>
                <a:cs typeface="Lucida Sans" pitchFamily="34" charset="0"/>
              </a:rPr>
              <a:t>млн.теңге</a:t>
            </a:r>
            <a:endParaRPr lang="ru-RU" sz="1400" b="1" dirty="0" smtClean="0">
              <a:solidFill>
                <a:srgbClr val="00B050"/>
              </a:solidFill>
              <a:cs typeface="Lucida Sans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2020 ж. </a:t>
            </a: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– </a:t>
            </a:r>
            <a:r>
              <a:rPr lang="ru-RU" sz="1400" b="1" dirty="0">
                <a:solidFill>
                  <a:srgbClr val="00B050"/>
                </a:solidFill>
                <a:cs typeface="Lucida Sans" pitchFamily="34" charset="0"/>
              </a:rPr>
              <a:t>до 33 </a:t>
            </a:r>
            <a:r>
              <a:rPr lang="ru-RU" sz="1400" b="1" dirty="0" err="1" smtClean="0">
                <a:solidFill>
                  <a:srgbClr val="00B050"/>
                </a:solidFill>
                <a:cs typeface="Lucida Sans" pitchFamily="34" charset="0"/>
              </a:rPr>
              <a:t>млн.теңге</a:t>
            </a:r>
            <a:endParaRPr lang="ar-SA" sz="1400" b="1" dirty="0">
              <a:solidFill>
                <a:srgbClr val="00B050"/>
              </a:solidFill>
              <a:cs typeface="Lucida Sans" pitchFamily="34" charset="0"/>
            </a:endParaRPr>
          </a:p>
        </p:txBody>
      </p:sp>
      <p:sp>
        <p:nvSpPr>
          <p:cNvPr id="67" name="TextBox 9"/>
          <p:cNvSpPr txBox="1">
            <a:spLocks noChangeArrowheads="1"/>
          </p:cNvSpPr>
          <p:nvPr/>
        </p:nvSpPr>
        <p:spPr bwMode="auto">
          <a:xfrm>
            <a:off x="3469850" y="5720427"/>
            <a:ext cx="2113900" cy="954107"/>
          </a:xfrm>
          <a:prstGeom prst="rect">
            <a:avLst/>
          </a:prstGeom>
          <a:solidFill>
            <a:schemeClr val="bg1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kk-KZ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2009-2017 жж. арасында транзит </a:t>
            </a:r>
            <a:r>
              <a:rPr lang="ru-RU" sz="1400" b="1" dirty="0">
                <a:solidFill>
                  <a:srgbClr val="00B050"/>
                </a:solidFill>
                <a:cs typeface="Lucida Sans" pitchFamily="34" charset="0"/>
              </a:rPr>
              <a:t>350</a:t>
            </a: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  <a:ea typeface="MS PGothic" pitchFamily="34" charset="-128"/>
                <a:cs typeface="Lucida Sans" pitchFamily="34" charset="0"/>
              </a:rPr>
              <a:t> </a:t>
            </a:r>
            <a:r>
              <a:rPr lang="ru-RU" sz="1400" b="1" dirty="0" err="1" smtClean="0">
                <a:solidFill>
                  <a:srgbClr val="00B050"/>
                </a:solidFill>
                <a:ea typeface="MS PGothic" pitchFamily="34" charset="-128"/>
                <a:cs typeface="Lucida Sans" pitchFamily="34" charset="0"/>
              </a:rPr>
              <a:t>мың</a:t>
            </a:r>
            <a:r>
              <a:rPr lang="ru-RU" sz="1400" b="1" dirty="0" smtClean="0">
                <a:solidFill>
                  <a:srgbClr val="00B050"/>
                </a:solidFill>
                <a:ea typeface="MS PGothic" pitchFamily="34" charset="-128"/>
                <a:cs typeface="Lucida Sans" pitchFamily="34" charset="0"/>
              </a:rPr>
              <a:t> </a:t>
            </a:r>
            <a:r>
              <a:rPr lang="ru-RU" sz="1400" b="1" dirty="0" err="1" smtClean="0">
                <a:solidFill>
                  <a:srgbClr val="00B050"/>
                </a:solidFill>
                <a:ea typeface="MS PGothic" pitchFamily="34" charset="-128"/>
                <a:cs typeface="Lucida Sans" pitchFamily="34" charset="0"/>
              </a:rPr>
              <a:t>теңден</a:t>
            </a:r>
            <a:r>
              <a:rPr lang="ru-RU" sz="1400" b="1" dirty="0" smtClean="0">
                <a:solidFill>
                  <a:srgbClr val="00B050"/>
                </a:solidFill>
                <a:ea typeface="MS PGothic" pitchFamily="34" charset="-128"/>
                <a:cs typeface="Lucida Sans" pitchFamily="34" charset="0"/>
              </a:rPr>
              <a:t> </a:t>
            </a:r>
            <a:r>
              <a:rPr lang="ru-RU" sz="1400" b="1" dirty="0" smtClean="0">
                <a:solidFill>
                  <a:srgbClr val="00B050"/>
                </a:solidFill>
                <a:cs typeface="Lucida Sans" pitchFamily="34" charset="0"/>
              </a:rPr>
              <a:t>900 </a:t>
            </a:r>
            <a:r>
              <a:rPr lang="ru-RU" sz="1400" b="1" dirty="0" err="1" smtClean="0">
                <a:solidFill>
                  <a:srgbClr val="00B050"/>
                </a:solidFill>
                <a:cs typeface="Lucida Sans" pitchFamily="34" charset="0"/>
              </a:rPr>
              <a:t>мың</a:t>
            </a:r>
            <a:r>
              <a:rPr lang="ru-RU" sz="1400" b="1" dirty="0" smtClean="0">
                <a:solidFill>
                  <a:srgbClr val="00B050"/>
                </a:solidFill>
                <a:cs typeface="Lucida Sans" pitchFamily="34" charset="0"/>
              </a:rPr>
              <a:t> </a:t>
            </a:r>
            <a:r>
              <a:rPr lang="ru-RU" sz="1400" b="1" dirty="0" err="1" smtClean="0">
                <a:solidFill>
                  <a:srgbClr val="00B050"/>
                </a:solidFill>
                <a:ea typeface="MS PGothic" pitchFamily="34" charset="-128"/>
                <a:cs typeface="Lucida Sans" pitchFamily="34" charset="0"/>
              </a:rPr>
              <a:t>теңгеге</a:t>
            </a:r>
            <a:r>
              <a:rPr lang="ru-RU" sz="1400" b="1" dirty="0" smtClean="0">
                <a:solidFill>
                  <a:srgbClr val="00B050"/>
                </a:solidFill>
                <a:ea typeface="MS PGothic" pitchFamily="34" charset="-128"/>
                <a:cs typeface="Lucida Sans" pitchFamily="34" charset="0"/>
              </a:rPr>
              <a:t> </a:t>
            </a:r>
            <a:r>
              <a:rPr lang="ru-RU" sz="1400" b="1" dirty="0" err="1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дейін</a:t>
            </a: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 </a:t>
            </a:r>
            <a:r>
              <a:rPr lang="ru-RU" sz="1400" b="1" dirty="0" err="1">
                <a:solidFill>
                  <a:prstClr val="black">
                    <a:lumMod val="65000"/>
                    <a:lumOff val="35000"/>
                  </a:prstClr>
                </a:solidFill>
                <a:cs typeface="Lucida Sans" pitchFamily="34" charset="0"/>
              </a:rPr>
              <a:t>артты</a:t>
            </a:r>
            <a:endParaRPr lang="ru-RU" sz="1400" b="1" dirty="0">
              <a:solidFill>
                <a:prstClr val="black">
                  <a:lumMod val="65000"/>
                  <a:lumOff val="35000"/>
                </a:prstClr>
              </a:solidFill>
              <a:cs typeface="Lucida Sans" pitchFamily="34" charset="0"/>
            </a:endParaRPr>
          </a:p>
        </p:txBody>
      </p:sp>
      <p:sp>
        <p:nvSpPr>
          <p:cNvPr id="68" name="Полилиния 67"/>
          <p:cNvSpPr/>
          <p:nvPr/>
        </p:nvSpPr>
        <p:spPr>
          <a:xfrm>
            <a:off x="3978145" y="3699158"/>
            <a:ext cx="346364" cy="83451"/>
          </a:xfrm>
          <a:custGeom>
            <a:avLst/>
            <a:gdLst>
              <a:gd name="connsiteX0" fmla="*/ 339725 w 339725"/>
              <a:gd name="connsiteY0" fmla="*/ 0 h 86589"/>
              <a:gd name="connsiteX1" fmla="*/ 212725 w 339725"/>
              <a:gd name="connsiteY1" fmla="*/ 53975 h 86589"/>
              <a:gd name="connsiteX2" fmla="*/ 133350 w 339725"/>
              <a:gd name="connsiteY2" fmla="*/ 82550 h 86589"/>
              <a:gd name="connsiteX3" fmla="*/ 0 w 339725"/>
              <a:gd name="connsiteY3" fmla="*/ 85725 h 86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725" h="86589">
                <a:moveTo>
                  <a:pt x="339725" y="0"/>
                </a:moveTo>
                <a:lnTo>
                  <a:pt x="212725" y="53975"/>
                </a:lnTo>
                <a:cubicBezTo>
                  <a:pt x="178329" y="67733"/>
                  <a:pt x="168804" y="77258"/>
                  <a:pt x="133350" y="82550"/>
                </a:cubicBezTo>
                <a:cubicBezTo>
                  <a:pt x="97896" y="87842"/>
                  <a:pt x="48948" y="86783"/>
                  <a:pt x="0" y="85725"/>
                </a:cubicBez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69" name="Полилиния 68"/>
          <p:cNvSpPr/>
          <p:nvPr/>
        </p:nvSpPr>
        <p:spPr>
          <a:xfrm>
            <a:off x="3955180" y="3644342"/>
            <a:ext cx="346364" cy="83451"/>
          </a:xfrm>
          <a:custGeom>
            <a:avLst/>
            <a:gdLst>
              <a:gd name="connsiteX0" fmla="*/ 339725 w 339725"/>
              <a:gd name="connsiteY0" fmla="*/ 0 h 86589"/>
              <a:gd name="connsiteX1" fmla="*/ 212725 w 339725"/>
              <a:gd name="connsiteY1" fmla="*/ 53975 h 86589"/>
              <a:gd name="connsiteX2" fmla="*/ 133350 w 339725"/>
              <a:gd name="connsiteY2" fmla="*/ 82550 h 86589"/>
              <a:gd name="connsiteX3" fmla="*/ 0 w 339725"/>
              <a:gd name="connsiteY3" fmla="*/ 85725 h 86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725" h="86589">
                <a:moveTo>
                  <a:pt x="339725" y="0"/>
                </a:moveTo>
                <a:lnTo>
                  <a:pt x="212725" y="53975"/>
                </a:lnTo>
                <a:cubicBezTo>
                  <a:pt x="178329" y="67733"/>
                  <a:pt x="168804" y="77258"/>
                  <a:pt x="133350" y="82550"/>
                </a:cubicBezTo>
                <a:cubicBezTo>
                  <a:pt x="97896" y="87842"/>
                  <a:pt x="48948" y="86783"/>
                  <a:pt x="0" y="85725"/>
                </a:cubicBezTo>
              </a:path>
            </a:pathLst>
          </a:cu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4400"/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70" name="Блок-схема: узел 69"/>
          <p:cNvSpPr/>
          <p:nvPr/>
        </p:nvSpPr>
        <p:spPr bwMode="auto">
          <a:xfrm>
            <a:off x="4278951" y="3634366"/>
            <a:ext cx="80926" cy="85678"/>
          </a:xfrm>
          <a:prstGeom prst="flowChartConnector">
            <a:avLst/>
          </a:prstGeom>
          <a:solidFill>
            <a:srgbClr val="00B050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396" tIns="45700" rIns="91396" bIns="45700" anchor="ctr"/>
          <a:lstStyle/>
          <a:p>
            <a:pPr algn="ctr" defTabSz="914400">
              <a:defRPr/>
            </a:pPr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75928" y="8625"/>
            <a:ext cx="89964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ru-RU" altLang="ru-RU" sz="2400" b="1" dirty="0" smtClean="0">
                <a:cs typeface="Lucida Sans" pitchFamily="34" charset="0"/>
              </a:rPr>
              <a:t>«БАТЫС ЕУРОПА – БАТЫС </a:t>
            </a:r>
            <a:r>
              <a:rPr lang="kk-KZ" altLang="ru-RU" sz="2400" b="1" dirty="0" smtClean="0">
                <a:cs typeface="Lucida Sans" pitchFamily="34" charset="0"/>
              </a:rPr>
              <a:t>ҚЫТАЙ</a:t>
            </a:r>
            <a:r>
              <a:rPr lang="ru-RU" altLang="ru-RU" sz="2400" b="1" dirty="0" smtClean="0">
                <a:cs typeface="Lucida Sans" pitchFamily="34" charset="0"/>
              </a:rPr>
              <a:t>» ЖОБАСЫ</a:t>
            </a:r>
            <a:endParaRPr lang="ru-RU" altLang="ru-RU" sz="2400" b="1" dirty="0">
              <a:cs typeface="Lucida Sans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2112" y="1019612"/>
            <a:ext cx="271513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defTabSz="987425">
              <a:buFont typeface="Arial" pitchFamily="34" charset="0"/>
              <a:buChar char="•"/>
            </a:pPr>
            <a:r>
              <a:rPr lang="ru-RU" altLang="ru-RU" sz="1100" b="1" dirty="0" err="1" smtClean="0">
                <a:solidFill>
                  <a:prstClr val="black"/>
                </a:solidFill>
                <a:cs typeface="Lucida Sans" pitchFamily="34" charset="0"/>
              </a:rPr>
              <a:t>Игерілді</a:t>
            </a:r>
            <a:r>
              <a:rPr lang="ru-RU" altLang="ru-RU" sz="1100" b="1" dirty="0" smtClean="0">
                <a:solidFill>
                  <a:prstClr val="black"/>
                </a:solidFill>
                <a:cs typeface="Lucida Sans" pitchFamily="34" charset="0"/>
              </a:rPr>
              <a:t> </a:t>
            </a:r>
            <a:r>
              <a:rPr lang="ru-RU" altLang="ru-RU" sz="1100" b="1" dirty="0" smtClean="0">
                <a:solidFill>
                  <a:srgbClr val="00B050"/>
                </a:solidFill>
                <a:cs typeface="Lucida Sans" pitchFamily="34" charset="0"/>
              </a:rPr>
              <a:t>– 728 </a:t>
            </a:r>
            <a:r>
              <a:rPr lang="ru-RU" altLang="ru-RU" sz="1100" b="1" dirty="0">
                <a:solidFill>
                  <a:srgbClr val="00B050"/>
                </a:solidFill>
                <a:cs typeface="Lucida Sans" pitchFamily="34" charset="0"/>
              </a:rPr>
              <a:t>млрд. </a:t>
            </a:r>
            <a:r>
              <a:rPr lang="ru-RU" altLang="ru-RU" sz="1100" b="1" dirty="0" err="1">
                <a:solidFill>
                  <a:srgbClr val="00B050"/>
                </a:solidFill>
                <a:cs typeface="Lucida Sans" pitchFamily="34" charset="0"/>
              </a:rPr>
              <a:t>тг</a:t>
            </a:r>
            <a:r>
              <a:rPr lang="ru-RU" altLang="ru-RU" sz="1100" b="1" dirty="0">
                <a:solidFill>
                  <a:srgbClr val="00B050"/>
                </a:solidFill>
                <a:cs typeface="Lucida Sans" pitchFamily="34" charset="0"/>
              </a:rPr>
              <a:t>.</a:t>
            </a:r>
          </a:p>
          <a:p>
            <a:pPr marL="88900" lvl="1" indent="-88900" defTabSz="987425">
              <a:buFont typeface="Arial" pitchFamily="34" charset="0"/>
              <a:buChar char="•"/>
            </a:pPr>
            <a:r>
              <a:rPr lang="ru-RU" altLang="ru-RU" sz="1100" b="1" dirty="0" err="1" smtClean="0">
                <a:solidFill>
                  <a:prstClr val="black"/>
                </a:solidFill>
                <a:cs typeface="Lucida Sans" pitchFamily="34" charset="0"/>
              </a:rPr>
              <a:t>Іске</a:t>
            </a:r>
            <a:r>
              <a:rPr lang="ru-RU" altLang="ru-RU" sz="1100" b="1" dirty="0" smtClean="0">
                <a:solidFill>
                  <a:prstClr val="black"/>
                </a:solidFill>
                <a:cs typeface="Lucida Sans" pitchFamily="34" charset="0"/>
              </a:rPr>
              <a:t> </a:t>
            </a:r>
            <a:r>
              <a:rPr lang="ru-RU" altLang="ru-RU" sz="1100" b="1" dirty="0" err="1" smtClean="0">
                <a:solidFill>
                  <a:prstClr val="black"/>
                </a:solidFill>
                <a:cs typeface="Lucida Sans" pitchFamily="34" charset="0"/>
              </a:rPr>
              <a:t>асыру</a:t>
            </a:r>
            <a:r>
              <a:rPr lang="ru-RU" altLang="ru-RU" sz="1100" b="1" dirty="0" smtClean="0">
                <a:solidFill>
                  <a:prstClr val="black"/>
                </a:solidFill>
                <a:cs typeface="Lucida Sans" pitchFamily="34" charset="0"/>
              </a:rPr>
              <a:t> </a:t>
            </a:r>
            <a:r>
              <a:rPr lang="ru-RU" altLang="ru-RU" sz="1100" b="1" dirty="0" err="1" smtClean="0">
                <a:solidFill>
                  <a:prstClr val="black"/>
                </a:solidFill>
                <a:cs typeface="Lucida Sans" pitchFamily="34" charset="0"/>
              </a:rPr>
              <a:t>мерзімі</a:t>
            </a:r>
            <a:r>
              <a:rPr lang="ru-RU" altLang="ru-RU" sz="1100" b="1" dirty="0" smtClean="0">
                <a:solidFill>
                  <a:prstClr val="black"/>
                </a:solidFill>
                <a:cs typeface="Lucida Sans" pitchFamily="34" charset="0"/>
              </a:rPr>
              <a:t> </a:t>
            </a:r>
            <a:r>
              <a:rPr lang="ru-RU" altLang="ru-RU" sz="1100" b="1" dirty="0" smtClean="0">
                <a:solidFill>
                  <a:srgbClr val="00B050"/>
                </a:solidFill>
                <a:cs typeface="Lucida Sans" pitchFamily="34" charset="0"/>
              </a:rPr>
              <a:t>– </a:t>
            </a:r>
            <a:r>
              <a:rPr lang="ru-RU" altLang="ru-RU" sz="1100" b="1" dirty="0">
                <a:solidFill>
                  <a:srgbClr val="00B050"/>
                </a:solidFill>
                <a:cs typeface="Lucida Sans" pitchFamily="34" charset="0"/>
              </a:rPr>
              <a:t>2009-2017 </a:t>
            </a:r>
            <a:r>
              <a:rPr lang="ru-RU" altLang="ru-RU" sz="1100" b="1" dirty="0" err="1" smtClean="0">
                <a:solidFill>
                  <a:srgbClr val="00B050"/>
                </a:solidFill>
                <a:cs typeface="Lucida Sans" pitchFamily="34" charset="0"/>
              </a:rPr>
              <a:t>жыл</a:t>
            </a:r>
            <a:endParaRPr lang="ru-RU" altLang="ru-RU" sz="1100" b="1" dirty="0">
              <a:solidFill>
                <a:srgbClr val="00B050"/>
              </a:solidFill>
              <a:cs typeface="Lucida Sans" pitchFamily="34" charset="0"/>
            </a:endParaRPr>
          </a:p>
        </p:txBody>
      </p:sp>
      <p:sp>
        <p:nvSpPr>
          <p:cNvPr id="9" name="Скругленный прямоугольник 71"/>
          <p:cNvSpPr>
            <a:spLocks noChangeArrowheads="1"/>
          </p:cNvSpPr>
          <p:nvPr/>
        </p:nvSpPr>
        <p:spPr bwMode="auto">
          <a:xfrm>
            <a:off x="1912674" y="3359663"/>
            <a:ext cx="734809" cy="137697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defTabSz="914400">
              <a:defRPr/>
            </a:pPr>
            <a:r>
              <a:rPr lang="ru-RU" sz="900" b="1" dirty="0" smtClean="0">
                <a:solidFill>
                  <a:srgbClr val="4F81BD"/>
                </a:solidFill>
                <a:cs typeface="Arial" pitchFamily="34" charset="0"/>
              </a:rPr>
              <a:t>ҚЫЗЫЛОРДА</a:t>
            </a:r>
            <a:endParaRPr lang="ru-RU" sz="900" b="1" dirty="0">
              <a:solidFill>
                <a:srgbClr val="4F81BD"/>
              </a:solidFill>
              <a:cs typeface="Arial" pitchFamily="34" charset="0"/>
            </a:endParaRPr>
          </a:p>
        </p:txBody>
      </p:sp>
      <p:sp>
        <p:nvSpPr>
          <p:cNvPr id="8" name="Скругленный прямоугольник 71"/>
          <p:cNvSpPr>
            <a:spLocks noChangeArrowheads="1"/>
          </p:cNvSpPr>
          <p:nvPr/>
        </p:nvSpPr>
        <p:spPr bwMode="auto">
          <a:xfrm>
            <a:off x="3268502" y="4021698"/>
            <a:ext cx="686679" cy="139227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defTabSz="914400">
              <a:defRPr/>
            </a:pPr>
            <a:r>
              <a:rPr lang="ru-RU" sz="900" b="1" dirty="0">
                <a:solidFill>
                  <a:srgbClr val="4F81BD"/>
                </a:solidFill>
                <a:cs typeface="Arial" pitchFamily="34" charset="0"/>
              </a:rPr>
              <a:t>ШЫМКЕНТ</a:t>
            </a:r>
            <a:endParaRPr lang="ru-RU" sz="800" b="1" dirty="0">
              <a:solidFill>
                <a:srgbClr val="4F81BD"/>
              </a:solidFill>
              <a:cs typeface="Arial" pitchFamily="34" charset="0"/>
            </a:endParaRPr>
          </a:p>
        </p:txBody>
      </p:sp>
      <p:sp>
        <p:nvSpPr>
          <p:cNvPr id="16" name="Блок-схема: узел 15"/>
          <p:cNvSpPr/>
          <p:nvPr/>
        </p:nvSpPr>
        <p:spPr bwMode="auto">
          <a:xfrm>
            <a:off x="4774343" y="3463523"/>
            <a:ext cx="80926" cy="85678"/>
          </a:xfrm>
          <a:prstGeom prst="flowChartConnector">
            <a:avLst/>
          </a:prstGeom>
          <a:solidFill>
            <a:srgbClr val="00B050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396" tIns="45700" rIns="91396" bIns="45700" anchor="ctr"/>
          <a:lstStyle/>
          <a:p>
            <a:pPr algn="ctr" defTabSz="914400">
              <a:defRPr/>
            </a:pPr>
            <a:endParaRPr lang="ru-RU" sz="200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</a:endParaRPr>
          </a:p>
        </p:txBody>
      </p:sp>
      <p:sp>
        <p:nvSpPr>
          <p:cNvPr id="73" name="Номер слайда 14"/>
          <p:cNvSpPr txBox="1">
            <a:spLocks/>
          </p:cNvSpPr>
          <p:nvPr/>
        </p:nvSpPr>
        <p:spPr>
          <a:xfrm>
            <a:off x="8654135" y="6517443"/>
            <a:ext cx="6207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  <a:latin typeface="Impact" pitchFamily="34" charset="0"/>
              </a:rPr>
              <a:t>2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3674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94" y="620688"/>
            <a:ext cx="9144000" cy="5641277"/>
          </a:xfrm>
          <a:prstGeom prst="rect">
            <a:avLst/>
          </a:prstGeom>
          <a:ln w="6350">
            <a:solidFill>
              <a:schemeClr val="bg1"/>
            </a:solidFill>
            <a:prstDash val="dash"/>
          </a:ln>
        </p:spPr>
      </p:pic>
      <p:sp>
        <p:nvSpPr>
          <p:cNvPr id="143" name="Полилиния 142"/>
          <p:cNvSpPr/>
          <p:nvPr/>
        </p:nvSpPr>
        <p:spPr>
          <a:xfrm>
            <a:off x="5565775" y="2552700"/>
            <a:ext cx="335021" cy="355600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Полилиния 143"/>
          <p:cNvSpPr/>
          <p:nvPr/>
        </p:nvSpPr>
        <p:spPr>
          <a:xfrm>
            <a:off x="5565775" y="2555505"/>
            <a:ext cx="335021" cy="355600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Полилиния 144"/>
          <p:cNvSpPr/>
          <p:nvPr/>
        </p:nvSpPr>
        <p:spPr>
          <a:xfrm>
            <a:off x="5572805" y="2527289"/>
            <a:ext cx="355130" cy="390525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6" name="Полилиния 145"/>
          <p:cNvSpPr/>
          <p:nvPr/>
        </p:nvSpPr>
        <p:spPr>
          <a:xfrm>
            <a:off x="5549900" y="2571750"/>
            <a:ext cx="335021" cy="355600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Полилиния 151"/>
          <p:cNvSpPr/>
          <p:nvPr/>
        </p:nvSpPr>
        <p:spPr>
          <a:xfrm>
            <a:off x="5895975" y="287655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76200">
            <a:solidFill>
              <a:srgbClr val="33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Полилиния 152"/>
          <p:cNvSpPr/>
          <p:nvPr/>
        </p:nvSpPr>
        <p:spPr>
          <a:xfrm>
            <a:off x="5895975" y="287655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4" name="Полилиния 153"/>
          <p:cNvSpPr/>
          <p:nvPr/>
        </p:nvSpPr>
        <p:spPr>
          <a:xfrm>
            <a:off x="5918200" y="287020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Полилиния 154"/>
          <p:cNvSpPr/>
          <p:nvPr/>
        </p:nvSpPr>
        <p:spPr>
          <a:xfrm>
            <a:off x="5876925" y="288925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Блок-схема: узел 146"/>
          <p:cNvSpPr/>
          <p:nvPr/>
        </p:nvSpPr>
        <p:spPr>
          <a:xfrm>
            <a:off x="5860030" y="2836124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Блок-схема: узел 36"/>
          <p:cNvSpPr/>
          <p:nvPr/>
        </p:nvSpPr>
        <p:spPr>
          <a:xfrm>
            <a:off x="5516899" y="2500716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2" name="Полилиния 221"/>
          <p:cNvSpPr/>
          <p:nvPr/>
        </p:nvSpPr>
        <p:spPr>
          <a:xfrm>
            <a:off x="6128562" y="3904432"/>
            <a:ext cx="796756" cy="956474"/>
          </a:xfrm>
          <a:custGeom>
            <a:avLst/>
            <a:gdLst>
              <a:gd name="connsiteX0" fmla="*/ 333946 w 796756"/>
              <a:gd name="connsiteY0" fmla="*/ 0 h 956474"/>
              <a:gd name="connsiteX1" fmla="*/ 277848 w 796756"/>
              <a:gd name="connsiteY1" fmla="*/ 36464 h 956474"/>
              <a:gd name="connsiteX2" fmla="*/ 258213 w 796756"/>
              <a:gd name="connsiteY2" fmla="*/ 56098 h 956474"/>
              <a:gd name="connsiteX3" fmla="*/ 232969 w 796756"/>
              <a:gd name="connsiteY3" fmla="*/ 84147 h 956474"/>
              <a:gd name="connsiteX4" fmla="*/ 196505 w 796756"/>
              <a:gd name="connsiteY4" fmla="*/ 109391 h 956474"/>
              <a:gd name="connsiteX5" fmla="*/ 162847 w 796756"/>
              <a:gd name="connsiteY5" fmla="*/ 137440 h 956474"/>
              <a:gd name="connsiteX6" fmla="*/ 120773 w 796756"/>
              <a:gd name="connsiteY6" fmla="*/ 165489 h 956474"/>
              <a:gd name="connsiteX7" fmla="*/ 98334 w 796756"/>
              <a:gd name="connsiteY7" fmla="*/ 199148 h 956474"/>
              <a:gd name="connsiteX8" fmla="*/ 73090 w 796756"/>
              <a:gd name="connsiteY8" fmla="*/ 244027 h 956474"/>
              <a:gd name="connsiteX9" fmla="*/ 61870 w 796756"/>
              <a:gd name="connsiteY9" fmla="*/ 297320 h 956474"/>
              <a:gd name="connsiteX10" fmla="*/ 56260 w 796756"/>
              <a:gd name="connsiteY10" fmla="*/ 330979 h 956474"/>
              <a:gd name="connsiteX11" fmla="*/ 39431 w 796756"/>
              <a:gd name="connsiteY11" fmla="*/ 359028 h 956474"/>
              <a:gd name="connsiteX12" fmla="*/ 19796 w 796756"/>
              <a:gd name="connsiteY12" fmla="*/ 378662 h 956474"/>
              <a:gd name="connsiteX13" fmla="*/ 5772 w 796756"/>
              <a:gd name="connsiteY13" fmla="*/ 395492 h 956474"/>
              <a:gd name="connsiteX14" fmla="*/ 162 w 796756"/>
              <a:gd name="connsiteY14" fmla="*/ 423541 h 956474"/>
              <a:gd name="connsiteX15" fmla="*/ 11382 w 796756"/>
              <a:gd name="connsiteY15" fmla="*/ 457200 h 956474"/>
              <a:gd name="connsiteX16" fmla="*/ 42236 w 796756"/>
              <a:gd name="connsiteY16" fmla="*/ 504883 h 956474"/>
              <a:gd name="connsiteX17" fmla="*/ 95529 w 796756"/>
              <a:gd name="connsiteY17" fmla="*/ 552567 h 956474"/>
              <a:gd name="connsiteX18" fmla="*/ 154432 w 796756"/>
              <a:gd name="connsiteY18" fmla="*/ 614275 h 956474"/>
              <a:gd name="connsiteX19" fmla="*/ 185286 w 796756"/>
              <a:gd name="connsiteY19" fmla="*/ 667568 h 956474"/>
              <a:gd name="connsiteX20" fmla="*/ 232969 w 796756"/>
              <a:gd name="connsiteY20" fmla="*/ 701227 h 956474"/>
              <a:gd name="connsiteX21" fmla="*/ 249799 w 796756"/>
              <a:gd name="connsiteY21" fmla="*/ 715251 h 956474"/>
              <a:gd name="connsiteX22" fmla="*/ 277848 w 796756"/>
              <a:gd name="connsiteY22" fmla="*/ 718056 h 956474"/>
              <a:gd name="connsiteX23" fmla="*/ 297482 w 796756"/>
              <a:gd name="connsiteY23" fmla="*/ 746105 h 956474"/>
              <a:gd name="connsiteX24" fmla="*/ 328336 w 796756"/>
              <a:gd name="connsiteY24" fmla="*/ 760130 h 956474"/>
              <a:gd name="connsiteX25" fmla="*/ 361995 w 796756"/>
              <a:gd name="connsiteY25" fmla="*/ 760130 h 956474"/>
              <a:gd name="connsiteX26" fmla="*/ 392849 w 796756"/>
              <a:gd name="connsiteY26" fmla="*/ 790984 h 956474"/>
              <a:gd name="connsiteX27" fmla="*/ 496631 w 796756"/>
              <a:gd name="connsiteY27" fmla="*/ 827448 h 956474"/>
              <a:gd name="connsiteX28" fmla="*/ 558339 w 796756"/>
              <a:gd name="connsiteY28" fmla="*/ 833058 h 956474"/>
              <a:gd name="connsiteX29" fmla="*/ 597607 w 796756"/>
              <a:gd name="connsiteY29" fmla="*/ 833058 h 956474"/>
              <a:gd name="connsiteX30" fmla="*/ 617242 w 796756"/>
              <a:gd name="connsiteY30" fmla="*/ 849887 h 956474"/>
              <a:gd name="connsiteX31" fmla="*/ 648096 w 796756"/>
              <a:gd name="connsiteY31" fmla="*/ 872326 h 956474"/>
              <a:gd name="connsiteX32" fmla="*/ 673340 w 796756"/>
              <a:gd name="connsiteY32" fmla="*/ 891961 h 956474"/>
              <a:gd name="connsiteX33" fmla="*/ 701389 w 796756"/>
              <a:gd name="connsiteY33" fmla="*/ 897570 h 956474"/>
              <a:gd name="connsiteX34" fmla="*/ 723828 w 796756"/>
              <a:gd name="connsiteY34" fmla="*/ 894766 h 956474"/>
              <a:gd name="connsiteX35" fmla="*/ 751877 w 796756"/>
              <a:gd name="connsiteY35" fmla="*/ 920010 h 956474"/>
              <a:gd name="connsiteX36" fmla="*/ 771512 w 796756"/>
              <a:gd name="connsiteY36" fmla="*/ 939644 h 956474"/>
              <a:gd name="connsiteX37" fmla="*/ 796756 w 796756"/>
              <a:gd name="connsiteY37" fmla="*/ 956474 h 956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796756" h="956474">
                <a:moveTo>
                  <a:pt x="333946" y="0"/>
                </a:moveTo>
                <a:cubicBezTo>
                  <a:pt x="312208" y="13557"/>
                  <a:pt x="290470" y="27114"/>
                  <a:pt x="277848" y="36464"/>
                </a:cubicBezTo>
                <a:cubicBezTo>
                  <a:pt x="265226" y="45814"/>
                  <a:pt x="265693" y="48151"/>
                  <a:pt x="258213" y="56098"/>
                </a:cubicBezTo>
                <a:cubicBezTo>
                  <a:pt x="250733" y="64045"/>
                  <a:pt x="243254" y="75265"/>
                  <a:pt x="232969" y="84147"/>
                </a:cubicBezTo>
                <a:cubicBezTo>
                  <a:pt x="222684" y="93029"/>
                  <a:pt x="208192" y="100509"/>
                  <a:pt x="196505" y="109391"/>
                </a:cubicBezTo>
                <a:cubicBezTo>
                  <a:pt x="184818" y="118273"/>
                  <a:pt x="175469" y="128090"/>
                  <a:pt x="162847" y="137440"/>
                </a:cubicBezTo>
                <a:cubicBezTo>
                  <a:pt x="150225" y="146790"/>
                  <a:pt x="131525" y="155204"/>
                  <a:pt x="120773" y="165489"/>
                </a:cubicBezTo>
                <a:cubicBezTo>
                  <a:pt x="110021" y="175774"/>
                  <a:pt x="106281" y="186058"/>
                  <a:pt x="98334" y="199148"/>
                </a:cubicBezTo>
                <a:cubicBezTo>
                  <a:pt x="90387" y="212238"/>
                  <a:pt x="79167" y="227665"/>
                  <a:pt x="73090" y="244027"/>
                </a:cubicBezTo>
                <a:cubicBezTo>
                  <a:pt x="67013" y="260389"/>
                  <a:pt x="64675" y="282828"/>
                  <a:pt x="61870" y="297320"/>
                </a:cubicBezTo>
                <a:cubicBezTo>
                  <a:pt x="59065" y="311812"/>
                  <a:pt x="60000" y="320694"/>
                  <a:pt x="56260" y="330979"/>
                </a:cubicBezTo>
                <a:cubicBezTo>
                  <a:pt x="52520" y="341264"/>
                  <a:pt x="45508" y="351081"/>
                  <a:pt x="39431" y="359028"/>
                </a:cubicBezTo>
                <a:cubicBezTo>
                  <a:pt x="33354" y="366975"/>
                  <a:pt x="25406" y="372585"/>
                  <a:pt x="19796" y="378662"/>
                </a:cubicBezTo>
                <a:cubicBezTo>
                  <a:pt x="14186" y="384739"/>
                  <a:pt x="9044" y="388012"/>
                  <a:pt x="5772" y="395492"/>
                </a:cubicBezTo>
                <a:cubicBezTo>
                  <a:pt x="2500" y="402972"/>
                  <a:pt x="-773" y="413256"/>
                  <a:pt x="162" y="423541"/>
                </a:cubicBezTo>
                <a:cubicBezTo>
                  <a:pt x="1097" y="433826"/>
                  <a:pt x="4370" y="443643"/>
                  <a:pt x="11382" y="457200"/>
                </a:cubicBezTo>
                <a:cubicBezTo>
                  <a:pt x="18394" y="470757"/>
                  <a:pt x="28211" y="488989"/>
                  <a:pt x="42236" y="504883"/>
                </a:cubicBezTo>
                <a:cubicBezTo>
                  <a:pt x="56260" y="520778"/>
                  <a:pt x="76830" y="534335"/>
                  <a:pt x="95529" y="552567"/>
                </a:cubicBezTo>
                <a:cubicBezTo>
                  <a:pt x="114228" y="570799"/>
                  <a:pt x="139473" y="595108"/>
                  <a:pt x="154432" y="614275"/>
                </a:cubicBezTo>
                <a:cubicBezTo>
                  <a:pt x="169391" y="633442"/>
                  <a:pt x="172196" y="653076"/>
                  <a:pt x="185286" y="667568"/>
                </a:cubicBezTo>
                <a:cubicBezTo>
                  <a:pt x="198375" y="682060"/>
                  <a:pt x="222217" y="693280"/>
                  <a:pt x="232969" y="701227"/>
                </a:cubicBezTo>
                <a:cubicBezTo>
                  <a:pt x="243721" y="709174"/>
                  <a:pt x="242319" y="712446"/>
                  <a:pt x="249799" y="715251"/>
                </a:cubicBezTo>
                <a:cubicBezTo>
                  <a:pt x="257279" y="718056"/>
                  <a:pt x="269901" y="712914"/>
                  <a:pt x="277848" y="718056"/>
                </a:cubicBezTo>
                <a:cubicBezTo>
                  <a:pt x="285795" y="723198"/>
                  <a:pt x="289068" y="739093"/>
                  <a:pt x="297482" y="746105"/>
                </a:cubicBezTo>
                <a:cubicBezTo>
                  <a:pt x="305896" y="753117"/>
                  <a:pt x="317584" y="757793"/>
                  <a:pt x="328336" y="760130"/>
                </a:cubicBezTo>
                <a:cubicBezTo>
                  <a:pt x="339088" y="762468"/>
                  <a:pt x="351243" y="754988"/>
                  <a:pt x="361995" y="760130"/>
                </a:cubicBezTo>
                <a:cubicBezTo>
                  <a:pt x="372747" y="765272"/>
                  <a:pt x="370410" y="779764"/>
                  <a:pt x="392849" y="790984"/>
                </a:cubicBezTo>
                <a:cubicBezTo>
                  <a:pt x="415288" y="802204"/>
                  <a:pt x="469049" y="820436"/>
                  <a:pt x="496631" y="827448"/>
                </a:cubicBezTo>
                <a:cubicBezTo>
                  <a:pt x="524213" y="834460"/>
                  <a:pt x="541510" y="832123"/>
                  <a:pt x="558339" y="833058"/>
                </a:cubicBezTo>
                <a:cubicBezTo>
                  <a:pt x="575168" y="833993"/>
                  <a:pt x="587790" y="830253"/>
                  <a:pt x="597607" y="833058"/>
                </a:cubicBezTo>
                <a:cubicBezTo>
                  <a:pt x="607424" y="835863"/>
                  <a:pt x="608827" y="843342"/>
                  <a:pt x="617242" y="849887"/>
                </a:cubicBezTo>
                <a:cubicBezTo>
                  <a:pt x="625657" y="856432"/>
                  <a:pt x="638746" y="865314"/>
                  <a:pt x="648096" y="872326"/>
                </a:cubicBezTo>
                <a:cubicBezTo>
                  <a:pt x="657446" y="879338"/>
                  <a:pt x="664458" y="887754"/>
                  <a:pt x="673340" y="891961"/>
                </a:cubicBezTo>
                <a:cubicBezTo>
                  <a:pt x="682222" y="896168"/>
                  <a:pt x="692974" y="897102"/>
                  <a:pt x="701389" y="897570"/>
                </a:cubicBezTo>
                <a:cubicBezTo>
                  <a:pt x="709804" y="898038"/>
                  <a:pt x="715413" y="891026"/>
                  <a:pt x="723828" y="894766"/>
                </a:cubicBezTo>
                <a:cubicBezTo>
                  <a:pt x="732243" y="898506"/>
                  <a:pt x="743930" y="912530"/>
                  <a:pt x="751877" y="920010"/>
                </a:cubicBezTo>
                <a:cubicBezTo>
                  <a:pt x="759824" y="927490"/>
                  <a:pt x="764032" y="933567"/>
                  <a:pt x="771512" y="939644"/>
                </a:cubicBezTo>
                <a:cubicBezTo>
                  <a:pt x="778992" y="945721"/>
                  <a:pt x="787874" y="951097"/>
                  <a:pt x="796756" y="956474"/>
                </a:cubicBezTo>
              </a:path>
            </a:pathLst>
          </a:custGeom>
          <a:noFill/>
          <a:ln w="762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7" name="Полилиния 226"/>
          <p:cNvSpPr/>
          <p:nvPr/>
        </p:nvSpPr>
        <p:spPr>
          <a:xfrm>
            <a:off x="6127200" y="3900682"/>
            <a:ext cx="796756" cy="956474"/>
          </a:xfrm>
          <a:custGeom>
            <a:avLst/>
            <a:gdLst>
              <a:gd name="connsiteX0" fmla="*/ 333946 w 796756"/>
              <a:gd name="connsiteY0" fmla="*/ 0 h 956474"/>
              <a:gd name="connsiteX1" fmla="*/ 277848 w 796756"/>
              <a:gd name="connsiteY1" fmla="*/ 36464 h 956474"/>
              <a:gd name="connsiteX2" fmla="*/ 258213 w 796756"/>
              <a:gd name="connsiteY2" fmla="*/ 56098 h 956474"/>
              <a:gd name="connsiteX3" fmla="*/ 232969 w 796756"/>
              <a:gd name="connsiteY3" fmla="*/ 84147 h 956474"/>
              <a:gd name="connsiteX4" fmla="*/ 196505 w 796756"/>
              <a:gd name="connsiteY4" fmla="*/ 109391 h 956474"/>
              <a:gd name="connsiteX5" fmla="*/ 162847 w 796756"/>
              <a:gd name="connsiteY5" fmla="*/ 137440 h 956474"/>
              <a:gd name="connsiteX6" fmla="*/ 120773 w 796756"/>
              <a:gd name="connsiteY6" fmla="*/ 165489 h 956474"/>
              <a:gd name="connsiteX7" fmla="*/ 98334 w 796756"/>
              <a:gd name="connsiteY7" fmla="*/ 199148 h 956474"/>
              <a:gd name="connsiteX8" fmla="*/ 73090 w 796756"/>
              <a:gd name="connsiteY8" fmla="*/ 244027 h 956474"/>
              <a:gd name="connsiteX9" fmla="*/ 61870 w 796756"/>
              <a:gd name="connsiteY9" fmla="*/ 297320 h 956474"/>
              <a:gd name="connsiteX10" fmla="*/ 56260 w 796756"/>
              <a:gd name="connsiteY10" fmla="*/ 330979 h 956474"/>
              <a:gd name="connsiteX11" fmla="*/ 39431 w 796756"/>
              <a:gd name="connsiteY11" fmla="*/ 359028 h 956474"/>
              <a:gd name="connsiteX12" fmla="*/ 19796 w 796756"/>
              <a:gd name="connsiteY12" fmla="*/ 378662 h 956474"/>
              <a:gd name="connsiteX13" fmla="*/ 5772 w 796756"/>
              <a:gd name="connsiteY13" fmla="*/ 395492 h 956474"/>
              <a:gd name="connsiteX14" fmla="*/ 162 w 796756"/>
              <a:gd name="connsiteY14" fmla="*/ 423541 h 956474"/>
              <a:gd name="connsiteX15" fmla="*/ 11382 w 796756"/>
              <a:gd name="connsiteY15" fmla="*/ 457200 h 956474"/>
              <a:gd name="connsiteX16" fmla="*/ 42236 w 796756"/>
              <a:gd name="connsiteY16" fmla="*/ 504883 h 956474"/>
              <a:gd name="connsiteX17" fmla="*/ 95529 w 796756"/>
              <a:gd name="connsiteY17" fmla="*/ 552567 h 956474"/>
              <a:gd name="connsiteX18" fmla="*/ 154432 w 796756"/>
              <a:gd name="connsiteY18" fmla="*/ 614275 h 956474"/>
              <a:gd name="connsiteX19" fmla="*/ 185286 w 796756"/>
              <a:gd name="connsiteY19" fmla="*/ 667568 h 956474"/>
              <a:gd name="connsiteX20" fmla="*/ 232969 w 796756"/>
              <a:gd name="connsiteY20" fmla="*/ 701227 h 956474"/>
              <a:gd name="connsiteX21" fmla="*/ 249799 w 796756"/>
              <a:gd name="connsiteY21" fmla="*/ 715251 h 956474"/>
              <a:gd name="connsiteX22" fmla="*/ 277848 w 796756"/>
              <a:gd name="connsiteY22" fmla="*/ 718056 h 956474"/>
              <a:gd name="connsiteX23" fmla="*/ 297482 w 796756"/>
              <a:gd name="connsiteY23" fmla="*/ 746105 h 956474"/>
              <a:gd name="connsiteX24" fmla="*/ 328336 w 796756"/>
              <a:gd name="connsiteY24" fmla="*/ 760130 h 956474"/>
              <a:gd name="connsiteX25" fmla="*/ 361995 w 796756"/>
              <a:gd name="connsiteY25" fmla="*/ 760130 h 956474"/>
              <a:gd name="connsiteX26" fmla="*/ 392849 w 796756"/>
              <a:gd name="connsiteY26" fmla="*/ 790984 h 956474"/>
              <a:gd name="connsiteX27" fmla="*/ 496631 w 796756"/>
              <a:gd name="connsiteY27" fmla="*/ 827448 h 956474"/>
              <a:gd name="connsiteX28" fmla="*/ 558339 w 796756"/>
              <a:gd name="connsiteY28" fmla="*/ 833058 h 956474"/>
              <a:gd name="connsiteX29" fmla="*/ 597607 w 796756"/>
              <a:gd name="connsiteY29" fmla="*/ 833058 h 956474"/>
              <a:gd name="connsiteX30" fmla="*/ 617242 w 796756"/>
              <a:gd name="connsiteY30" fmla="*/ 849887 h 956474"/>
              <a:gd name="connsiteX31" fmla="*/ 648096 w 796756"/>
              <a:gd name="connsiteY31" fmla="*/ 872326 h 956474"/>
              <a:gd name="connsiteX32" fmla="*/ 673340 w 796756"/>
              <a:gd name="connsiteY32" fmla="*/ 891961 h 956474"/>
              <a:gd name="connsiteX33" fmla="*/ 701389 w 796756"/>
              <a:gd name="connsiteY33" fmla="*/ 897570 h 956474"/>
              <a:gd name="connsiteX34" fmla="*/ 723828 w 796756"/>
              <a:gd name="connsiteY34" fmla="*/ 894766 h 956474"/>
              <a:gd name="connsiteX35" fmla="*/ 751877 w 796756"/>
              <a:gd name="connsiteY35" fmla="*/ 920010 h 956474"/>
              <a:gd name="connsiteX36" fmla="*/ 771512 w 796756"/>
              <a:gd name="connsiteY36" fmla="*/ 939644 h 956474"/>
              <a:gd name="connsiteX37" fmla="*/ 796756 w 796756"/>
              <a:gd name="connsiteY37" fmla="*/ 956474 h 956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796756" h="956474">
                <a:moveTo>
                  <a:pt x="333946" y="0"/>
                </a:moveTo>
                <a:cubicBezTo>
                  <a:pt x="312208" y="13557"/>
                  <a:pt x="290470" y="27114"/>
                  <a:pt x="277848" y="36464"/>
                </a:cubicBezTo>
                <a:cubicBezTo>
                  <a:pt x="265226" y="45814"/>
                  <a:pt x="265693" y="48151"/>
                  <a:pt x="258213" y="56098"/>
                </a:cubicBezTo>
                <a:cubicBezTo>
                  <a:pt x="250733" y="64045"/>
                  <a:pt x="243254" y="75265"/>
                  <a:pt x="232969" y="84147"/>
                </a:cubicBezTo>
                <a:cubicBezTo>
                  <a:pt x="222684" y="93029"/>
                  <a:pt x="208192" y="100509"/>
                  <a:pt x="196505" y="109391"/>
                </a:cubicBezTo>
                <a:cubicBezTo>
                  <a:pt x="184818" y="118273"/>
                  <a:pt x="175469" y="128090"/>
                  <a:pt x="162847" y="137440"/>
                </a:cubicBezTo>
                <a:cubicBezTo>
                  <a:pt x="150225" y="146790"/>
                  <a:pt x="131525" y="155204"/>
                  <a:pt x="120773" y="165489"/>
                </a:cubicBezTo>
                <a:cubicBezTo>
                  <a:pt x="110021" y="175774"/>
                  <a:pt x="106281" y="186058"/>
                  <a:pt x="98334" y="199148"/>
                </a:cubicBezTo>
                <a:cubicBezTo>
                  <a:pt x="90387" y="212238"/>
                  <a:pt x="79167" y="227665"/>
                  <a:pt x="73090" y="244027"/>
                </a:cubicBezTo>
                <a:cubicBezTo>
                  <a:pt x="67013" y="260389"/>
                  <a:pt x="64675" y="282828"/>
                  <a:pt x="61870" y="297320"/>
                </a:cubicBezTo>
                <a:cubicBezTo>
                  <a:pt x="59065" y="311812"/>
                  <a:pt x="60000" y="320694"/>
                  <a:pt x="56260" y="330979"/>
                </a:cubicBezTo>
                <a:cubicBezTo>
                  <a:pt x="52520" y="341264"/>
                  <a:pt x="45508" y="351081"/>
                  <a:pt x="39431" y="359028"/>
                </a:cubicBezTo>
                <a:cubicBezTo>
                  <a:pt x="33354" y="366975"/>
                  <a:pt x="25406" y="372585"/>
                  <a:pt x="19796" y="378662"/>
                </a:cubicBezTo>
                <a:cubicBezTo>
                  <a:pt x="14186" y="384739"/>
                  <a:pt x="9044" y="388012"/>
                  <a:pt x="5772" y="395492"/>
                </a:cubicBezTo>
                <a:cubicBezTo>
                  <a:pt x="2500" y="402972"/>
                  <a:pt x="-773" y="413256"/>
                  <a:pt x="162" y="423541"/>
                </a:cubicBezTo>
                <a:cubicBezTo>
                  <a:pt x="1097" y="433826"/>
                  <a:pt x="4370" y="443643"/>
                  <a:pt x="11382" y="457200"/>
                </a:cubicBezTo>
                <a:cubicBezTo>
                  <a:pt x="18394" y="470757"/>
                  <a:pt x="28211" y="488989"/>
                  <a:pt x="42236" y="504883"/>
                </a:cubicBezTo>
                <a:cubicBezTo>
                  <a:pt x="56260" y="520778"/>
                  <a:pt x="76830" y="534335"/>
                  <a:pt x="95529" y="552567"/>
                </a:cubicBezTo>
                <a:cubicBezTo>
                  <a:pt x="114228" y="570799"/>
                  <a:pt x="139473" y="595108"/>
                  <a:pt x="154432" y="614275"/>
                </a:cubicBezTo>
                <a:cubicBezTo>
                  <a:pt x="169391" y="633442"/>
                  <a:pt x="172196" y="653076"/>
                  <a:pt x="185286" y="667568"/>
                </a:cubicBezTo>
                <a:cubicBezTo>
                  <a:pt x="198375" y="682060"/>
                  <a:pt x="222217" y="693280"/>
                  <a:pt x="232969" y="701227"/>
                </a:cubicBezTo>
                <a:cubicBezTo>
                  <a:pt x="243721" y="709174"/>
                  <a:pt x="242319" y="712446"/>
                  <a:pt x="249799" y="715251"/>
                </a:cubicBezTo>
                <a:cubicBezTo>
                  <a:pt x="257279" y="718056"/>
                  <a:pt x="269901" y="712914"/>
                  <a:pt x="277848" y="718056"/>
                </a:cubicBezTo>
                <a:cubicBezTo>
                  <a:pt x="285795" y="723198"/>
                  <a:pt x="289068" y="739093"/>
                  <a:pt x="297482" y="746105"/>
                </a:cubicBezTo>
                <a:cubicBezTo>
                  <a:pt x="305896" y="753117"/>
                  <a:pt x="317584" y="757793"/>
                  <a:pt x="328336" y="760130"/>
                </a:cubicBezTo>
                <a:cubicBezTo>
                  <a:pt x="339088" y="762468"/>
                  <a:pt x="351243" y="754988"/>
                  <a:pt x="361995" y="760130"/>
                </a:cubicBezTo>
                <a:cubicBezTo>
                  <a:pt x="372747" y="765272"/>
                  <a:pt x="370410" y="779764"/>
                  <a:pt x="392849" y="790984"/>
                </a:cubicBezTo>
                <a:cubicBezTo>
                  <a:pt x="415288" y="802204"/>
                  <a:pt x="469049" y="820436"/>
                  <a:pt x="496631" y="827448"/>
                </a:cubicBezTo>
                <a:cubicBezTo>
                  <a:pt x="524213" y="834460"/>
                  <a:pt x="541510" y="832123"/>
                  <a:pt x="558339" y="833058"/>
                </a:cubicBezTo>
                <a:cubicBezTo>
                  <a:pt x="575168" y="833993"/>
                  <a:pt x="587790" y="830253"/>
                  <a:pt x="597607" y="833058"/>
                </a:cubicBezTo>
                <a:cubicBezTo>
                  <a:pt x="607424" y="835863"/>
                  <a:pt x="608827" y="843342"/>
                  <a:pt x="617242" y="849887"/>
                </a:cubicBezTo>
                <a:cubicBezTo>
                  <a:pt x="625657" y="856432"/>
                  <a:pt x="638746" y="865314"/>
                  <a:pt x="648096" y="872326"/>
                </a:cubicBezTo>
                <a:cubicBezTo>
                  <a:pt x="657446" y="879338"/>
                  <a:pt x="664458" y="887754"/>
                  <a:pt x="673340" y="891961"/>
                </a:cubicBezTo>
                <a:cubicBezTo>
                  <a:pt x="682222" y="896168"/>
                  <a:pt x="692974" y="897102"/>
                  <a:pt x="701389" y="897570"/>
                </a:cubicBezTo>
                <a:cubicBezTo>
                  <a:pt x="709804" y="898038"/>
                  <a:pt x="715413" y="891026"/>
                  <a:pt x="723828" y="894766"/>
                </a:cubicBezTo>
                <a:cubicBezTo>
                  <a:pt x="732243" y="898506"/>
                  <a:pt x="743930" y="912530"/>
                  <a:pt x="751877" y="920010"/>
                </a:cubicBezTo>
                <a:cubicBezTo>
                  <a:pt x="759824" y="927490"/>
                  <a:pt x="764032" y="933567"/>
                  <a:pt x="771512" y="939644"/>
                </a:cubicBezTo>
                <a:cubicBezTo>
                  <a:pt x="778992" y="945721"/>
                  <a:pt x="787874" y="951097"/>
                  <a:pt x="796756" y="956474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9" name="Полилиния 228"/>
          <p:cNvSpPr/>
          <p:nvPr/>
        </p:nvSpPr>
        <p:spPr>
          <a:xfrm>
            <a:off x="6148204" y="3924066"/>
            <a:ext cx="788423" cy="922815"/>
          </a:xfrm>
          <a:custGeom>
            <a:avLst/>
            <a:gdLst>
              <a:gd name="connsiteX0" fmla="*/ 322719 w 788423"/>
              <a:gd name="connsiteY0" fmla="*/ 0 h 922815"/>
              <a:gd name="connsiteX1" fmla="*/ 230157 w 788423"/>
              <a:gd name="connsiteY1" fmla="*/ 72928 h 922815"/>
              <a:gd name="connsiteX2" fmla="*/ 190888 w 788423"/>
              <a:gd name="connsiteY2" fmla="*/ 109392 h 922815"/>
              <a:gd name="connsiteX3" fmla="*/ 140400 w 788423"/>
              <a:gd name="connsiteY3" fmla="*/ 145855 h 922815"/>
              <a:gd name="connsiteX4" fmla="*/ 103936 w 788423"/>
              <a:gd name="connsiteY4" fmla="*/ 176709 h 922815"/>
              <a:gd name="connsiteX5" fmla="*/ 73082 w 788423"/>
              <a:gd name="connsiteY5" fmla="*/ 232808 h 922815"/>
              <a:gd name="connsiteX6" fmla="*/ 59057 w 788423"/>
              <a:gd name="connsiteY6" fmla="*/ 294516 h 922815"/>
              <a:gd name="connsiteX7" fmla="*/ 47838 w 788423"/>
              <a:gd name="connsiteY7" fmla="*/ 333784 h 922815"/>
              <a:gd name="connsiteX8" fmla="*/ 22594 w 788423"/>
              <a:gd name="connsiteY8" fmla="*/ 364638 h 922815"/>
              <a:gd name="connsiteX9" fmla="*/ 154 w 788423"/>
              <a:gd name="connsiteY9" fmla="*/ 389882 h 922815"/>
              <a:gd name="connsiteX10" fmla="*/ 14179 w 788423"/>
              <a:gd name="connsiteY10" fmla="*/ 437566 h 922815"/>
              <a:gd name="connsiteX11" fmla="*/ 42228 w 788423"/>
              <a:gd name="connsiteY11" fmla="*/ 479640 h 922815"/>
              <a:gd name="connsiteX12" fmla="*/ 89911 w 788423"/>
              <a:gd name="connsiteY12" fmla="*/ 524518 h 922815"/>
              <a:gd name="connsiteX13" fmla="*/ 151619 w 788423"/>
              <a:gd name="connsiteY13" fmla="*/ 594641 h 922815"/>
              <a:gd name="connsiteX14" fmla="*/ 171254 w 788423"/>
              <a:gd name="connsiteY14" fmla="*/ 622690 h 922815"/>
              <a:gd name="connsiteX15" fmla="*/ 199303 w 788423"/>
              <a:gd name="connsiteY15" fmla="*/ 650739 h 922815"/>
              <a:gd name="connsiteX16" fmla="*/ 232962 w 788423"/>
              <a:gd name="connsiteY16" fmla="*/ 670373 h 922815"/>
              <a:gd name="connsiteX17" fmla="*/ 258206 w 788423"/>
              <a:gd name="connsiteY17" fmla="*/ 681593 h 922815"/>
              <a:gd name="connsiteX18" fmla="*/ 272230 w 788423"/>
              <a:gd name="connsiteY18" fmla="*/ 681593 h 922815"/>
              <a:gd name="connsiteX19" fmla="*/ 294670 w 788423"/>
              <a:gd name="connsiteY19" fmla="*/ 709642 h 922815"/>
              <a:gd name="connsiteX20" fmla="*/ 308694 w 788423"/>
              <a:gd name="connsiteY20" fmla="*/ 718057 h 922815"/>
              <a:gd name="connsiteX21" fmla="*/ 331133 w 788423"/>
              <a:gd name="connsiteY21" fmla="*/ 718057 h 922815"/>
              <a:gd name="connsiteX22" fmla="*/ 356378 w 788423"/>
              <a:gd name="connsiteY22" fmla="*/ 729276 h 922815"/>
              <a:gd name="connsiteX23" fmla="*/ 381622 w 788423"/>
              <a:gd name="connsiteY23" fmla="*/ 748911 h 922815"/>
              <a:gd name="connsiteX24" fmla="*/ 429305 w 788423"/>
              <a:gd name="connsiteY24" fmla="*/ 774155 h 922815"/>
              <a:gd name="connsiteX25" fmla="*/ 507843 w 788423"/>
              <a:gd name="connsiteY25" fmla="*/ 793789 h 922815"/>
              <a:gd name="connsiteX26" fmla="*/ 555526 w 788423"/>
              <a:gd name="connsiteY26" fmla="*/ 790984 h 922815"/>
              <a:gd name="connsiteX27" fmla="*/ 586380 w 788423"/>
              <a:gd name="connsiteY27" fmla="*/ 796594 h 922815"/>
              <a:gd name="connsiteX28" fmla="*/ 614429 w 788423"/>
              <a:gd name="connsiteY28" fmla="*/ 813424 h 922815"/>
              <a:gd name="connsiteX29" fmla="*/ 631259 w 788423"/>
              <a:gd name="connsiteY29" fmla="*/ 833058 h 922815"/>
              <a:gd name="connsiteX30" fmla="*/ 659308 w 788423"/>
              <a:gd name="connsiteY30" fmla="*/ 849887 h 922815"/>
              <a:gd name="connsiteX31" fmla="*/ 673332 w 788423"/>
              <a:gd name="connsiteY31" fmla="*/ 855497 h 922815"/>
              <a:gd name="connsiteX32" fmla="*/ 698576 w 788423"/>
              <a:gd name="connsiteY32" fmla="*/ 855497 h 922815"/>
              <a:gd name="connsiteX33" fmla="*/ 718211 w 788423"/>
              <a:gd name="connsiteY33" fmla="*/ 855497 h 922815"/>
              <a:gd name="connsiteX34" fmla="*/ 751870 w 788423"/>
              <a:gd name="connsiteY34" fmla="*/ 891961 h 922815"/>
              <a:gd name="connsiteX35" fmla="*/ 782724 w 788423"/>
              <a:gd name="connsiteY35" fmla="*/ 917205 h 922815"/>
              <a:gd name="connsiteX36" fmla="*/ 788333 w 788423"/>
              <a:gd name="connsiteY36" fmla="*/ 922815 h 922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788423" h="922815">
                <a:moveTo>
                  <a:pt x="322719" y="0"/>
                </a:moveTo>
                <a:cubicBezTo>
                  <a:pt x="287424" y="27348"/>
                  <a:pt x="252129" y="54696"/>
                  <a:pt x="230157" y="72928"/>
                </a:cubicBezTo>
                <a:cubicBezTo>
                  <a:pt x="208185" y="91160"/>
                  <a:pt x="205847" y="97238"/>
                  <a:pt x="190888" y="109392"/>
                </a:cubicBezTo>
                <a:cubicBezTo>
                  <a:pt x="175928" y="121547"/>
                  <a:pt x="154892" y="134636"/>
                  <a:pt x="140400" y="145855"/>
                </a:cubicBezTo>
                <a:cubicBezTo>
                  <a:pt x="125908" y="157074"/>
                  <a:pt x="115156" y="162217"/>
                  <a:pt x="103936" y="176709"/>
                </a:cubicBezTo>
                <a:cubicBezTo>
                  <a:pt x="92716" y="191201"/>
                  <a:pt x="80562" y="213174"/>
                  <a:pt x="73082" y="232808"/>
                </a:cubicBezTo>
                <a:cubicBezTo>
                  <a:pt x="65602" y="252443"/>
                  <a:pt x="63264" y="277687"/>
                  <a:pt x="59057" y="294516"/>
                </a:cubicBezTo>
                <a:cubicBezTo>
                  <a:pt x="54850" y="311345"/>
                  <a:pt x="53915" y="322097"/>
                  <a:pt x="47838" y="333784"/>
                </a:cubicBezTo>
                <a:cubicBezTo>
                  <a:pt x="41761" y="345471"/>
                  <a:pt x="30541" y="355288"/>
                  <a:pt x="22594" y="364638"/>
                </a:cubicBezTo>
                <a:cubicBezTo>
                  <a:pt x="14647" y="373988"/>
                  <a:pt x="1556" y="377727"/>
                  <a:pt x="154" y="389882"/>
                </a:cubicBezTo>
                <a:cubicBezTo>
                  <a:pt x="-1249" y="402037"/>
                  <a:pt x="7167" y="422606"/>
                  <a:pt x="14179" y="437566"/>
                </a:cubicBezTo>
                <a:cubicBezTo>
                  <a:pt x="21191" y="452526"/>
                  <a:pt x="29606" y="465148"/>
                  <a:pt x="42228" y="479640"/>
                </a:cubicBezTo>
                <a:cubicBezTo>
                  <a:pt x="54850" y="494132"/>
                  <a:pt x="71679" y="505351"/>
                  <a:pt x="89911" y="524518"/>
                </a:cubicBezTo>
                <a:cubicBezTo>
                  <a:pt x="108143" y="543685"/>
                  <a:pt x="138062" y="578279"/>
                  <a:pt x="151619" y="594641"/>
                </a:cubicBezTo>
                <a:cubicBezTo>
                  <a:pt x="165176" y="611003"/>
                  <a:pt x="163307" y="613340"/>
                  <a:pt x="171254" y="622690"/>
                </a:cubicBezTo>
                <a:cubicBezTo>
                  <a:pt x="179201" y="632040"/>
                  <a:pt x="189018" y="642792"/>
                  <a:pt x="199303" y="650739"/>
                </a:cubicBezTo>
                <a:cubicBezTo>
                  <a:pt x="209588" y="658686"/>
                  <a:pt x="223145" y="665231"/>
                  <a:pt x="232962" y="670373"/>
                </a:cubicBezTo>
                <a:cubicBezTo>
                  <a:pt x="242779" y="675515"/>
                  <a:pt x="251661" y="679723"/>
                  <a:pt x="258206" y="681593"/>
                </a:cubicBezTo>
                <a:cubicBezTo>
                  <a:pt x="264751" y="683463"/>
                  <a:pt x="266153" y="676918"/>
                  <a:pt x="272230" y="681593"/>
                </a:cubicBezTo>
                <a:cubicBezTo>
                  <a:pt x="278307" y="686268"/>
                  <a:pt x="288593" y="703565"/>
                  <a:pt x="294670" y="709642"/>
                </a:cubicBezTo>
                <a:cubicBezTo>
                  <a:pt x="300747" y="715719"/>
                  <a:pt x="302617" y="716655"/>
                  <a:pt x="308694" y="718057"/>
                </a:cubicBezTo>
                <a:cubicBezTo>
                  <a:pt x="314771" y="719460"/>
                  <a:pt x="323186" y="716187"/>
                  <a:pt x="331133" y="718057"/>
                </a:cubicBezTo>
                <a:cubicBezTo>
                  <a:pt x="339080" y="719927"/>
                  <a:pt x="347963" y="724134"/>
                  <a:pt x="356378" y="729276"/>
                </a:cubicBezTo>
                <a:cubicBezTo>
                  <a:pt x="364793" y="734418"/>
                  <a:pt x="369468" y="741431"/>
                  <a:pt x="381622" y="748911"/>
                </a:cubicBezTo>
                <a:cubicBezTo>
                  <a:pt x="393776" y="756391"/>
                  <a:pt x="408268" y="766675"/>
                  <a:pt x="429305" y="774155"/>
                </a:cubicBezTo>
                <a:cubicBezTo>
                  <a:pt x="450342" y="781635"/>
                  <a:pt x="486806" y="790984"/>
                  <a:pt x="507843" y="793789"/>
                </a:cubicBezTo>
                <a:cubicBezTo>
                  <a:pt x="528880" y="796594"/>
                  <a:pt x="542437" y="790517"/>
                  <a:pt x="555526" y="790984"/>
                </a:cubicBezTo>
                <a:cubicBezTo>
                  <a:pt x="568615" y="791451"/>
                  <a:pt x="576563" y="792854"/>
                  <a:pt x="586380" y="796594"/>
                </a:cubicBezTo>
                <a:cubicBezTo>
                  <a:pt x="596197" y="800334"/>
                  <a:pt x="606949" y="807347"/>
                  <a:pt x="614429" y="813424"/>
                </a:cubicBezTo>
                <a:cubicBezTo>
                  <a:pt x="621909" y="819501"/>
                  <a:pt x="623779" y="826981"/>
                  <a:pt x="631259" y="833058"/>
                </a:cubicBezTo>
                <a:cubicBezTo>
                  <a:pt x="638739" y="839135"/>
                  <a:pt x="652296" y="846147"/>
                  <a:pt x="659308" y="849887"/>
                </a:cubicBezTo>
                <a:cubicBezTo>
                  <a:pt x="666320" y="853627"/>
                  <a:pt x="666787" y="854562"/>
                  <a:pt x="673332" y="855497"/>
                </a:cubicBezTo>
                <a:cubicBezTo>
                  <a:pt x="679877" y="856432"/>
                  <a:pt x="698576" y="855497"/>
                  <a:pt x="698576" y="855497"/>
                </a:cubicBezTo>
                <a:cubicBezTo>
                  <a:pt x="706056" y="855497"/>
                  <a:pt x="709329" y="849420"/>
                  <a:pt x="718211" y="855497"/>
                </a:cubicBezTo>
                <a:cubicBezTo>
                  <a:pt x="727093" y="861574"/>
                  <a:pt x="741118" y="881676"/>
                  <a:pt x="751870" y="891961"/>
                </a:cubicBezTo>
                <a:cubicBezTo>
                  <a:pt x="762622" y="902246"/>
                  <a:pt x="782724" y="917205"/>
                  <a:pt x="782724" y="917205"/>
                </a:cubicBezTo>
                <a:cubicBezTo>
                  <a:pt x="788801" y="922347"/>
                  <a:pt x="788567" y="922581"/>
                  <a:pt x="788333" y="92281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1" name="Полилиния 230"/>
          <p:cNvSpPr/>
          <p:nvPr/>
        </p:nvSpPr>
        <p:spPr>
          <a:xfrm>
            <a:off x="6101099" y="3884798"/>
            <a:ext cx="819033" cy="995742"/>
          </a:xfrm>
          <a:custGeom>
            <a:avLst/>
            <a:gdLst>
              <a:gd name="connsiteX0" fmla="*/ 345004 w 819033"/>
              <a:gd name="connsiteY0" fmla="*/ 0 h 995742"/>
              <a:gd name="connsiteX1" fmla="*/ 288905 w 819033"/>
              <a:gd name="connsiteY1" fmla="*/ 36463 h 995742"/>
              <a:gd name="connsiteX2" fmla="*/ 244027 w 819033"/>
              <a:gd name="connsiteY2" fmla="*/ 89757 h 995742"/>
              <a:gd name="connsiteX3" fmla="*/ 213173 w 819033"/>
              <a:gd name="connsiteY3" fmla="*/ 109391 h 995742"/>
              <a:gd name="connsiteX4" fmla="*/ 168294 w 819033"/>
              <a:gd name="connsiteY4" fmla="*/ 140245 h 995742"/>
              <a:gd name="connsiteX5" fmla="*/ 129026 w 819033"/>
              <a:gd name="connsiteY5" fmla="*/ 173904 h 995742"/>
              <a:gd name="connsiteX6" fmla="*/ 92562 w 819033"/>
              <a:gd name="connsiteY6" fmla="*/ 227197 h 995742"/>
              <a:gd name="connsiteX7" fmla="*/ 67318 w 819033"/>
              <a:gd name="connsiteY7" fmla="*/ 322564 h 995742"/>
              <a:gd name="connsiteX8" fmla="*/ 53293 w 819033"/>
              <a:gd name="connsiteY8" fmla="*/ 361833 h 995742"/>
              <a:gd name="connsiteX9" fmla="*/ 19634 w 819033"/>
              <a:gd name="connsiteY9" fmla="*/ 401101 h 995742"/>
              <a:gd name="connsiteX10" fmla="*/ 0 w 819033"/>
              <a:gd name="connsiteY10" fmla="*/ 440370 h 995742"/>
              <a:gd name="connsiteX11" fmla="*/ 19634 w 819033"/>
              <a:gd name="connsiteY11" fmla="*/ 493663 h 995742"/>
              <a:gd name="connsiteX12" fmla="*/ 50488 w 819033"/>
              <a:gd name="connsiteY12" fmla="*/ 544152 h 995742"/>
              <a:gd name="connsiteX13" fmla="*/ 98172 w 819033"/>
              <a:gd name="connsiteY13" fmla="*/ 577811 h 995742"/>
              <a:gd name="connsiteX14" fmla="*/ 143050 w 819033"/>
              <a:gd name="connsiteY14" fmla="*/ 617079 h 995742"/>
              <a:gd name="connsiteX15" fmla="*/ 171099 w 819033"/>
              <a:gd name="connsiteY15" fmla="*/ 653543 h 995742"/>
              <a:gd name="connsiteX16" fmla="*/ 190734 w 819033"/>
              <a:gd name="connsiteY16" fmla="*/ 701227 h 995742"/>
              <a:gd name="connsiteX17" fmla="*/ 230002 w 819033"/>
              <a:gd name="connsiteY17" fmla="*/ 723666 h 995742"/>
              <a:gd name="connsiteX18" fmla="*/ 255246 w 819033"/>
              <a:gd name="connsiteY18" fmla="*/ 743300 h 995742"/>
              <a:gd name="connsiteX19" fmla="*/ 269271 w 819033"/>
              <a:gd name="connsiteY19" fmla="*/ 757325 h 995742"/>
              <a:gd name="connsiteX20" fmla="*/ 294515 w 819033"/>
              <a:gd name="connsiteY20" fmla="*/ 757325 h 995742"/>
              <a:gd name="connsiteX21" fmla="*/ 308540 w 819033"/>
              <a:gd name="connsiteY21" fmla="*/ 779764 h 995742"/>
              <a:gd name="connsiteX22" fmla="*/ 336589 w 819033"/>
              <a:gd name="connsiteY22" fmla="*/ 796593 h 995742"/>
              <a:gd name="connsiteX23" fmla="*/ 367443 w 819033"/>
              <a:gd name="connsiteY23" fmla="*/ 802203 h 995742"/>
              <a:gd name="connsiteX24" fmla="*/ 387077 w 819033"/>
              <a:gd name="connsiteY24" fmla="*/ 816228 h 995742"/>
              <a:gd name="connsiteX25" fmla="*/ 429151 w 819033"/>
              <a:gd name="connsiteY25" fmla="*/ 835862 h 995742"/>
              <a:gd name="connsiteX26" fmla="*/ 479639 w 819033"/>
              <a:gd name="connsiteY26" fmla="*/ 861106 h 995742"/>
              <a:gd name="connsiteX27" fmla="*/ 544152 w 819033"/>
              <a:gd name="connsiteY27" fmla="*/ 872326 h 995742"/>
              <a:gd name="connsiteX28" fmla="*/ 611470 w 819033"/>
              <a:gd name="connsiteY28" fmla="*/ 877936 h 995742"/>
              <a:gd name="connsiteX29" fmla="*/ 639519 w 819033"/>
              <a:gd name="connsiteY29" fmla="*/ 889155 h 995742"/>
              <a:gd name="connsiteX30" fmla="*/ 687202 w 819033"/>
              <a:gd name="connsiteY30" fmla="*/ 922814 h 995742"/>
              <a:gd name="connsiteX31" fmla="*/ 715251 w 819033"/>
              <a:gd name="connsiteY31" fmla="*/ 939644 h 995742"/>
              <a:gd name="connsiteX32" fmla="*/ 734886 w 819033"/>
              <a:gd name="connsiteY32" fmla="*/ 942449 h 995742"/>
              <a:gd name="connsiteX33" fmla="*/ 748910 w 819033"/>
              <a:gd name="connsiteY33" fmla="*/ 942449 h 995742"/>
              <a:gd name="connsiteX34" fmla="*/ 774154 w 819033"/>
              <a:gd name="connsiteY34" fmla="*/ 964888 h 995742"/>
              <a:gd name="connsiteX35" fmla="*/ 793789 w 819033"/>
              <a:gd name="connsiteY35" fmla="*/ 984522 h 995742"/>
              <a:gd name="connsiteX36" fmla="*/ 813423 w 819033"/>
              <a:gd name="connsiteY36" fmla="*/ 992937 h 995742"/>
              <a:gd name="connsiteX37" fmla="*/ 819033 w 819033"/>
              <a:gd name="connsiteY37" fmla="*/ 995742 h 995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819033" h="995742">
                <a:moveTo>
                  <a:pt x="345004" y="0"/>
                </a:moveTo>
                <a:cubicBezTo>
                  <a:pt x="325369" y="10752"/>
                  <a:pt x="305734" y="21504"/>
                  <a:pt x="288905" y="36463"/>
                </a:cubicBezTo>
                <a:cubicBezTo>
                  <a:pt x="272075" y="51423"/>
                  <a:pt x="256649" y="77602"/>
                  <a:pt x="244027" y="89757"/>
                </a:cubicBezTo>
                <a:cubicBezTo>
                  <a:pt x="231405" y="101912"/>
                  <a:pt x="225795" y="100976"/>
                  <a:pt x="213173" y="109391"/>
                </a:cubicBezTo>
                <a:cubicBezTo>
                  <a:pt x="200551" y="117806"/>
                  <a:pt x="182318" y="129493"/>
                  <a:pt x="168294" y="140245"/>
                </a:cubicBezTo>
                <a:cubicBezTo>
                  <a:pt x="154270" y="150997"/>
                  <a:pt x="141648" y="159412"/>
                  <a:pt x="129026" y="173904"/>
                </a:cubicBezTo>
                <a:cubicBezTo>
                  <a:pt x="116404" y="188396"/>
                  <a:pt x="102847" y="202421"/>
                  <a:pt x="92562" y="227197"/>
                </a:cubicBezTo>
                <a:cubicBezTo>
                  <a:pt x="82277" y="251973"/>
                  <a:pt x="73863" y="300125"/>
                  <a:pt x="67318" y="322564"/>
                </a:cubicBezTo>
                <a:cubicBezTo>
                  <a:pt x="60773" y="345003"/>
                  <a:pt x="61240" y="348744"/>
                  <a:pt x="53293" y="361833"/>
                </a:cubicBezTo>
                <a:cubicBezTo>
                  <a:pt x="45346" y="374922"/>
                  <a:pt x="28516" y="388012"/>
                  <a:pt x="19634" y="401101"/>
                </a:cubicBezTo>
                <a:cubicBezTo>
                  <a:pt x="10752" y="414191"/>
                  <a:pt x="0" y="424943"/>
                  <a:pt x="0" y="440370"/>
                </a:cubicBezTo>
                <a:cubicBezTo>
                  <a:pt x="0" y="455797"/>
                  <a:pt x="11219" y="476366"/>
                  <a:pt x="19634" y="493663"/>
                </a:cubicBezTo>
                <a:cubicBezTo>
                  <a:pt x="28049" y="510960"/>
                  <a:pt x="37398" y="530127"/>
                  <a:pt x="50488" y="544152"/>
                </a:cubicBezTo>
                <a:cubicBezTo>
                  <a:pt x="63578" y="558177"/>
                  <a:pt x="82745" y="565657"/>
                  <a:pt x="98172" y="577811"/>
                </a:cubicBezTo>
                <a:cubicBezTo>
                  <a:pt x="113599" y="589966"/>
                  <a:pt x="130896" y="604457"/>
                  <a:pt x="143050" y="617079"/>
                </a:cubicBezTo>
                <a:cubicBezTo>
                  <a:pt x="155204" y="629701"/>
                  <a:pt x="163152" y="639518"/>
                  <a:pt x="171099" y="653543"/>
                </a:cubicBezTo>
                <a:cubicBezTo>
                  <a:pt x="179046" y="667568"/>
                  <a:pt x="180917" y="689540"/>
                  <a:pt x="190734" y="701227"/>
                </a:cubicBezTo>
                <a:cubicBezTo>
                  <a:pt x="200551" y="712914"/>
                  <a:pt x="219250" y="716654"/>
                  <a:pt x="230002" y="723666"/>
                </a:cubicBezTo>
                <a:cubicBezTo>
                  <a:pt x="240754" y="730678"/>
                  <a:pt x="248701" y="737690"/>
                  <a:pt x="255246" y="743300"/>
                </a:cubicBezTo>
                <a:cubicBezTo>
                  <a:pt x="261791" y="748910"/>
                  <a:pt x="262726" y="754987"/>
                  <a:pt x="269271" y="757325"/>
                </a:cubicBezTo>
                <a:cubicBezTo>
                  <a:pt x="275816" y="759663"/>
                  <a:pt x="287970" y="753585"/>
                  <a:pt x="294515" y="757325"/>
                </a:cubicBezTo>
                <a:cubicBezTo>
                  <a:pt x="301060" y="761065"/>
                  <a:pt x="301528" y="773219"/>
                  <a:pt x="308540" y="779764"/>
                </a:cubicBezTo>
                <a:cubicBezTo>
                  <a:pt x="315552" y="786309"/>
                  <a:pt x="326772" y="792853"/>
                  <a:pt x="336589" y="796593"/>
                </a:cubicBezTo>
                <a:cubicBezTo>
                  <a:pt x="346406" y="800333"/>
                  <a:pt x="359028" y="798931"/>
                  <a:pt x="367443" y="802203"/>
                </a:cubicBezTo>
                <a:cubicBezTo>
                  <a:pt x="375858" y="805475"/>
                  <a:pt x="376792" y="810618"/>
                  <a:pt x="387077" y="816228"/>
                </a:cubicBezTo>
                <a:cubicBezTo>
                  <a:pt x="397362" y="821838"/>
                  <a:pt x="413724" y="828382"/>
                  <a:pt x="429151" y="835862"/>
                </a:cubicBezTo>
                <a:cubicBezTo>
                  <a:pt x="444578" y="843342"/>
                  <a:pt x="460472" y="855029"/>
                  <a:pt x="479639" y="861106"/>
                </a:cubicBezTo>
                <a:cubicBezTo>
                  <a:pt x="498806" y="867183"/>
                  <a:pt x="522180" y="869521"/>
                  <a:pt x="544152" y="872326"/>
                </a:cubicBezTo>
                <a:cubicBezTo>
                  <a:pt x="566124" y="875131"/>
                  <a:pt x="595576" y="875131"/>
                  <a:pt x="611470" y="877936"/>
                </a:cubicBezTo>
                <a:cubicBezTo>
                  <a:pt x="627365" y="880741"/>
                  <a:pt x="626897" y="881675"/>
                  <a:pt x="639519" y="889155"/>
                </a:cubicBezTo>
                <a:cubicBezTo>
                  <a:pt x="652141" y="896635"/>
                  <a:pt x="674580" y="914399"/>
                  <a:pt x="687202" y="922814"/>
                </a:cubicBezTo>
                <a:cubicBezTo>
                  <a:pt x="699824" y="931229"/>
                  <a:pt x="707304" y="936372"/>
                  <a:pt x="715251" y="939644"/>
                </a:cubicBezTo>
                <a:cubicBezTo>
                  <a:pt x="723198" y="942917"/>
                  <a:pt x="729276" y="941982"/>
                  <a:pt x="734886" y="942449"/>
                </a:cubicBezTo>
                <a:cubicBezTo>
                  <a:pt x="740496" y="942916"/>
                  <a:pt x="742366" y="938709"/>
                  <a:pt x="748910" y="942449"/>
                </a:cubicBezTo>
                <a:cubicBezTo>
                  <a:pt x="755454" y="946189"/>
                  <a:pt x="766674" y="957876"/>
                  <a:pt x="774154" y="964888"/>
                </a:cubicBezTo>
                <a:cubicBezTo>
                  <a:pt x="781634" y="971900"/>
                  <a:pt x="787244" y="979847"/>
                  <a:pt x="793789" y="984522"/>
                </a:cubicBezTo>
                <a:cubicBezTo>
                  <a:pt x="800334" y="989197"/>
                  <a:pt x="813423" y="992937"/>
                  <a:pt x="813423" y="992937"/>
                </a:cubicBezTo>
                <a:cubicBezTo>
                  <a:pt x="817630" y="994807"/>
                  <a:pt x="818331" y="995274"/>
                  <a:pt x="819033" y="995742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4" name="Блок-схема: узел 223"/>
          <p:cNvSpPr/>
          <p:nvPr/>
        </p:nvSpPr>
        <p:spPr>
          <a:xfrm>
            <a:off x="6287648" y="4546115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2" name="AutoShape 19"/>
          <p:cNvSpPr>
            <a:spLocks noChangeArrowheads="1"/>
          </p:cNvSpPr>
          <p:nvPr/>
        </p:nvSpPr>
        <p:spPr bwMode="auto">
          <a:xfrm>
            <a:off x="5683906" y="4556299"/>
            <a:ext cx="5533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Бурылбайтал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3" name="AutoShape 19"/>
          <p:cNvSpPr>
            <a:spLocks noChangeArrowheads="1"/>
          </p:cNvSpPr>
          <p:nvPr/>
        </p:nvSpPr>
        <p:spPr bwMode="auto">
          <a:xfrm>
            <a:off x="6537476" y="3869130"/>
            <a:ext cx="38648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Балхаш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6" name="AutoShape 19"/>
          <p:cNvSpPr>
            <a:spLocks noChangeArrowheads="1"/>
          </p:cNvSpPr>
          <p:nvPr/>
        </p:nvSpPr>
        <p:spPr bwMode="auto">
          <a:xfrm>
            <a:off x="6546850" y="4858562"/>
            <a:ext cx="295643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урты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5" name="AutoShape 19"/>
          <p:cNvSpPr>
            <a:spLocks noChangeArrowheads="1"/>
          </p:cNvSpPr>
          <p:nvPr/>
        </p:nvSpPr>
        <p:spPr bwMode="auto">
          <a:xfrm>
            <a:off x="6050842" y="2965760"/>
            <a:ext cx="4678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араганда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6" name="AutoShape 19"/>
          <p:cNvSpPr>
            <a:spLocks noChangeArrowheads="1"/>
          </p:cNvSpPr>
          <p:nvPr/>
        </p:nvSpPr>
        <p:spPr bwMode="auto">
          <a:xfrm>
            <a:off x="5355015" y="2819724"/>
            <a:ext cx="4678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Темирта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7" name="AutoShape 19"/>
          <p:cNvSpPr>
            <a:spLocks noChangeArrowheads="1"/>
          </p:cNvSpPr>
          <p:nvPr/>
        </p:nvSpPr>
        <p:spPr bwMode="auto">
          <a:xfrm>
            <a:off x="5681521" y="2458436"/>
            <a:ext cx="324316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стана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3" name="Полилиния 2"/>
          <p:cNvSpPr/>
          <p:nvPr/>
        </p:nvSpPr>
        <p:spPr>
          <a:xfrm>
            <a:off x="6931819" y="4821129"/>
            <a:ext cx="140494" cy="39002"/>
          </a:xfrm>
          <a:custGeom>
            <a:avLst/>
            <a:gdLst>
              <a:gd name="connsiteX0" fmla="*/ 0 w 140494"/>
              <a:gd name="connsiteY0" fmla="*/ 39002 h 39002"/>
              <a:gd name="connsiteX1" fmla="*/ 71437 w 140494"/>
              <a:gd name="connsiteY1" fmla="*/ 902 h 39002"/>
              <a:gd name="connsiteX2" fmla="*/ 95250 w 140494"/>
              <a:gd name="connsiteY2" fmla="*/ 12809 h 39002"/>
              <a:gd name="connsiteX3" fmla="*/ 111919 w 140494"/>
              <a:gd name="connsiteY3" fmla="*/ 22334 h 39002"/>
              <a:gd name="connsiteX4" fmla="*/ 140494 w 140494"/>
              <a:gd name="connsiteY4" fmla="*/ 31859 h 39002"/>
              <a:gd name="connsiteX5" fmla="*/ 140494 w 140494"/>
              <a:gd name="connsiteY5" fmla="*/ 31859 h 39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494" h="39002">
                <a:moveTo>
                  <a:pt x="0" y="39002"/>
                </a:moveTo>
                <a:cubicBezTo>
                  <a:pt x="27781" y="22134"/>
                  <a:pt x="55562" y="5267"/>
                  <a:pt x="71437" y="902"/>
                </a:cubicBezTo>
                <a:cubicBezTo>
                  <a:pt x="87312" y="-3464"/>
                  <a:pt x="88503" y="9237"/>
                  <a:pt x="95250" y="12809"/>
                </a:cubicBezTo>
                <a:cubicBezTo>
                  <a:pt x="101997" y="16381"/>
                  <a:pt x="104378" y="19159"/>
                  <a:pt x="111919" y="22334"/>
                </a:cubicBezTo>
                <a:cubicBezTo>
                  <a:pt x="119460" y="25509"/>
                  <a:pt x="140494" y="31859"/>
                  <a:pt x="140494" y="31859"/>
                </a:cubicBezTo>
                <a:lnTo>
                  <a:pt x="140494" y="31859"/>
                </a:lnTo>
              </a:path>
            </a:pathLst>
          </a:cu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6" name="Полилиния 275"/>
          <p:cNvSpPr/>
          <p:nvPr/>
        </p:nvSpPr>
        <p:spPr>
          <a:xfrm>
            <a:off x="6933453" y="4820347"/>
            <a:ext cx="140494" cy="39002"/>
          </a:xfrm>
          <a:custGeom>
            <a:avLst/>
            <a:gdLst>
              <a:gd name="connsiteX0" fmla="*/ 0 w 140494"/>
              <a:gd name="connsiteY0" fmla="*/ 39002 h 39002"/>
              <a:gd name="connsiteX1" fmla="*/ 71437 w 140494"/>
              <a:gd name="connsiteY1" fmla="*/ 902 h 39002"/>
              <a:gd name="connsiteX2" fmla="*/ 95250 w 140494"/>
              <a:gd name="connsiteY2" fmla="*/ 12809 h 39002"/>
              <a:gd name="connsiteX3" fmla="*/ 111919 w 140494"/>
              <a:gd name="connsiteY3" fmla="*/ 22334 h 39002"/>
              <a:gd name="connsiteX4" fmla="*/ 140494 w 140494"/>
              <a:gd name="connsiteY4" fmla="*/ 31859 h 39002"/>
              <a:gd name="connsiteX5" fmla="*/ 140494 w 140494"/>
              <a:gd name="connsiteY5" fmla="*/ 31859 h 39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494" h="39002">
                <a:moveTo>
                  <a:pt x="0" y="39002"/>
                </a:moveTo>
                <a:cubicBezTo>
                  <a:pt x="27781" y="22134"/>
                  <a:pt x="55562" y="5267"/>
                  <a:pt x="71437" y="902"/>
                </a:cubicBezTo>
                <a:cubicBezTo>
                  <a:pt x="87312" y="-3464"/>
                  <a:pt x="88503" y="9237"/>
                  <a:pt x="95250" y="12809"/>
                </a:cubicBezTo>
                <a:cubicBezTo>
                  <a:pt x="101997" y="16381"/>
                  <a:pt x="104378" y="19159"/>
                  <a:pt x="111919" y="22334"/>
                </a:cubicBezTo>
                <a:cubicBezTo>
                  <a:pt x="119460" y="25509"/>
                  <a:pt x="140494" y="31859"/>
                  <a:pt x="140494" y="31859"/>
                </a:cubicBezTo>
                <a:lnTo>
                  <a:pt x="140494" y="31859"/>
                </a:lnTo>
              </a:path>
            </a:pathLst>
          </a:cu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7" name="Полилиния 276"/>
          <p:cNvSpPr/>
          <p:nvPr/>
        </p:nvSpPr>
        <p:spPr>
          <a:xfrm>
            <a:off x="6933453" y="4793703"/>
            <a:ext cx="140494" cy="39002"/>
          </a:xfrm>
          <a:custGeom>
            <a:avLst/>
            <a:gdLst>
              <a:gd name="connsiteX0" fmla="*/ 0 w 140494"/>
              <a:gd name="connsiteY0" fmla="*/ 39002 h 39002"/>
              <a:gd name="connsiteX1" fmla="*/ 71437 w 140494"/>
              <a:gd name="connsiteY1" fmla="*/ 902 h 39002"/>
              <a:gd name="connsiteX2" fmla="*/ 95250 w 140494"/>
              <a:gd name="connsiteY2" fmla="*/ 12809 h 39002"/>
              <a:gd name="connsiteX3" fmla="*/ 111919 w 140494"/>
              <a:gd name="connsiteY3" fmla="*/ 22334 h 39002"/>
              <a:gd name="connsiteX4" fmla="*/ 140494 w 140494"/>
              <a:gd name="connsiteY4" fmla="*/ 31859 h 39002"/>
              <a:gd name="connsiteX5" fmla="*/ 140494 w 140494"/>
              <a:gd name="connsiteY5" fmla="*/ 31859 h 39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494" h="39002">
                <a:moveTo>
                  <a:pt x="0" y="39002"/>
                </a:moveTo>
                <a:cubicBezTo>
                  <a:pt x="27781" y="22134"/>
                  <a:pt x="55562" y="5267"/>
                  <a:pt x="71437" y="902"/>
                </a:cubicBezTo>
                <a:cubicBezTo>
                  <a:pt x="87312" y="-3464"/>
                  <a:pt x="88503" y="9237"/>
                  <a:pt x="95250" y="12809"/>
                </a:cubicBezTo>
                <a:cubicBezTo>
                  <a:pt x="101997" y="16381"/>
                  <a:pt x="104378" y="19159"/>
                  <a:pt x="111919" y="22334"/>
                </a:cubicBezTo>
                <a:cubicBezTo>
                  <a:pt x="119460" y="25509"/>
                  <a:pt x="140494" y="31859"/>
                  <a:pt x="140494" y="31859"/>
                </a:cubicBezTo>
                <a:lnTo>
                  <a:pt x="140494" y="31859"/>
                </a:ln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8" name="Полилиния 277"/>
          <p:cNvSpPr/>
          <p:nvPr/>
        </p:nvSpPr>
        <p:spPr>
          <a:xfrm>
            <a:off x="6939010" y="4844987"/>
            <a:ext cx="140494" cy="39002"/>
          </a:xfrm>
          <a:custGeom>
            <a:avLst/>
            <a:gdLst>
              <a:gd name="connsiteX0" fmla="*/ 0 w 140494"/>
              <a:gd name="connsiteY0" fmla="*/ 39002 h 39002"/>
              <a:gd name="connsiteX1" fmla="*/ 71437 w 140494"/>
              <a:gd name="connsiteY1" fmla="*/ 902 h 39002"/>
              <a:gd name="connsiteX2" fmla="*/ 95250 w 140494"/>
              <a:gd name="connsiteY2" fmla="*/ 12809 h 39002"/>
              <a:gd name="connsiteX3" fmla="*/ 111919 w 140494"/>
              <a:gd name="connsiteY3" fmla="*/ 22334 h 39002"/>
              <a:gd name="connsiteX4" fmla="*/ 140494 w 140494"/>
              <a:gd name="connsiteY4" fmla="*/ 31859 h 39002"/>
              <a:gd name="connsiteX5" fmla="*/ 140494 w 140494"/>
              <a:gd name="connsiteY5" fmla="*/ 31859 h 39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494" h="39002">
                <a:moveTo>
                  <a:pt x="0" y="39002"/>
                </a:moveTo>
                <a:cubicBezTo>
                  <a:pt x="27781" y="22134"/>
                  <a:pt x="55562" y="5267"/>
                  <a:pt x="71437" y="902"/>
                </a:cubicBezTo>
                <a:cubicBezTo>
                  <a:pt x="87312" y="-3464"/>
                  <a:pt x="88503" y="9237"/>
                  <a:pt x="95250" y="12809"/>
                </a:cubicBezTo>
                <a:cubicBezTo>
                  <a:pt x="101997" y="16381"/>
                  <a:pt x="104378" y="19159"/>
                  <a:pt x="111919" y="22334"/>
                </a:cubicBezTo>
                <a:cubicBezTo>
                  <a:pt x="119460" y="25509"/>
                  <a:pt x="140494" y="31859"/>
                  <a:pt x="140494" y="31859"/>
                </a:cubicBezTo>
                <a:lnTo>
                  <a:pt x="140494" y="31859"/>
                </a:ln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5" name="Блок-схема: узел 224"/>
          <p:cNvSpPr/>
          <p:nvPr/>
        </p:nvSpPr>
        <p:spPr>
          <a:xfrm>
            <a:off x="6877363" y="4827917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олилиния 23"/>
          <p:cNvSpPr/>
          <p:nvPr/>
        </p:nvSpPr>
        <p:spPr>
          <a:xfrm>
            <a:off x="7074694" y="4848225"/>
            <a:ext cx="23812" cy="197644"/>
          </a:xfrm>
          <a:custGeom>
            <a:avLst/>
            <a:gdLst>
              <a:gd name="connsiteX0" fmla="*/ 23812 w 23812"/>
              <a:gd name="connsiteY0" fmla="*/ 197644 h 197644"/>
              <a:gd name="connsiteX1" fmla="*/ 19050 w 23812"/>
              <a:gd name="connsiteY1" fmla="*/ 142875 h 197644"/>
              <a:gd name="connsiteX2" fmla="*/ 19050 w 23812"/>
              <a:gd name="connsiteY2" fmla="*/ 111919 h 197644"/>
              <a:gd name="connsiteX3" fmla="*/ 19050 w 23812"/>
              <a:gd name="connsiteY3" fmla="*/ 85725 h 197644"/>
              <a:gd name="connsiteX4" fmla="*/ 19050 w 23812"/>
              <a:gd name="connsiteY4" fmla="*/ 61913 h 197644"/>
              <a:gd name="connsiteX5" fmla="*/ 4762 w 23812"/>
              <a:gd name="connsiteY5" fmla="*/ 19050 h 197644"/>
              <a:gd name="connsiteX6" fmla="*/ 0 w 23812"/>
              <a:gd name="connsiteY6" fmla="*/ 0 h 197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12" h="197644">
                <a:moveTo>
                  <a:pt x="23812" y="197644"/>
                </a:moveTo>
                <a:cubicBezTo>
                  <a:pt x="21828" y="177403"/>
                  <a:pt x="19844" y="157162"/>
                  <a:pt x="19050" y="142875"/>
                </a:cubicBezTo>
                <a:cubicBezTo>
                  <a:pt x="18256" y="128588"/>
                  <a:pt x="19050" y="111919"/>
                  <a:pt x="19050" y="111919"/>
                </a:cubicBezTo>
                <a:lnTo>
                  <a:pt x="19050" y="85725"/>
                </a:lnTo>
                <a:cubicBezTo>
                  <a:pt x="19050" y="77391"/>
                  <a:pt x="21431" y="73025"/>
                  <a:pt x="19050" y="61913"/>
                </a:cubicBezTo>
                <a:cubicBezTo>
                  <a:pt x="16669" y="50801"/>
                  <a:pt x="7937" y="29369"/>
                  <a:pt x="4762" y="19050"/>
                </a:cubicBezTo>
                <a:cubicBezTo>
                  <a:pt x="1587" y="8731"/>
                  <a:pt x="793" y="4365"/>
                  <a:pt x="0" y="0"/>
                </a:cubicBezTo>
              </a:path>
            </a:pathLst>
          </a:custGeom>
          <a:solidFill>
            <a:srgbClr val="00B050"/>
          </a:solidFill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9" name="Полилиния 278"/>
          <p:cNvSpPr/>
          <p:nvPr/>
        </p:nvSpPr>
        <p:spPr>
          <a:xfrm>
            <a:off x="7074694" y="4848225"/>
            <a:ext cx="23812" cy="197644"/>
          </a:xfrm>
          <a:custGeom>
            <a:avLst/>
            <a:gdLst>
              <a:gd name="connsiteX0" fmla="*/ 23812 w 23812"/>
              <a:gd name="connsiteY0" fmla="*/ 197644 h 197644"/>
              <a:gd name="connsiteX1" fmla="*/ 19050 w 23812"/>
              <a:gd name="connsiteY1" fmla="*/ 142875 h 197644"/>
              <a:gd name="connsiteX2" fmla="*/ 19050 w 23812"/>
              <a:gd name="connsiteY2" fmla="*/ 111919 h 197644"/>
              <a:gd name="connsiteX3" fmla="*/ 19050 w 23812"/>
              <a:gd name="connsiteY3" fmla="*/ 85725 h 197644"/>
              <a:gd name="connsiteX4" fmla="*/ 19050 w 23812"/>
              <a:gd name="connsiteY4" fmla="*/ 61913 h 197644"/>
              <a:gd name="connsiteX5" fmla="*/ 4762 w 23812"/>
              <a:gd name="connsiteY5" fmla="*/ 19050 h 197644"/>
              <a:gd name="connsiteX6" fmla="*/ 0 w 23812"/>
              <a:gd name="connsiteY6" fmla="*/ 0 h 197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12" h="197644">
                <a:moveTo>
                  <a:pt x="23812" y="197644"/>
                </a:moveTo>
                <a:cubicBezTo>
                  <a:pt x="21828" y="177403"/>
                  <a:pt x="19844" y="157162"/>
                  <a:pt x="19050" y="142875"/>
                </a:cubicBezTo>
                <a:cubicBezTo>
                  <a:pt x="18256" y="128588"/>
                  <a:pt x="19050" y="111919"/>
                  <a:pt x="19050" y="111919"/>
                </a:cubicBezTo>
                <a:lnTo>
                  <a:pt x="19050" y="85725"/>
                </a:lnTo>
                <a:cubicBezTo>
                  <a:pt x="19050" y="77391"/>
                  <a:pt x="21431" y="73025"/>
                  <a:pt x="19050" y="61913"/>
                </a:cubicBezTo>
                <a:cubicBezTo>
                  <a:pt x="16669" y="50801"/>
                  <a:pt x="7937" y="29369"/>
                  <a:pt x="4762" y="19050"/>
                </a:cubicBezTo>
                <a:cubicBezTo>
                  <a:pt x="1587" y="8731"/>
                  <a:pt x="793" y="4365"/>
                  <a:pt x="0" y="0"/>
                </a:cubicBezTo>
              </a:path>
            </a:pathLst>
          </a:cu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0" name="Полилиния 279"/>
          <p:cNvSpPr/>
          <p:nvPr/>
        </p:nvSpPr>
        <p:spPr>
          <a:xfrm>
            <a:off x="7096522" y="4852083"/>
            <a:ext cx="23812" cy="197644"/>
          </a:xfrm>
          <a:custGeom>
            <a:avLst/>
            <a:gdLst>
              <a:gd name="connsiteX0" fmla="*/ 23812 w 23812"/>
              <a:gd name="connsiteY0" fmla="*/ 197644 h 197644"/>
              <a:gd name="connsiteX1" fmla="*/ 19050 w 23812"/>
              <a:gd name="connsiteY1" fmla="*/ 142875 h 197644"/>
              <a:gd name="connsiteX2" fmla="*/ 19050 w 23812"/>
              <a:gd name="connsiteY2" fmla="*/ 111919 h 197644"/>
              <a:gd name="connsiteX3" fmla="*/ 19050 w 23812"/>
              <a:gd name="connsiteY3" fmla="*/ 85725 h 197644"/>
              <a:gd name="connsiteX4" fmla="*/ 19050 w 23812"/>
              <a:gd name="connsiteY4" fmla="*/ 61913 h 197644"/>
              <a:gd name="connsiteX5" fmla="*/ 4762 w 23812"/>
              <a:gd name="connsiteY5" fmla="*/ 19050 h 197644"/>
              <a:gd name="connsiteX6" fmla="*/ 0 w 23812"/>
              <a:gd name="connsiteY6" fmla="*/ 0 h 197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12" h="197644">
                <a:moveTo>
                  <a:pt x="23812" y="197644"/>
                </a:moveTo>
                <a:cubicBezTo>
                  <a:pt x="21828" y="177403"/>
                  <a:pt x="19844" y="157162"/>
                  <a:pt x="19050" y="142875"/>
                </a:cubicBezTo>
                <a:cubicBezTo>
                  <a:pt x="18256" y="128588"/>
                  <a:pt x="19050" y="111919"/>
                  <a:pt x="19050" y="111919"/>
                </a:cubicBezTo>
                <a:lnTo>
                  <a:pt x="19050" y="85725"/>
                </a:lnTo>
                <a:cubicBezTo>
                  <a:pt x="19050" y="77391"/>
                  <a:pt x="21431" y="73025"/>
                  <a:pt x="19050" y="61913"/>
                </a:cubicBezTo>
                <a:cubicBezTo>
                  <a:pt x="16669" y="50801"/>
                  <a:pt x="7937" y="29369"/>
                  <a:pt x="4762" y="19050"/>
                </a:cubicBezTo>
                <a:cubicBezTo>
                  <a:pt x="1587" y="8731"/>
                  <a:pt x="793" y="4365"/>
                  <a:pt x="0" y="0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1" name="Полилиния 280"/>
          <p:cNvSpPr/>
          <p:nvPr/>
        </p:nvSpPr>
        <p:spPr>
          <a:xfrm>
            <a:off x="7053317" y="4861937"/>
            <a:ext cx="23812" cy="197644"/>
          </a:xfrm>
          <a:custGeom>
            <a:avLst/>
            <a:gdLst>
              <a:gd name="connsiteX0" fmla="*/ 23812 w 23812"/>
              <a:gd name="connsiteY0" fmla="*/ 197644 h 197644"/>
              <a:gd name="connsiteX1" fmla="*/ 19050 w 23812"/>
              <a:gd name="connsiteY1" fmla="*/ 142875 h 197644"/>
              <a:gd name="connsiteX2" fmla="*/ 19050 w 23812"/>
              <a:gd name="connsiteY2" fmla="*/ 111919 h 197644"/>
              <a:gd name="connsiteX3" fmla="*/ 19050 w 23812"/>
              <a:gd name="connsiteY3" fmla="*/ 85725 h 197644"/>
              <a:gd name="connsiteX4" fmla="*/ 19050 w 23812"/>
              <a:gd name="connsiteY4" fmla="*/ 61913 h 197644"/>
              <a:gd name="connsiteX5" fmla="*/ 4762 w 23812"/>
              <a:gd name="connsiteY5" fmla="*/ 19050 h 197644"/>
              <a:gd name="connsiteX6" fmla="*/ 0 w 23812"/>
              <a:gd name="connsiteY6" fmla="*/ 0 h 197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12" h="197644">
                <a:moveTo>
                  <a:pt x="23812" y="197644"/>
                </a:moveTo>
                <a:cubicBezTo>
                  <a:pt x="21828" y="177403"/>
                  <a:pt x="19844" y="157162"/>
                  <a:pt x="19050" y="142875"/>
                </a:cubicBezTo>
                <a:cubicBezTo>
                  <a:pt x="18256" y="128588"/>
                  <a:pt x="19050" y="111919"/>
                  <a:pt x="19050" y="111919"/>
                </a:cubicBezTo>
                <a:lnTo>
                  <a:pt x="19050" y="85725"/>
                </a:lnTo>
                <a:cubicBezTo>
                  <a:pt x="19050" y="77391"/>
                  <a:pt x="21431" y="73025"/>
                  <a:pt x="19050" y="61913"/>
                </a:cubicBezTo>
                <a:cubicBezTo>
                  <a:pt x="16669" y="50801"/>
                  <a:pt x="7937" y="29369"/>
                  <a:pt x="4762" y="19050"/>
                </a:cubicBezTo>
                <a:cubicBezTo>
                  <a:pt x="1587" y="8731"/>
                  <a:pt x="793" y="4365"/>
                  <a:pt x="0" y="0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2" name="Блок-схема: узел 281"/>
          <p:cNvSpPr/>
          <p:nvPr/>
        </p:nvSpPr>
        <p:spPr>
          <a:xfrm>
            <a:off x="7036960" y="4815920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Блок-схема: узел 46"/>
          <p:cNvSpPr/>
          <p:nvPr/>
        </p:nvSpPr>
        <p:spPr>
          <a:xfrm>
            <a:off x="7050134" y="5003211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олилиния 25"/>
          <p:cNvSpPr/>
          <p:nvPr/>
        </p:nvSpPr>
        <p:spPr>
          <a:xfrm>
            <a:off x="5998369" y="3052763"/>
            <a:ext cx="464344" cy="847725"/>
          </a:xfrm>
          <a:custGeom>
            <a:avLst/>
            <a:gdLst>
              <a:gd name="connsiteX0" fmla="*/ 0 w 464344"/>
              <a:gd name="connsiteY0" fmla="*/ 0 h 847725"/>
              <a:gd name="connsiteX1" fmla="*/ 4762 w 464344"/>
              <a:gd name="connsiteY1" fmla="*/ 69056 h 847725"/>
              <a:gd name="connsiteX2" fmla="*/ 16669 w 464344"/>
              <a:gd name="connsiteY2" fmla="*/ 90487 h 847725"/>
              <a:gd name="connsiteX3" fmla="*/ 28575 w 464344"/>
              <a:gd name="connsiteY3" fmla="*/ 119062 h 847725"/>
              <a:gd name="connsiteX4" fmla="*/ 47625 w 464344"/>
              <a:gd name="connsiteY4" fmla="*/ 145256 h 847725"/>
              <a:gd name="connsiteX5" fmla="*/ 66675 w 464344"/>
              <a:gd name="connsiteY5" fmla="*/ 157162 h 847725"/>
              <a:gd name="connsiteX6" fmla="*/ 71437 w 464344"/>
              <a:gd name="connsiteY6" fmla="*/ 164306 h 847725"/>
              <a:gd name="connsiteX7" fmla="*/ 71437 w 464344"/>
              <a:gd name="connsiteY7" fmla="*/ 173831 h 847725"/>
              <a:gd name="connsiteX8" fmla="*/ 80962 w 464344"/>
              <a:gd name="connsiteY8" fmla="*/ 195262 h 847725"/>
              <a:gd name="connsiteX9" fmla="*/ 83344 w 464344"/>
              <a:gd name="connsiteY9" fmla="*/ 214312 h 847725"/>
              <a:gd name="connsiteX10" fmla="*/ 88106 w 464344"/>
              <a:gd name="connsiteY10" fmla="*/ 226218 h 847725"/>
              <a:gd name="connsiteX11" fmla="*/ 85725 w 464344"/>
              <a:gd name="connsiteY11" fmla="*/ 245268 h 847725"/>
              <a:gd name="connsiteX12" fmla="*/ 97631 w 464344"/>
              <a:gd name="connsiteY12" fmla="*/ 283368 h 847725"/>
              <a:gd name="connsiteX13" fmla="*/ 104775 w 464344"/>
              <a:gd name="connsiteY13" fmla="*/ 311943 h 847725"/>
              <a:gd name="connsiteX14" fmla="*/ 111919 w 464344"/>
              <a:gd name="connsiteY14" fmla="*/ 340518 h 847725"/>
              <a:gd name="connsiteX15" fmla="*/ 114300 w 464344"/>
              <a:gd name="connsiteY15" fmla="*/ 359568 h 847725"/>
              <a:gd name="connsiteX16" fmla="*/ 126206 w 464344"/>
              <a:gd name="connsiteY16" fmla="*/ 373856 h 847725"/>
              <a:gd name="connsiteX17" fmla="*/ 135731 w 464344"/>
              <a:gd name="connsiteY17" fmla="*/ 388143 h 847725"/>
              <a:gd name="connsiteX18" fmla="*/ 138112 w 464344"/>
              <a:gd name="connsiteY18" fmla="*/ 400050 h 847725"/>
              <a:gd name="connsiteX19" fmla="*/ 145256 w 464344"/>
              <a:gd name="connsiteY19" fmla="*/ 411956 h 847725"/>
              <a:gd name="connsiteX20" fmla="*/ 142875 w 464344"/>
              <a:gd name="connsiteY20" fmla="*/ 423862 h 847725"/>
              <a:gd name="connsiteX21" fmla="*/ 138112 w 464344"/>
              <a:gd name="connsiteY21" fmla="*/ 435768 h 847725"/>
              <a:gd name="connsiteX22" fmla="*/ 147637 w 464344"/>
              <a:gd name="connsiteY22" fmla="*/ 459581 h 847725"/>
              <a:gd name="connsiteX23" fmla="*/ 159544 w 464344"/>
              <a:gd name="connsiteY23" fmla="*/ 478631 h 847725"/>
              <a:gd name="connsiteX24" fmla="*/ 173831 w 464344"/>
              <a:gd name="connsiteY24" fmla="*/ 495300 h 847725"/>
              <a:gd name="connsiteX25" fmla="*/ 197644 w 464344"/>
              <a:gd name="connsiteY25" fmla="*/ 509587 h 847725"/>
              <a:gd name="connsiteX26" fmla="*/ 214312 w 464344"/>
              <a:gd name="connsiteY26" fmla="*/ 523875 h 847725"/>
              <a:gd name="connsiteX27" fmla="*/ 221456 w 464344"/>
              <a:gd name="connsiteY27" fmla="*/ 531018 h 847725"/>
              <a:gd name="connsiteX28" fmla="*/ 230981 w 464344"/>
              <a:gd name="connsiteY28" fmla="*/ 559593 h 847725"/>
              <a:gd name="connsiteX29" fmla="*/ 238125 w 464344"/>
              <a:gd name="connsiteY29" fmla="*/ 585787 h 847725"/>
              <a:gd name="connsiteX30" fmla="*/ 266700 w 464344"/>
              <a:gd name="connsiteY30" fmla="*/ 607218 h 847725"/>
              <a:gd name="connsiteX31" fmla="*/ 297656 w 464344"/>
              <a:gd name="connsiteY31" fmla="*/ 619125 h 847725"/>
              <a:gd name="connsiteX32" fmla="*/ 321469 w 464344"/>
              <a:gd name="connsiteY32" fmla="*/ 654843 h 847725"/>
              <a:gd name="connsiteX33" fmla="*/ 357187 w 464344"/>
              <a:gd name="connsiteY33" fmla="*/ 681037 h 847725"/>
              <a:gd name="connsiteX34" fmla="*/ 383381 w 464344"/>
              <a:gd name="connsiteY34" fmla="*/ 700087 h 847725"/>
              <a:gd name="connsiteX35" fmla="*/ 423862 w 464344"/>
              <a:gd name="connsiteY35" fmla="*/ 728662 h 847725"/>
              <a:gd name="connsiteX36" fmla="*/ 438150 w 464344"/>
              <a:gd name="connsiteY36" fmla="*/ 752475 h 847725"/>
              <a:gd name="connsiteX37" fmla="*/ 445294 w 464344"/>
              <a:gd name="connsiteY37" fmla="*/ 776287 h 847725"/>
              <a:gd name="connsiteX38" fmla="*/ 454819 w 464344"/>
              <a:gd name="connsiteY38" fmla="*/ 816768 h 847725"/>
              <a:gd name="connsiteX39" fmla="*/ 464344 w 464344"/>
              <a:gd name="connsiteY39" fmla="*/ 847725 h 847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64344" h="847725">
                <a:moveTo>
                  <a:pt x="0" y="0"/>
                </a:moveTo>
                <a:cubicBezTo>
                  <a:pt x="992" y="26987"/>
                  <a:pt x="1984" y="53975"/>
                  <a:pt x="4762" y="69056"/>
                </a:cubicBezTo>
                <a:cubicBezTo>
                  <a:pt x="7540" y="84137"/>
                  <a:pt x="12700" y="82153"/>
                  <a:pt x="16669" y="90487"/>
                </a:cubicBezTo>
                <a:cubicBezTo>
                  <a:pt x="20638" y="98821"/>
                  <a:pt x="23416" y="109934"/>
                  <a:pt x="28575" y="119062"/>
                </a:cubicBezTo>
                <a:cubicBezTo>
                  <a:pt x="33734" y="128190"/>
                  <a:pt x="41275" y="138906"/>
                  <a:pt x="47625" y="145256"/>
                </a:cubicBezTo>
                <a:cubicBezTo>
                  <a:pt x="53975" y="151606"/>
                  <a:pt x="62706" y="153987"/>
                  <a:pt x="66675" y="157162"/>
                </a:cubicBezTo>
                <a:cubicBezTo>
                  <a:pt x="70644" y="160337"/>
                  <a:pt x="70643" y="161528"/>
                  <a:pt x="71437" y="164306"/>
                </a:cubicBezTo>
                <a:cubicBezTo>
                  <a:pt x="72231" y="167084"/>
                  <a:pt x="69850" y="168672"/>
                  <a:pt x="71437" y="173831"/>
                </a:cubicBezTo>
                <a:cubicBezTo>
                  <a:pt x="73024" y="178990"/>
                  <a:pt x="78978" y="188515"/>
                  <a:pt x="80962" y="195262"/>
                </a:cubicBezTo>
                <a:cubicBezTo>
                  <a:pt x="82946" y="202009"/>
                  <a:pt x="82153" y="209153"/>
                  <a:pt x="83344" y="214312"/>
                </a:cubicBezTo>
                <a:cubicBezTo>
                  <a:pt x="84535" y="219471"/>
                  <a:pt x="87709" y="221059"/>
                  <a:pt x="88106" y="226218"/>
                </a:cubicBezTo>
                <a:cubicBezTo>
                  <a:pt x="88503" y="231377"/>
                  <a:pt x="84138" y="235743"/>
                  <a:pt x="85725" y="245268"/>
                </a:cubicBezTo>
                <a:cubicBezTo>
                  <a:pt x="87313" y="254793"/>
                  <a:pt x="94456" y="272255"/>
                  <a:pt x="97631" y="283368"/>
                </a:cubicBezTo>
                <a:cubicBezTo>
                  <a:pt x="100806" y="294481"/>
                  <a:pt x="104775" y="311943"/>
                  <a:pt x="104775" y="311943"/>
                </a:cubicBezTo>
                <a:cubicBezTo>
                  <a:pt x="107156" y="321468"/>
                  <a:pt x="110331" y="332580"/>
                  <a:pt x="111919" y="340518"/>
                </a:cubicBezTo>
                <a:cubicBezTo>
                  <a:pt x="113507" y="348456"/>
                  <a:pt x="111919" y="354012"/>
                  <a:pt x="114300" y="359568"/>
                </a:cubicBezTo>
                <a:cubicBezTo>
                  <a:pt x="116681" y="365124"/>
                  <a:pt x="122634" y="369094"/>
                  <a:pt x="126206" y="373856"/>
                </a:cubicBezTo>
                <a:cubicBezTo>
                  <a:pt x="129778" y="378618"/>
                  <a:pt x="133747" y="383777"/>
                  <a:pt x="135731" y="388143"/>
                </a:cubicBezTo>
                <a:cubicBezTo>
                  <a:pt x="137715" y="392509"/>
                  <a:pt x="136525" y="396081"/>
                  <a:pt x="138112" y="400050"/>
                </a:cubicBezTo>
                <a:cubicBezTo>
                  <a:pt x="139700" y="404019"/>
                  <a:pt x="144462" y="407987"/>
                  <a:pt x="145256" y="411956"/>
                </a:cubicBezTo>
                <a:cubicBezTo>
                  <a:pt x="146050" y="415925"/>
                  <a:pt x="144066" y="419893"/>
                  <a:pt x="142875" y="423862"/>
                </a:cubicBezTo>
                <a:cubicBezTo>
                  <a:pt x="141684" y="427831"/>
                  <a:pt x="137318" y="429815"/>
                  <a:pt x="138112" y="435768"/>
                </a:cubicBezTo>
                <a:cubicBezTo>
                  <a:pt x="138906" y="441721"/>
                  <a:pt x="144065" y="452437"/>
                  <a:pt x="147637" y="459581"/>
                </a:cubicBezTo>
                <a:cubicBezTo>
                  <a:pt x="151209" y="466725"/>
                  <a:pt x="155178" y="472678"/>
                  <a:pt x="159544" y="478631"/>
                </a:cubicBezTo>
                <a:cubicBezTo>
                  <a:pt x="163910" y="484584"/>
                  <a:pt x="167481" y="490141"/>
                  <a:pt x="173831" y="495300"/>
                </a:cubicBezTo>
                <a:cubicBezTo>
                  <a:pt x="180181" y="500459"/>
                  <a:pt x="190897" y="504825"/>
                  <a:pt x="197644" y="509587"/>
                </a:cubicBezTo>
                <a:cubicBezTo>
                  <a:pt x="204391" y="514349"/>
                  <a:pt x="210343" y="520303"/>
                  <a:pt x="214312" y="523875"/>
                </a:cubicBezTo>
                <a:cubicBezTo>
                  <a:pt x="218281" y="527447"/>
                  <a:pt x="218678" y="525065"/>
                  <a:pt x="221456" y="531018"/>
                </a:cubicBezTo>
                <a:cubicBezTo>
                  <a:pt x="224234" y="536971"/>
                  <a:pt x="228203" y="550465"/>
                  <a:pt x="230981" y="559593"/>
                </a:cubicBezTo>
                <a:cubicBezTo>
                  <a:pt x="233759" y="568721"/>
                  <a:pt x="232172" y="577850"/>
                  <a:pt x="238125" y="585787"/>
                </a:cubicBezTo>
                <a:cubicBezTo>
                  <a:pt x="244078" y="593724"/>
                  <a:pt x="256778" y="601662"/>
                  <a:pt x="266700" y="607218"/>
                </a:cubicBezTo>
                <a:cubicBezTo>
                  <a:pt x="276622" y="612774"/>
                  <a:pt x="288528" y="611187"/>
                  <a:pt x="297656" y="619125"/>
                </a:cubicBezTo>
                <a:cubicBezTo>
                  <a:pt x="306784" y="627063"/>
                  <a:pt x="311547" y="644524"/>
                  <a:pt x="321469" y="654843"/>
                </a:cubicBezTo>
                <a:cubicBezTo>
                  <a:pt x="331391" y="665162"/>
                  <a:pt x="357187" y="681037"/>
                  <a:pt x="357187" y="681037"/>
                </a:cubicBezTo>
                <a:lnTo>
                  <a:pt x="383381" y="700087"/>
                </a:lnTo>
                <a:cubicBezTo>
                  <a:pt x="394494" y="708025"/>
                  <a:pt x="414734" y="719931"/>
                  <a:pt x="423862" y="728662"/>
                </a:cubicBezTo>
                <a:cubicBezTo>
                  <a:pt x="432990" y="737393"/>
                  <a:pt x="434578" y="744538"/>
                  <a:pt x="438150" y="752475"/>
                </a:cubicBezTo>
                <a:cubicBezTo>
                  <a:pt x="441722" y="760412"/>
                  <a:pt x="442516" y="765572"/>
                  <a:pt x="445294" y="776287"/>
                </a:cubicBezTo>
                <a:cubicBezTo>
                  <a:pt x="448072" y="787002"/>
                  <a:pt x="451644" y="804862"/>
                  <a:pt x="454819" y="816768"/>
                </a:cubicBezTo>
                <a:cubicBezTo>
                  <a:pt x="457994" y="828674"/>
                  <a:pt x="461169" y="838199"/>
                  <a:pt x="464344" y="847725"/>
                </a:cubicBezTo>
              </a:path>
            </a:pathLst>
          </a:cu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1" name="Полилиния 290"/>
          <p:cNvSpPr/>
          <p:nvPr/>
        </p:nvSpPr>
        <p:spPr>
          <a:xfrm>
            <a:off x="6001544" y="3052957"/>
            <a:ext cx="464344" cy="847725"/>
          </a:xfrm>
          <a:custGeom>
            <a:avLst/>
            <a:gdLst>
              <a:gd name="connsiteX0" fmla="*/ 0 w 464344"/>
              <a:gd name="connsiteY0" fmla="*/ 0 h 847725"/>
              <a:gd name="connsiteX1" fmla="*/ 4762 w 464344"/>
              <a:gd name="connsiteY1" fmla="*/ 69056 h 847725"/>
              <a:gd name="connsiteX2" fmla="*/ 16669 w 464344"/>
              <a:gd name="connsiteY2" fmla="*/ 90487 h 847725"/>
              <a:gd name="connsiteX3" fmla="*/ 28575 w 464344"/>
              <a:gd name="connsiteY3" fmla="*/ 119062 h 847725"/>
              <a:gd name="connsiteX4" fmla="*/ 47625 w 464344"/>
              <a:gd name="connsiteY4" fmla="*/ 145256 h 847725"/>
              <a:gd name="connsiteX5" fmla="*/ 66675 w 464344"/>
              <a:gd name="connsiteY5" fmla="*/ 157162 h 847725"/>
              <a:gd name="connsiteX6" fmla="*/ 71437 w 464344"/>
              <a:gd name="connsiteY6" fmla="*/ 164306 h 847725"/>
              <a:gd name="connsiteX7" fmla="*/ 71437 w 464344"/>
              <a:gd name="connsiteY7" fmla="*/ 173831 h 847725"/>
              <a:gd name="connsiteX8" fmla="*/ 80962 w 464344"/>
              <a:gd name="connsiteY8" fmla="*/ 195262 h 847725"/>
              <a:gd name="connsiteX9" fmla="*/ 83344 w 464344"/>
              <a:gd name="connsiteY9" fmla="*/ 214312 h 847725"/>
              <a:gd name="connsiteX10" fmla="*/ 88106 w 464344"/>
              <a:gd name="connsiteY10" fmla="*/ 226218 h 847725"/>
              <a:gd name="connsiteX11" fmla="*/ 85725 w 464344"/>
              <a:gd name="connsiteY11" fmla="*/ 245268 h 847725"/>
              <a:gd name="connsiteX12" fmla="*/ 97631 w 464344"/>
              <a:gd name="connsiteY12" fmla="*/ 283368 h 847725"/>
              <a:gd name="connsiteX13" fmla="*/ 104775 w 464344"/>
              <a:gd name="connsiteY13" fmla="*/ 311943 h 847725"/>
              <a:gd name="connsiteX14" fmla="*/ 111919 w 464344"/>
              <a:gd name="connsiteY14" fmla="*/ 340518 h 847725"/>
              <a:gd name="connsiteX15" fmla="*/ 114300 w 464344"/>
              <a:gd name="connsiteY15" fmla="*/ 359568 h 847725"/>
              <a:gd name="connsiteX16" fmla="*/ 126206 w 464344"/>
              <a:gd name="connsiteY16" fmla="*/ 373856 h 847725"/>
              <a:gd name="connsiteX17" fmla="*/ 135731 w 464344"/>
              <a:gd name="connsiteY17" fmla="*/ 388143 h 847725"/>
              <a:gd name="connsiteX18" fmla="*/ 138112 w 464344"/>
              <a:gd name="connsiteY18" fmla="*/ 400050 h 847725"/>
              <a:gd name="connsiteX19" fmla="*/ 145256 w 464344"/>
              <a:gd name="connsiteY19" fmla="*/ 411956 h 847725"/>
              <a:gd name="connsiteX20" fmla="*/ 142875 w 464344"/>
              <a:gd name="connsiteY20" fmla="*/ 423862 h 847725"/>
              <a:gd name="connsiteX21" fmla="*/ 138112 w 464344"/>
              <a:gd name="connsiteY21" fmla="*/ 435768 h 847725"/>
              <a:gd name="connsiteX22" fmla="*/ 147637 w 464344"/>
              <a:gd name="connsiteY22" fmla="*/ 459581 h 847725"/>
              <a:gd name="connsiteX23" fmla="*/ 159544 w 464344"/>
              <a:gd name="connsiteY23" fmla="*/ 478631 h 847725"/>
              <a:gd name="connsiteX24" fmla="*/ 173831 w 464344"/>
              <a:gd name="connsiteY24" fmla="*/ 495300 h 847725"/>
              <a:gd name="connsiteX25" fmla="*/ 197644 w 464344"/>
              <a:gd name="connsiteY25" fmla="*/ 509587 h 847725"/>
              <a:gd name="connsiteX26" fmla="*/ 214312 w 464344"/>
              <a:gd name="connsiteY26" fmla="*/ 523875 h 847725"/>
              <a:gd name="connsiteX27" fmla="*/ 221456 w 464344"/>
              <a:gd name="connsiteY27" fmla="*/ 531018 h 847725"/>
              <a:gd name="connsiteX28" fmla="*/ 230981 w 464344"/>
              <a:gd name="connsiteY28" fmla="*/ 559593 h 847725"/>
              <a:gd name="connsiteX29" fmla="*/ 238125 w 464344"/>
              <a:gd name="connsiteY29" fmla="*/ 585787 h 847725"/>
              <a:gd name="connsiteX30" fmla="*/ 266700 w 464344"/>
              <a:gd name="connsiteY30" fmla="*/ 607218 h 847725"/>
              <a:gd name="connsiteX31" fmla="*/ 297656 w 464344"/>
              <a:gd name="connsiteY31" fmla="*/ 619125 h 847725"/>
              <a:gd name="connsiteX32" fmla="*/ 321469 w 464344"/>
              <a:gd name="connsiteY32" fmla="*/ 654843 h 847725"/>
              <a:gd name="connsiteX33" fmla="*/ 357187 w 464344"/>
              <a:gd name="connsiteY33" fmla="*/ 681037 h 847725"/>
              <a:gd name="connsiteX34" fmla="*/ 383381 w 464344"/>
              <a:gd name="connsiteY34" fmla="*/ 700087 h 847725"/>
              <a:gd name="connsiteX35" fmla="*/ 423862 w 464344"/>
              <a:gd name="connsiteY35" fmla="*/ 728662 h 847725"/>
              <a:gd name="connsiteX36" fmla="*/ 438150 w 464344"/>
              <a:gd name="connsiteY36" fmla="*/ 752475 h 847725"/>
              <a:gd name="connsiteX37" fmla="*/ 445294 w 464344"/>
              <a:gd name="connsiteY37" fmla="*/ 776287 h 847725"/>
              <a:gd name="connsiteX38" fmla="*/ 454819 w 464344"/>
              <a:gd name="connsiteY38" fmla="*/ 816768 h 847725"/>
              <a:gd name="connsiteX39" fmla="*/ 464344 w 464344"/>
              <a:gd name="connsiteY39" fmla="*/ 847725 h 847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64344" h="847725">
                <a:moveTo>
                  <a:pt x="0" y="0"/>
                </a:moveTo>
                <a:cubicBezTo>
                  <a:pt x="992" y="26987"/>
                  <a:pt x="1984" y="53975"/>
                  <a:pt x="4762" y="69056"/>
                </a:cubicBezTo>
                <a:cubicBezTo>
                  <a:pt x="7540" y="84137"/>
                  <a:pt x="12700" y="82153"/>
                  <a:pt x="16669" y="90487"/>
                </a:cubicBezTo>
                <a:cubicBezTo>
                  <a:pt x="20638" y="98821"/>
                  <a:pt x="23416" y="109934"/>
                  <a:pt x="28575" y="119062"/>
                </a:cubicBezTo>
                <a:cubicBezTo>
                  <a:pt x="33734" y="128190"/>
                  <a:pt x="41275" y="138906"/>
                  <a:pt x="47625" y="145256"/>
                </a:cubicBezTo>
                <a:cubicBezTo>
                  <a:pt x="53975" y="151606"/>
                  <a:pt x="62706" y="153987"/>
                  <a:pt x="66675" y="157162"/>
                </a:cubicBezTo>
                <a:cubicBezTo>
                  <a:pt x="70644" y="160337"/>
                  <a:pt x="70643" y="161528"/>
                  <a:pt x="71437" y="164306"/>
                </a:cubicBezTo>
                <a:cubicBezTo>
                  <a:pt x="72231" y="167084"/>
                  <a:pt x="69850" y="168672"/>
                  <a:pt x="71437" y="173831"/>
                </a:cubicBezTo>
                <a:cubicBezTo>
                  <a:pt x="73024" y="178990"/>
                  <a:pt x="78978" y="188515"/>
                  <a:pt x="80962" y="195262"/>
                </a:cubicBezTo>
                <a:cubicBezTo>
                  <a:pt x="82946" y="202009"/>
                  <a:pt x="82153" y="209153"/>
                  <a:pt x="83344" y="214312"/>
                </a:cubicBezTo>
                <a:cubicBezTo>
                  <a:pt x="84535" y="219471"/>
                  <a:pt x="87709" y="221059"/>
                  <a:pt x="88106" y="226218"/>
                </a:cubicBezTo>
                <a:cubicBezTo>
                  <a:pt x="88503" y="231377"/>
                  <a:pt x="84138" y="235743"/>
                  <a:pt x="85725" y="245268"/>
                </a:cubicBezTo>
                <a:cubicBezTo>
                  <a:pt x="87313" y="254793"/>
                  <a:pt x="94456" y="272255"/>
                  <a:pt x="97631" y="283368"/>
                </a:cubicBezTo>
                <a:cubicBezTo>
                  <a:pt x="100806" y="294481"/>
                  <a:pt x="104775" y="311943"/>
                  <a:pt x="104775" y="311943"/>
                </a:cubicBezTo>
                <a:cubicBezTo>
                  <a:pt x="107156" y="321468"/>
                  <a:pt x="110331" y="332580"/>
                  <a:pt x="111919" y="340518"/>
                </a:cubicBezTo>
                <a:cubicBezTo>
                  <a:pt x="113507" y="348456"/>
                  <a:pt x="111919" y="354012"/>
                  <a:pt x="114300" y="359568"/>
                </a:cubicBezTo>
                <a:cubicBezTo>
                  <a:pt x="116681" y="365124"/>
                  <a:pt x="122634" y="369094"/>
                  <a:pt x="126206" y="373856"/>
                </a:cubicBezTo>
                <a:cubicBezTo>
                  <a:pt x="129778" y="378618"/>
                  <a:pt x="133747" y="383777"/>
                  <a:pt x="135731" y="388143"/>
                </a:cubicBezTo>
                <a:cubicBezTo>
                  <a:pt x="137715" y="392509"/>
                  <a:pt x="136525" y="396081"/>
                  <a:pt x="138112" y="400050"/>
                </a:cubicBezTo>
                <a:cubicBezTo>
                  <a:pt x="139700" y="404019"/>
                  <a:pt x="144462" y="407987"/>
                  <a:pt x="145256" y="411956"/>
                </a:cubicBezTo>
                <a:cubicBezTo>
                  <a:pt x="146050" y="415925"/>
                  <a:pt x="144066" y="419893"/>
                  <a:pt x="142875" y="423862"/>
                </a:cubicBezTo>
                <a:cubicBezTo>
                  <a:pt x="141684" y="427831"/>
                  <a:pt x="137318" y="429815"/>
                  <a:pt x="138112" y="435768"/>
                </a:cubicBezTo>
                <a:cubicBezTo>
                  <a:pt x="138906" y="441721"/>
                  <a:pt x="144065" y="452437"/>
                  <a:pt x="147637" y="459581"/>
                </a:cubicBezTo>
                <a:cubicBezTo>
                  <a:pt x="151209" y="466725"/>
                  <a:pt x="155178" y="472678"/>
                  <a:pt x="159544" y="478631"/>
                </a:cubicBezTo>
                <a:cubicBezTo>
                  <a:pt x="163910" y="484584"/>
                  <a:pt x="167481" y="490141"/>
                  <a:pt x="173831" y="495300"/>
                </a:cubicBezTo>
                <a:cubicBezTo>
                  <a:pt x="180181" y="500459"/>
                  <a:pt x="190897" y="504825"/>
                  <a:pt x="197644" y="509587"/>
                </a:cubicBezTo>
                <a:cubicBezTo>
                  <a:pt x="204391" y="514349"/>
                  <a:pt x="210343" y="520303"/>
                  <a:pt x="214312" y="523875"/>
                </a:cubicBezTo>
                <a:cubicBezTo>
                  <a:pt x="218281" y="527447"/>
                  <a:pt x="218678" y="525065"/>
                  <a:pt x="221456" y="531018"/>
                </a:cubicBezTo>
                <a:cubicBezTo>
                  <a:pt x="224234" y="536971"/>
                  <a:pt x="228203" y="550465"/>
                  <a:pt x="230981" y="559593"/>
                </a:cubicBezTo>
                <a:cubicBezTo>
                  <a:pt x="233759" y="568721"/>
                  <a:pt x="232172" y="577850"/>
                  <a:pt x="238125" y="585787"/>
                </a:cubicBezTo>
                <a:cubicBezTo>
                  <a:pt x="244078" y="593724"/>
                  <a:pt x="256778" y="601662"/>
                  <a:pt x="266700" y="607218"/>
                </a:cubicBezTo>
                <a:cubicBezTo>
                  <a:pt x="276622" y="612774"/>
                  <a:pt x="288528" y="611187"/>
                  <a:pt x="297656" y="619125"/>
                </a:cubicBezTo>
                <a:cubicBezTo>
                  <a:pt x="306784" y="627063"/>
                  <a:pt x="311547" y="644524"/>
                  <a:pt x="321469" y="654843"/>
                </a:cubicBezTo>
                <a:cubicBezTo>
                  <a:pt x="331391" y="665162"/>
                  <a:pt x="357187" y="681037"/>
                  <a:pt x="357187" y="681037"/>
                </a:cubicBezTo>
                <a:lnTo>
                  <a:pt x="383381" y="700087"/>
                </a:lnTo>
                <a:cubicBezTo>
                  <a:pt x="394494" y="708025"/>
                  <a:pt x="414734" y="719931"/>
                  <a:pt x="423862" y="728662"/>
                </a:cubicBezTo>
                <a:cubicBezTo>
                  <a:pt x="432990" y="737393"/>
                  <a:pt x="434578" y="744538"/>
                  <a:pt x="438150" y="752475"/>
                </a:cubicBezTo>
                <a:cubicBezTo>
                  <a:pt x="441722" y="760412"/>
                  <a:pt x="442516" y="765572"/>
                  <a:pt x="445294" y="776287"/>
                </a:cubicBezTo>
                <a:cubicBezTo>
                  <a:pt x="448072" y="787002"/>
                  <a:pt x="451644" y="804862"/>
                  <a:pt x="454819" y="816768"/>
                </a:cubicBezTo>
                <a:cubicBezTo>
                  <a:pt x="457994" y="828674"/>
                  <a:pt x="461169" y="838199"/>
                  <a:pt x="464344" y="847725"/>
                </a:cubicBezTo>
              </a:path>
            </a:pathLst>
          </a:cu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2" name="Полилиния 291"/>
          <p:cNvSpPr/>
          <p:nvPr/>
        </p:nvSpPr>
        <p:spPr>
          <a:xfrm>
            <a:off x="5977334" y="3061828"/>
            <a:ext cx="464344" cy="847725"/>
          </a:xfrm>
          <a:custGeom>
            <a:avLst/>
            <a:gdLst>
              <a:gd name="connsiteX0" fmla="*/ 0 w 464344"/>
              <a:gd name="connsiteY0" fmla="*/ 0 h 847725"/>
              <a:gd name="connsiteX1" fmla="*/ 4762 w 464344"/>
              <a:gd name="connsiteY1" fmla="*/ 69056 h 847725"/>
              <a:gd name="connsiteX2" fmla="*/ 16669 w 464344"/>
              <a:gd name="connsiteY2" fmla="*/ 90487 h 847725"/>
              <a:gd name="connsiteX3" fmla="*/ 28575 w 464344"/>
              <a:gd name="connsiteY3" fmla="*/ 119062 h 847725"/>
              <a:gd name="connsiteX4" fmla="*/ 47625 w 464344"/>
              <a:gd name="connsiteY4" fmla="*/ 145256 h 847725"/>
              <a:gd name="connsiteX5" fmla="*/ 66675 w 464344"/>
              <a:gd name="connsiteY5" fmla="*/ 157162 h 847725"/>
              <a:gd name="connsiteX6" fmla="*/ 71437 w 464344"/>
              <a:gd name="connsiteY6" fmla="*/ 164306 h 847725"/>
              <a:gd name="connsiteX7" fmla="*/ 71437 w 464344"/>
              <a:gd name="connsiteY7" fmla="*/ 173831 h 847725"/>
              <a:gd name="connsiteX8" fmla="*/ 80962 w 464344"/>
              <a:gd name="connsiteY8" fmla="*/ 195262 h 847725"/>
              <a:gd name="connsiteX9" fmla="*/ 83344 w 464344"/>
              <a:gd name="connsiteY9" fmla="*/ 214312 h 847725"/>
              <a:gd name="connsiteX10" fmla="*/ 88106 w 464344"/>
              <a:gd name="connsiteY10" fmla="*/ 226218 h 847725"/>
              <a:gd name="connsiteX11" fmla="*/ 85725 w 464344"/>
              <a:gd name="connsiteY11" fmla="*/ 245268 h 847725"/>
              <a:gd name="connsiteX12" fmla="*/ 97631 w 464344"/>
              <a:gd name="connsiteY12" fmla="*/ 283368 h 847725"/>
              <a:gd name="connsiteX13" fmla="*/ 104775 w 464344"/>
              <a:gd name="connsiteY13" fmla="*/ 311943 h 847725"/>
              <a:gd name="connsiteX14" fmla="*/ 111919 w 464344"/>
              <a:gd name="connsiteY14" fmla="*/ 340518 h 847725"/>
              <a:gd name="connsiteX15" fmla="*/ 114300 w 464344"/>
              <a:gd name="connsiteY15" fmla="*/ 359568 h 847725"/>
              <a:gd name="connsiteX16" fmla="*/ 126206 w 464344"/>
              <a:gd name="connsiteY16" fmla="*/ 373856 h 847725"/>
              <a:gd name="connsiteX17" fmla="*/ 135731 w 464344"/>
              <a:gd name="connsiteY17" fmla="*/ 388143 h 847725"/>
              <a:gd name="connsiteX18" fmla="*/ 138112 w 464344"/>
              <a:gd name="connsiteY18" fmla="*/ 400050 h 847725"/>
              <a:gd name="connsiteX19" fmla="*/ 145256 w 464344"/>
              <a:gd name="connsiteY19" fmla="*/ 411956 h 847725"/>
              <a:gd name="connsiteX20" fmla="*/ 142875 w 464344"/>
              <a:gd name="connsiteY20" fmla="*/ 423862 h 847725"/>
              <a:gd name="connsiteX21" fmla="*/ 138112 w 464344"/>
              <a:gd name="connsiteY21" fmla="*/ 435768 h 847725"/>
              <a:gd name="connsiteX22" fmla="*/ 147637 w 464344"/>
              <a:gd name="connsiteY22" fmla="*/ 459581 h 847725"/>
              <a:gd name="connsiteX23" fmla="*/ 159544 w 464344"/>
              <a:gd name="connsiteY23" fmla="*/ 478631 h 847725"/>
              <a:gd name="connsiteX24" fmla="*/ 173831 w 464344"/>
              <a:gd name="connsiteY24" fmla="*/ 495300 h 847725"/>
              <a:gd name="connsiteX25" fmla="*/ 197644 w 464344"/>
              <a:gd name="connsiteY25" fmla="*/ 509587 h 847725"/>
              <a:gd name="connsiteX26" fmla="*/ 214312 w 464344"/>
              <a:gd name="connsiteY26" fmla="*/ 523875 h 847725"/>
              <a:gd name="connsiteX27" fmla="*/ 221456 w 464344"/>
              <a:gd name="connsiteY27" fmla="*/ 531018 h 847725"/>
              <a:gd name="connsiteX28" fmla="*/ 230981 w 464344"/>
              <a:gd name="connsiteY28" fmla="*/ 559593 h 847725"/>
              <a:gd name="connsiteX29" fmla="*/ 238125 w 464344"/>
              <a:gd name="connsiteY29" fmla="*/ 585787 h 847725"/>
              <a:gd name="connsiteX30" fmla="*/ 266700 w 464344"/>
              <a:gd name="connsiteY30" fmla="*/ 607218 h 847725"/>
              <a:gd name="connsiteX31" fmla="*/ 297656 w 464344"/>
              <a:gd name="connsiteY31" fmla="*/ 619125 h 847725"/>
              <a:gd name="connsiteX32" fmla="*/ 321469 w 464344"/>
              <a:gd name="connsiteY32" fmla="*/ 654843 h 847725"/>
              <a:gd name="connsiteX33" fmla="*/ 357187 w 464344"/>
              <a:gd name="connsiteY33" fmla="*/ 681037 h 847725"/>
              <a:gd name="connsiteX34" fmla="*/ 383381 w 464344"/>
              <a:gd name="connsiteY34" fmla="*/ 700087 h 847725"/>
              <a:gd name="connsiteX35" fmla="*/ 423862 w 464344"/>
              <a:gd name="connsiteY35" fmla="*/ 728662 h 847725"/>
              <a:gd name="connsiteX36" fmla="*/ 438150 w 464344"/>
              <a:gd name="connsiteY36" fmla="*/ 752475 h 847725"/>
              <a:gd name="connsiteX37" fmla="*/ 445294 w 464344"/>
              <a:gd name="connsiteY37" fmla="*/ 776287 h 847725"/>
              <a:gd name="connsiteX38" fmla="*/ 454819 w 464344"/>
              <a:gd name="connsiteY38" fmla="*/ 816768 h 847725"/>
              <a:gd name="connsiteX39" fmla="*/ 464344 w 464344"/>
              <a:gd name="connsiteY39" fmla="*/ 847725 h 847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64344" h="847725">
                <a:moveTo>
                  <a:pt x="0" y="0"/>
                </a:moveTo>
                <a:cubicBezTo>
                  <a:pt x="992" y="26987"/>
                  <a:pt x="1984" y="53975"/>
                  <a:pt x="4762" y="69056"/>
                </a:cubicBezTo>
                <a:cubicBezTo>
                  <a:pt x="7540" y="84137"/>
                  <a:pt x="12700" y="82153"/>
                  <a:pt x="16669" y="90487"/>
                </a:cubicBezTo>
                <a:cubicBezTo>
                  <a:pt x="20638" y="98821"/>
                  <a:pt x="23416" y="109934"/>
                  <a:pt x="28575" y="119062"/>
                </a:cubicBezTo>
                <a:cubicBezTo>
                  <a:pt x="33734" y="128190"/>
                  <a:pt x="41275" y="138906"/>
                  <a:pt x="47625" y="145256"/>
                </a:cubicBezTo>
                <a:cubicBezTo>
                  <a:pt x="53975" y="151606"/>
                  <a:pt x="62706" y="153987"/>
                  <a:pt x="66675" y="157162"/>
                </a:cubicBezTo>
                <a:cubicBezTo>
                  <a:pt x="70644" y="160337"/>
                  <a:pt x="70643" y="161528"/>
                  <a:pt x="71437" y="164306"/>
                </a:cubicBezTo>
                <a:cubicBezTo>
                  <a:pt x="72231" y="167084"/>
                  <a:pt x="69850" y="168672"/>
                  <a:pt x="71437" y="173831"/>
                </a:cubicBezTo>
                <a:cubicBezTo>
                  <a:pt x="73024" y="178990"/>
                  <a:pt x="78978" y="188515"/>
                  <a:pt x="80962" y="195262"/>
                </a:cubicBezTo>
                <a:cubicBezTo>
                  <a:pt x="82946" y="202009"/>
                  <a:pt x="82153" y="209153"/>
                  <a:pt x="83344" y="214312"/>
                </a:cubicBezTo>
                <a:cubicBezTo>
                  <a:pt x="84535" y="219471"/>
                  <a:pt x="87709" y="221059"/>
                  <a:pt x="88106" y="226218"/>
                </a:cubicBezTo>
                <a:cubicBezTo>
                  <a:pt x="88503" y="231377"/>
                  <a:pt x="84138" y="235743"/>
                  <a:pt x="85725" y="245268"/>
                </a:cubicBezTo>
                <a:cubicBezTo>
                  <a:pt x="87313" y="254793"/>
                  <a:pt x="94456" y="272255"/>
                  <a:pt x="97631" y="283368"/>
                </a:cubicBezTo>
                <a:cubicBezTo>
                  <a:pt x="100806" y="294481"/>
                  <a:pt x="104775" y="311943"/>
                  <a:pt x="104775" y="311943"/>
                </a:cubicBezTo>
                <a:cubicBezTo>
                  <a:pt x="107156" y="321468"/>
                  <a:pt x="110331" y="332580"/>
                  <a:pt x="111919" y="340518"/>
                </a:cubicBezTo>
                <a:cubicBezTo>
                  <a:pt x="113507" y="348456"/>
                  <a:pt x="111919" y="354012"/>
                  <a:pt x="114300" y="359568"/>
                </a:cubicBezTo>
                <a:cubicBezTo>
                  <a:pt x="116681" y="365124"/>
                  <a:pt x="122634" y="369094"/>
                  <a:pt x="126206" y="373856"/>
                </a:cubicBezTo>
                <a:cubicBezTo>
                  <a:pt x="129778" y="378618"/>
                  <a:pt x="133747" y="383777"/>
                  <a:pt x="135731" y="388143"/>
                </a:cubicBezTo>
                <a:cubicBezTo>
                  <a:pt x="137715" y="392509"/>
                  <a:pt x="136525" y="396081"/>
                  <a:pt x="138112" y="400050"/>
                </a:cubicBezTo>
                <a:cubicBezTo>
                  <a:pt x="139700" y="404019"/>
                  <a:pt x="144462" y="407987"/>
                  <a:pt x="145256" y="411956"/>
                </a:cubicBezTo>
                <a:cubicBezTo>
                  <a:pt x="146050" y="415925"/>
                  <a:pt x="144066" y="419893"/>
                  <a:pt x="142875" y="423862"/>
                </a:cubicBezTo>
                <a:cubicBezTo>
                  <a:pt x="141684" y="427831"/>
                  <a:pt x="137318" y="429815"/>
                  <a:pt x="138112" y="435768"/>
                </a:cubicBezTo>
                <a:cubicBezTo>
                  <a:pt x="138906" y="441721"/>
                  <a:pt x="144065" y="452437"/>
                  <a:pt x="147637" y="459581"/>
                </a:cubicBezTo>
                <a:cubicBezTo>
                  <a:pt x="151209" y="466725"/>
                  <a:pt x="155178" y="472678"/>
                  <a:pt x="159544" y="478631"/>
                </a:cubicBezTo>
                <a:cubicBezTo>
                  <a:pt x="163910" y="484584"/>
                  <a:pt x="167481" y="490141"/>
                  <a:pt x="173831" y="495300"/>
                </a:cubicBezTo>
                <a:cubicBezTo>
                  <a:pt x="180181" y="500459"/>
                  <a:pt x="190897" y="504825"/>
                  <a:pt x="197644" y="509587"/>
                </a:cubicBezTo>
                <a:cubicBezTo>
                  <a:pt x="204391" y="514349"/>
                  <a:pt x="210343" y="520303"/>
                  <a:pt x="214312" y="523875"/>
                </a:cubicBezTo>
                <a:cubicBezTo>
                  <a:pt x="218281" y="527447"/>
                  <a:pt x="218678" y="525065"/>
                  <a:pt x="221456" y="531018"/>
                </a:cubicBezTo>
                <a:cubicBezTo>
                  <a:pt x="224234" y="536971"/>
                  <a:pt x="228203" y="550465"/>
                  <a:pt x="230981" y="559593"/>
                </a:cubicBezTo>
                <a:cubicBezTo>
                  <a:pt x="233759" y="568721"/>
                  <a:pt x="232172" y="577850"/>
                  <a:pt x="238125" y="585787"/>
                </a:cubicBezTo>
                <a:cubicBezTo>
                  <a:pt x="244078" y="593724"/>
                  <a:pt x="256778" y="601662"/>
                  <a:pt x="266700" y="607218"/>
                </a:cubicBezTo>
                <a:cubicBezTo>
                  <a:pt x="276622" y="612774"/>
                  <a:pt x="288528" y="611187"/>
                  <a:pt x="297656" y="619125"/>
                </a:cubicBezTo>
                <a:cubicBezTo>
                  <a:pt x="306784" y="627063"/>
                  <a:pt x="311547" y="644524"/>
                  <a:pt x="321469" y="654843"/>
                </a:cubicBezTo>
                <a:cubicBezTo>
                  <a:pt x="331391" y="665162"/>
                  <a:pt x="357187" y="681037"/>
                  <a:pt x="357187" y="681037"/>
                </a:cubicBezTo>
                <a:lnTo>
                  <a:pt x="383381" y="700087"/>
                </a:lnTo>
                <a:cubicBezTo>
                  <a:pt x="394494" y="708025"/>
                  <a:pt x="414734" y="719931"/>
                  <a:pt x="423862" y="728662"/>
                </a:cubicBezTo>
                <a:cubicBezTo>
                  <a:pt x="432990" y="737393"/>
                  <a:pt x="434578" y="744538"/>
                  <a:pt x="438150" y="752475"/>
                </a:cubicBezTo>
                <a:cubicBezTo>
                  <a:pt x="441722" y="760412"/>
                  <a:pt x="442516" y="765572"/>
                  <a:pt x="445294" y="776287"/>
                </a:cubicBezTo>
                <a:cubicBezTo>
                  <a:pt x="448072" y="787002"/>
                  <a:pt x="451644" y="804862"/>
                  <a:pt x="454819" y="816768"/>
                </a:cubicBezTo>
                <a:cubicBezTo>
                  <a:pt x="457994" y="828674"/>
                  <a:pt x="461169" y="838199"/>
                  <a:pt x="464344" y="847725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3" name="Полилиния 292"/>
          <p:cNvSpPr/>
          <p:nvPr/>
        </p:nvSpPr>
        <p:spPr>
          <a:xfrm>
            <a:off x="6024560" y="3048195"/>
            <a:ext cx="464344" cy="847725"/>
          </a:xfrm>
          <a:custGeom>
            <a:avLst/>
            <a:gdLst>
              <a:gd name="connsiteX0" fmla="*/ 0 w 464344"/>
              <a:gd name="connsiteY0" fmla="*/ 0 h 847725"/>
              <a:gd name="connsiteX1" fmla="*/ 4762 w 464344"/>
              <a:gd name="connsiteY1" fmla="*/ 69056 h 847725"/>
              <a:gd name="connsiteX2" fmla="*/ 16669 w 464344"/>
              <a:gd name="connsiteY2" fmla="*/ 90487 h 847725"/>
              <a:gd name="connsiteX3" fmla="*/ 28575 w 464344"/>
              <a:gd name="connsiteY3" fmla="*/ 119062 h 847725"/>
              <a:gd name="connsiteX4" fmla="*/ 47625 w 464344"/>
              <a:gd name="connsiteY4" fmla="*/ 145256 h 847725"/>
              <a:gd name="connsiteX5" fmla="*/ 66675 w 464344"/>
              <a:gd name="connsiteY5" fmla="*/ 157162 h 847725"/>
              <a:gd name="connsiteX6" fmla="*/ 71437 w 464344"/>
              <a:gd name="connsiteY6" fmla="*/ 164306 h 847725"/>
              <a:gd name="connsiteX7" fmla="*/ 71437 w 464344"/>
              <a:gd name="connsiteY7" fmla="*/ 173831 h 847725"/>
              <a:gd name="connsiteX8" fmla="*/ 80962 w 464344"/>
              <a:gd name="connsiteY8" fmla="*/ 195262 h 847725"/>
              <a:gd name="connsiteX9" fmla="*/ 83344 w 464344"/>
              <a:gd name="connsiteY9" fmla="*/ 214312 h 847725"/>
              <a:gd name="connsiteX10" fmla="*/ 88106 w 464344"/>
              <a:gd name="connsiteY10" fmla="*/ 226218 h 847725"/>
              <a:gd name="connsiteX11" fmla="*/ 85725 w 464344"/>
              <a:gd name="connsiteY11" fmla="*/ 245268 h 847725"/>
              <a:gd name="connsiteX12" fmla="*/ 97631 w 464344"/>
              <a:gd name="connsiteY12" fmla="*/ 283368 h 847725"/>
              <a:gd name="connsiteX13" fmla="*/ 104775 w 464344"/>
              <a:gd name="connsiteY13" fmla="*/ 311943 h 847725"/>
              <a:gd name="connsiteX14" fmla="*/ 111919 w 464344"/>
              <a:gd name="connsiteY14" fmla="*/ 340518 h 847725"/>
              <a:gd name="connsiteX15" fmla="*/ 114300 w 464344"/>
              <a:gd name="connsiteY15" fmla="*/ 359568 h 847725"/>
              <a:gd name="connsiteX16" fmla="*/ 126206 w 464344"/>
              <a:gd name="connsiteY16" fmla="*/ 373856 h 847725"/>
              <a:gd name="connsiteX17" fmla="*/ 135731 w 464344"/>
              <a:gd name="connsiteY17" fmla="*/ 388143 h 847725"/>
              <a:gd name="connsiteX18" fmla="*/ 138112 w 464344"/>
              <a:gd name="connsiteY18" fmla="*/ 400050 h 847725"/>
              <a:gd name="connsiteX19" fmla="*/ 145256 w 464344"/>
              <a:gd name="connsiteY19" fmla="*/ 411956 h 847725"/>
              <a:gd name="connsiteX20" fmla="*/ 142875 w 464344"/>
              <a:gd name="connsiteY20" fmla="*/ 423862 h 847725"/>
              <a:gd name="connsiteX21" fmla="*/ 138112 w 464344"/>
              <a:gd name="connsiteY21" fmla="*/ 435768 h 847725"/>
              <a:gd name="connsiteX22" fmla="*/ 147637 w 464344"/>
              <a:gd name="connsiteY22" fmla="*/ 459581 h 847725"/>
              <a:gd name="connsiteX23" fmla="*/ 159544 w 464344"/>
              <a:gd name="connsiteY23" fmla="*/ 478631 h 847725"/>
              <a:gd name="connsiteX24" fmla="*/ 173831 w 464344"/>
              <a:gd name="connsiteY24" fmla="*/ 495300 h 847725"/>
              <a:gd name="connsiteX25" fmla="*/ 197644 w 464344"/>
              <a:gd name="connsiteY25" fmla="*/ 509587 h 847725"/>
              <a:gd name="connsiteX26" fmla="*/ 214312 w 464344"/>
              <a:gd name="connsiteY26" fmla="*/ 523875 h 847725"/>
              <a:gd name="connsiteX27" fmla="*/ 221456 w 464344"/>
              <a:gd name="connsiteY27" fmla="*/ 531018 h 847725"/>
              <a:gd name="connsiteX28" fmla="*/ 230981 w 464344"/>
              <a:gd name="connsiteY28" fmla="*/ 559593 h 847725"/>
              <a:gd name="connsiteX29" fmla="*/ 238125 w 464344"/>
              <a:gd name="connsiteY29" fmla="*/ 585787 h 847725"/>
              <a:gd name="connsiteX30" fmla="*/ 266700 w 464344"/>
              <a:gd name="connsiteY30" fmla="*/ 607218 h 847725"/>
              <a:gd name="connsiteX31" fmla="*/ 297656 w 464344"/>
              <a:gd name="connsiteY31" fmla="*/ 619125 h 847725"/>
              <a:gd name="connsiteX32" fmla="*/ 321469 w 464344"/>
              <a:gd name="connsiteY32" fmla="*/ 654843 h 847725"/>
              <a:gd name="connsiteX33" fmla="*/ 357187 w 464344"/>
              <a:gd name="connsiteY33" fmla="*/ 681037 h 847725"/>
              <a:gd name="connsiteX34" fmla="*/ 383381 w 464344"/>
              <a:gd name="connsiteY34" fmla="*/ 700087 h 847725"/>
              <a:gd name="connsiteX35" fmla="*/ 423862 w 464344"/>
              <a:gd name="connsiteY35" fmla="*/ 728662 h 847725"/>
              <a:gd name="connsiteX36" fmla="*/ 438150 w 464344"/>
              <a:gd name="connsiteY36" fmla="*/ 752475 h 847725"/>
              <a:gd name="connsiteX37" fmla="*/ 445294 w 464344"/>
              <a:gd name="connsiteY37" fmla="*/ 776287 h 847725"/>
              <a:gd name="connsiteX38" fmla="*/ 454819 w 464344"/>
              <a:gd name="connsiteY38" fmla="*/ 816768 h 847725"/>
              <a:gd name="connsiteX39" fmla="*/ 464344 w 464344"/>
              <a:gd name="connsiteY39" fmla="*/ 847725 h 847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64344" h="847725">
                <a:moveTo>
                  <a:pt x="0" y="0"/>
                </a:moveTo>
                <a:cubicBezTo>
                  <a:pt x="992" y="26987"/>
                  <a:pt x="1984" y="53975"/>
                  <a:pt x="4762" y="69056"/>
                </a:cubicBezTo>
                <a:cubicBezTo>
                  <a:pt x="7540" y="84137"/>
                  <a:pt x="12700" y="82153"/>
                  <a:pt x="16669" y="90487"/>
                </a:cubicBezTo>
                <a:cubicBezTo>
                  <a:pt x="20638" y="98821"/>
                  <a:pt x="23416" y="109934"/>
                  <a:pt x="28575" y="119062"/>
                </a:cubicBezTo>
                <a:cubicBezTo>
                  <a:pt x="33734" y="128190"/>
                  <a:pt x="41275" y="138906"/>
                  <a:pt x="47625" y="145256"/>
                </a:cubicBezTo>
                <a:cubicBezTo>
                  <a:pt x="53975" y="151606"/>
                  <a:pt x="62706" y="153987"/>
                  <a:pt x="66675" y="157162"/>
                </a:cubicBezTo>
                <a:cubicBezTo>
                  <a:pt x="70644" y="160337"/>
                  <a:pt x="70643" y="161528"/>
                  <a:pt x="71437" y="164306"/>
                </a:cubicBezTo>
                <a:cubicBezTo>
                  <a:pt x="72231" y="167084"/>
                  <a:pt x="69850" y="168672"/>
                  <a:pt x="71437" y="173831"/>
                </a:cubicBezTo>
                <a:cubicBezTo>
                  <a:pt x="73024" y="178990"/>
                  <a:pt x="78978" y="188515"/>
                  <a:pt x="80962" y="195262"/>
                </a:cubicBezTo>
                <a:cubicBezTo>
                  <a:pt x="82946" y="202009"/>
                  <a:pt x="82153" y="209153"/>
                  <a:pt x="83344" y="214312"/>
                </a:cubicBezTo>
                <a:cubicBezTo>
                  <a:pt x="84535" y="219471"/>
                  <a:pt x="87709" y="221059"/>
                  <a:pt x="88106" y="226218"/>
                </a:cubicBezTo>
                <a:cubicBezTo>
                  <a:pt x="88503" y="231377"/>
                  <a:pt x="84138" y="235743"/>
                  <a:pt x="85725" y="245268"/>
                </a:cubicBezTo>
                <a:cubicBezTo>
                  <a:pt x="87313" y="254793"/>
                  <a:pt x="94456" y="272255"/>
                  <a:pt x="97631" y="283368"/>
                </a:cubicBezTo>
                <a:cubicBezTo>
                  <a:pt x="100806" y="294481"/>
                  <a:pt x="104775" y="311943"/>
                  <a:pt x="104775" y="311943"/>
                </a:cubicBezTo>
                <a:cubicBezTo>
                  <a:pt x="107156" y="321468"/>
                  <a:pt x="110331" y="332580"/>
                  <a:pt x="111919" y="340518"/>
                </a:cubicBezTo>
                <a:cubicBezTo>
                  <a:pt x="113507" y="348456"/>
                  <a:pt x="111919" y="354012"/>
                  <a:pt x="114300" y="359568"/>
                </a:cubicBezTo>
                <a:cubicBezTo>
                  <a:pt x="116681" y="365124"/>
                  <a:pt x="122634" y="369094"/>
                  <a:pt x="126206" y="373856"/>
                </a:cubicBezTo>
                <a:cubicBezTo>
                  <a:pt x="129778" y="378618"/>
                  <a:pt x="133747" y="383777"/>
                  <a:pt x="135731" y="388143"/>
                </a:cubicBezTo>
                <a:cubicBezTo>
                  <a:pt x="137715" y="392509"/>
                  <a:pt x="136525" y="396081"/>
                  <a:pt x="138112" y="400050"/>
                </a:cubicBezTo>
                <a:cubicBezTo>
                  <a:pt x="139700" y="404019"/>
                  <a:pt x="144462" y="407987"/>
                  <a:pt x="145256" y="411956"/>
                </a:cubicBezTo>
                <a:cubicBezTo>
                  <a:pt x="146050" y="415925"/>
                  <a:pt x="144066" y="419893"/>
                  <a:pt x="142875" y="423862"/>
                </a:cubicBezTo>
                <a:cubicBezTo>
                  <a:pt x="141684" y="427831"/>
                  <a:pt x="137318" y="429815"/>
                  <a:pt x="138112" y="435768"/>
                </a:cubicBezTo>
                <a:cubicBezTo>
                  <a:pt x="138906" y="441721"/>
                  <a:pt x="144065" y="452437"/>
                  <a:pt x="147637" y="459581"/>
                </a:cubicBezTo>
                <a:cubicBezTo>
                  <a:pt x="151209" y="466725"/>
                  <a:pt x="155178" y="472678"/>
                  <a:pt x="159544" y="478631"/>
                </a:cubicBezTo>
                <a:cubicBezTo>
                  <a:pt x="163910" y="484584"/>
                  <a:pt x="167481" y="490141"/>
                  <a:pt x="173831" y="495300"/>
                </a:cubicBezTo>
                <a:cubicBezTo>
                  <a:pt x="180181" y="500459"/>
                  <a:pt x="190897" y="504825"/>
                  <a:pt x="197644" y="509587"/>
                </a:cubicBezTo>
                <a:cubicBezTo>
                  <a:pt x="204391" y="514349"/>
                  <a:pt x="210343" y="520303"/>
                  <a:pt x="214312" y="523875"/>
                </a:cubicBezTo>
                <a:cubicBezTo>
                  <a:pt x="218281" y="527447"/>
                  <a:pt x="218678" y="525065"/>
                  <a:pt x="221456" y="531018"/>
                </a:cubicBezTo>
                <a:cubicBezTo>
                  <a:pt x="224234" y="536971"/>
                  <a:pt x="228203" y="550465"/>
                  <a:pt x="230981" y="559593"/>
                </a:cubicBezTo>
                <a:cubicBezTo>
                  <a:pt x="233759" y="568721"/>
                  <a:pt x="232172" y="577850"/>
                  <a:pt x="238125" y="585787"/>
                </a:cubicBezTo>
                <a:cubicBezTo>
                  <a:pt x="244078" y="593724"/>
                  <a:pt x="256778" y="601662"/>
                  <a:pt x="266700" y="607218"/>
                </a:cubicBezTo>
                <a:cubicBezTo>
                  <a:pt x="276622" y="612774"/>
                  <a:pt x="288528" y="611187"/>
                  <a:pt x="297656" y="619125"/>
                </a:cubicBezTo>
                <a:cubicBezTo>
                  <a:pt x="306784" y="627063"/>
                  <a:pt x="311547" y="644524"/>
                  <a:pt x="321469" y="654843"/>
                </a:cubicBezTo>
                <a:cubicBezTo>
                  <a:pt x="331391" y="665162"/>
                  <a:pt x="357187" y="681037"/>
                  <a:pt x="357187" y="681037"/>
                </a:cubicBezTo>
                <a:lnTo>
                  <a:pt x="383381" y="700087"/>
                </a:lnTo>
                <a:cubicBezTo>
                  <a:pt x="394494" y="708025"/>
                  <a:pt x="414734" y="719931"/>
                  <a:pt x="423862" y="728662"/>
                </a:cubicBezTo>
                <a:cubicBezTo>
                  <a:pt x="432990" y="737393"/>
                  <a:pt x="434578" y="744538"/>
                  <a:pt x="438150" y="752475"/>
                </a:cubicBezTo>
                <a:cubicBezTo>
                  <a:pt x="441722" y="760412"/>
                  <a:pt x="442516" y="765572"/>
                  <a:pt x="445294" y="776287"/>
                </a:cubicBezTo>
                <a:cubicBezTo>
                  <a:pt x="448072" y="787002"/>
                  <a:pt x="451644" y="804862"/>
                  <a:pt x="454819" y="816768"/>
                </a:cubicBezTo>
                <a:cubicBezTo>
                  <a:pt x="457994" y="828674"/>
                  <a:pt x="461169" y="838199"/>
                  <a:pt x="464344" y="847725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2" name="Блок-схема: узел 231"/>
          <p:cNvSpPr/>
          <p:nvPr/>
        </p:nvSpPr>
        <p:spPr>
          <a:xfrm>
            <a:off x="6421714" y="3871845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6" name="Блок-схема: узел 155"/>
          <p:cNvSpPr/>
          <p:nvPr/>
        </p:nvSpPr>
        <p:spPr>
          <a:xfrm>
            <a:off x="5944513" y="2976025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4" name="Скругленный прямоугольник 293"/>
          <p:cNvSpPr/>
          <p:nvPr/>
        </p:nvSpPr>
        <p:spPr bwMode="auto">
          <a:xfrm>
            <a:off x="5960572" y="611055"/>
            <a:ext cx="3138794" cy="112401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eaLnBrk="0" hangingPunct="0">
              <a:defRPr/>
            </a:pP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Теміртау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–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Қарағанды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100" b="1" dirty="0">
                <a:solidFill>
                  <a:srgbClr val="002060"/>
                </a:solidFill>
                <a:cs typeface="Arial" pitchFamily="34" charset="0"/>
              </a:rPr>
              <a:t>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61 км.  </a:t>
            </a:r>
            <a:r>
              <a:rPr lang="ru-RU" altLang="ru-RU" sz="1100" b="1" dirty="0" err="1">
                <a:solidFill>
                  <a:srgbClr val="002060"/>
                </a:solidFill>
                <a:cs typeface="Arial" pitchFamily="34" charset="0"/>
              </a:rPr>
              <a:t>о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ның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ішінде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</a:p>
          <a:p>
            <a:pPr eaLnBrk="0" hangingPunct="0">
              <a:defRPr/>
            </a:pP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Қарағанды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қ.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Шығыс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және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Солтүстік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айналымы</a:t>
            </a:r>
            <a:endParaRPr lang="ru-RU" altLang="ru-RU" sz="1100" b="1" dirty="0">
              <a:solidFill>
                <a:srgbClr val="002060"/>
              </a:solidFill>
              <a:cs typeface="Arial" pitchFamily="34" charset="0"/>
            </a:endParaRPr>
          </a:p>
          <a:p>
            <a:pPr eaLnBrk="0" hangingPunct="0">
              <a:defRPr/>
            </a:pP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Іске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асыру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уақыты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: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2013-2018 </a:t>
            </a:r>
            <a:r>
              <a:rPr lang="ru-RU" altLang="ru-RU" sz="1100" b="1" dirty="0" err="1">
                <a:solidFill>
                  <a:srgbClr val="002060"/>
                </a:solidFill>
                <a:cs typeface="Arial" pitchFamily="34" charset="0"/>
              </a:rPr>
              <a:t>жылдар</a:t>
            </a:r>
            <a:endParaRPr lang="ru-RU" altLang="ru-RU" sz="11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eaLnBrk="0" hangingPunct="0">
              <a:defRPr/>
            </a:pP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аржыландыру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РБ</a:t>
            </a:r>
          </a:p>
          <a:p>
            <a:pPr eaLnBrk="0" hangingPunct="0">
              <a:defRPr/>
            </a:pPr>
            <a:r>
              <a:rPr lang="ru-RU" altLang="ru-RU" sz="11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Құн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64 </a:t>
            </a:r>
            <a:r>
              <a:rPr lang="ru-RU" altLang="ru-RU" sz="1100" b="1" dirty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rgbClr val="002060"/>
              </a:solidFill>
              <a:cs typeface="Arial" pitchFamily="34" charset="0"/>
            </a:endParaRPr>
          </a:p>
          <a:p>
            <a:pPr eaLnBrk="0" hangingPunct="0">
              <a:defRPr/>
            </a:pP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2018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жылға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жоспар</a:t>
            </a:r>
            <a:r>
              <a:rPr lang="ru-RU" altLang="ru-RU" sz="1100" b="1" dirty="0">
                <a:solidFill>
                  <a:srgbClr val="595959"/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10,9 </a:t>
            </a:r>
            <a:r>
              <a:rPr lang="ru-RU" altLang="ru-RU" sz="1100" b="1" dirty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295" name="Скругленный прямоугольник 294"/>
          <p:cNvSpPr/>
          <p:nvPr/>
        </p:nvSpPr>
        <p:spPr bwMode="auto">
          <a:xfrm>
            <a:off x="3292288" y="4760352"/>
            <a:ext cx="2743624" cy="78557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hangingPunct="0">
              <a:defRPr/>
            </a:pP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Бұрылбайтал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-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Күрті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– 228 км </a:t>
            </a:r>
          </a:p>
          <a:p>
            <a:pPr algn="just" eaLnBrk="0" hangingPunct="0">
              <a:defRPr/>
            </a:pP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Іске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асыру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уақыт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: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2017 -2020 </a:t>
            </a:r>
            <a:r>
              <a:rPr lang="ru-RU" altLang="ru-RU" sz="1100" b="1" dirty="0" err="1">
                <a:solidFill>
                  <a:srgbClr val="002060"/>
                </a:solidFill>
                <a:cs typeface="Arial" pitchFamily="34" charset="0"/>
              </a:rPr>
              <a:t>жылдар</a:t>
            </a:r>
            <a:endParaRPr lang="ru-RU" altLang="ru-RU" sz="1100" b="1" dirty="0" smtClean="0">
              <a:solidFill>
                <a:srgbClr val="595959"/>
              </a:solidFill>
              <a:ea typeface="Calibri" pitchFamily="34" charset="0"/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аржыландыру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ЕБРР, МБРР </a:t>
            </a:r>
            <a:r>
              <a:rPr lang="ru-RU" altLang="ru-RU" sz="1100" b="1" dirty="0" err="1">
                <a:solidFill>
                  <a:srgbClr val="002060"/>
                </a:solidFill>
                <a:cs typeface="Arial" pitchFamily="34" charset="0"/>
              </a:rPr>
              <a:t>займдары</a:t>
            </a:r>
            <a:endParaRPr lang="ru-RU" altLang="ru-RU" sz="1100" b="1" dirty="0" smtClean="0">
              <a:solidFill>
                <a:srgbClr val="595959"/>
              </a:solidFill>
              <a:ea typeface="Calibri" pitchFamily="34" charset="0"/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Құн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– </a:t>
            </a:r>
            <a:r>
              <a:rPr lang="ru-RU" altLang="ru-RU" sz="1100" b="1" dirty="0" smtClean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105 </a:t>
            </a:r>
            <a:r>
              <a:rPr lang="ru-RU" altLang="ru-RU" sz="1100" b="1" dirty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rgbClr val="002060"/>
              </a:solidFill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2018 </a:t>
            </a:r>
            <a:r>
              <a:rPr lang="ru-RU" altLang="ru-RU" sz="1100" b="1" dirty="0" err="1">
                <a:solidFill>
                  <a:srgbClr val="595959"/>
                </a:solidFill>
                <a:ea typeface="MS PGothic"/>
                <a:cs typeface="Arial" pitchFamily="34" charset="0"/>
              </a:rPr>
              <a:t>жылға</a:t>
            </a:r>
            <a:r>
              <a:rPr lang="ru-RU" altLang="ru-RU" sz="1100" b="1" dirty="0">
                <a:solidFill>
                  <a:srgbClr val="595959"/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жоспар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7,7 </a:t>
            </a:r>
            <a:r>
              <a:rPr lang="ru-RU" altLang="ru-RU" sz="1100" b="1" dirty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rgbClr val="002060"/>
              </a:solidFill>
              <a:cs typeface="Arial" pitchFamily="34" charset="0"/>
            </a:endParaRPr>
          </a:p>
        </p:txBody>
      </p:sp>
      <p:cxnSp>
        <p:nvCxnSpPr>
          <p:cNvPr id="296" name="Прямая со стрелкой 295"/>
          <p:cNvCxnSpPr>
            <a:stCxn id="295" idx="3"/>
            <a:endCxn id="229" idx="25"/>
          </p:cNvCxnSpPr>
          <p:nvPr/>
        </p:nvCxnSpPr>
        <p:spPr>
          <a:xfrm flipV="1">
            <a:off x="6035912" y="4717855"/>
            <a:ext cx="620135" cy="435282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Скругленный прямоугольник 296"/>
          <p:cNvSpPr/>
          <p:nvPr/>
        </p:nvSpPr>
        <p:spPr bwMode="auto">
          <a:xfrm>
            <a:off x="6463043" y="2836124"/>
            <a:ext cx="2573453" cy="66593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hangingPunct="0">
              <a:defRPr/>
            </a:pP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Күрті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-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Қапшағай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– 67 км </a:t>
            </a:r>
          </a:p>
          <a:p>
            <a:pPr algn="just" eaLnBrk="0" hangingPunct="0">
              <a:defRPr/>
            </a:pP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Іске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асыру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уақыт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: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2018-2021 </a:t>
            </a:r>
            <a:r>
              <a:rPr lang="ru-RU" altLang="ru-RU" sz="1100" b="1" dirty="0" err="1">
                <a:solidFill>
                  <a:srgbClr val="002060"/>
                </a:solidFill>
                <a:cs typeface="Arial" pitchFamily="34" charset="0"/>
              </a:rPr>
              <a:t>жылдар</a:t>
            </a:r>
            <a:endParaRPr lang="ru-RU" altLang="ru-RU" sz="1100" b="1" dirty="0" smtClean="0">
              <a:solidFill>
                <a:srgbClr val="595959"/>
              </a:solidFill>
              <a:ea typeface="Calibri" pitchFamily="34" charset="0"/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аржыландыру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 </a:t>
            </a:r>
            <a:r>
              <a:rPr lang="ru-RU" altLang="ru-RU" sz="1100" b="1" dirty="0">
                <a:solidFill>
                  <a:srgbClr val="002060"/>
                </a:solidFill>
                <a:cs typeface="Arial" pitchFamily="34" charset="0"/>
              </a:rPr>
              <a:t>ЕБРР </a:t>
            </a:r>
            <a:r>
              <a:rPr lang="ru-RU" altLang="ru-RU" sz="1100" b="1" dirty="0" err="1">
                <a:solidFill>
                  <a:srgbClr val="002060"/>
                </a:solidFill>
                <a:cs typeface="Arial" pitchFamily="34" charset="0"/>
              </a:rPr>
              <a:t>займдары</a:t>
            </a:r>
            <a:endParaRPr lang="ru-RU" altLang="ru-RU" sz="1100" b="1" dirty="0" smtClean="0">
              <a:solidFill>
                <a:srgbClr val="595959"/>
              </a:solidFill>
              <a:ea typeface="Calibri" pitchFamily="34" charset="0"/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Құн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– </a:t>
            </a:r>
            <a:r>
              <a:rPr lang="ru-RU" altLang="ru-RU" sz="1100" b="1" dirty="0" smtClean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29 </a:t>
            </a:r>
            <a:r>
              <a:rPr lang="ru-RU" altLang="ru-RU" sz="1100" b="1" dirty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rgbClr val="002060"/>
              </a:solidFill>
              <a:cs typeface="Arial" pitchFamily="34" charset="0"/>
            </a:endParaRPr>
          </a:p>
        </p:txBody>
      </p:sp>
      <p:cxnSp>
        <p:nvCxnSpPr>
          <p:cNvPr id="298" name="Прямая со стрелкой 297"/>
          <p:cNvCxnSpPr>
            <a:stCxn id="297" idx="2"/>
            <a:endCxn id="277" idx="1"/>
          </p:cNvCxnSpPr>
          <p:nvPr/>
        </p:nvCxnSpPr>
        <p:spPr>
          <a:xfrm flipH="1">
            <a:off x="7004890" y="3502061"/>
            <a:ext cx="744880" cy="1292544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Скругленный прямоугольник 298"/>
          <p:cNvSpPr/>
          <p:nvPr/>
        </p:nvSpPr>
        <p:spPr bwMode="auto">
          <a:xfrm>
            <a:off x="2422910" y="2722551"/>
            <a:ext cx="2596411" cy="69914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hangingPunct="0">
              <a:defRPr/>
            </a:pP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Қарағанды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-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Балқаш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– 363 км </a:t>
            </a:r>
          </a:p>
          <a:p>
            <a:pPr algn="just" eaLnBrk="0" hangingPunct="0">
              <a:defRPr/>
            </a:pP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Іске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асыру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уақыт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: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2018-2022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жылдар</a:t>
            </a:r>
            <a:endParaRPr lang="ru-RU" altLang="ru-RU" sz="1100" b="1" dirty="0" smtClean="0">
              <a:solidFill>
                <a:srgbClr val="595959"/>
              </a:solidFill>
              <a:ea typeface="Calibri" pitchFamily="34" charset="0"/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аржыландыру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ЭксИм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Банк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займдары</a:t>
            </a:r>
            <a:endParaRPr lang="ru-RU" altLang="ru-RU" sz="1100" b="1" dirty="0" smtClean="0">
              <a:solidFill>
                <a:srgbClr val="595959"/>
              </a:solidFill>
              <a:ea typeface="Calibri" pitchFamily="34" charset="0"/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Құн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– </a:t>
            </a:r>
            <a:r>
              <a:rPr lang="ru-RU" altLang="ru-RU" sz="1100" b="1" dirty="0" smtClean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243 млрд. </a:t>
            </a:r>
            <a:r>
              <a:rPr lang="ru-RU" altLang="ru-RU" sz="1100" b="1" dirty="0" err="1" smtClean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теңге</a:t>
            </a:r>
            <a:endParaRPr lang="ru-RU" altLang="ru-RU" sz="1100" b="1" dirty="0" smtClean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300" name="Скругленный прямоугольник 299"/>
          <p:cNvSpPr/>
          <p:nvPr/>
        </p:nvSpPr>
        <p:spPr bwMode="auto">
          <a:xfrm>
            <a:off x="2859369" y="3642045"/>
            <a:ext cx="2657529" cy="81275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hangingPunct="0">
              <a:defRPr/>
            </a:pP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Балқаш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-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Бұрылбайтал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– 297 км </a:t>
            </a:r>
          </a:p>
          <a:p>
            <a:pPr algn="just" eaLnBrk="0" hangingPunct="0">
              <a:defRPr/>
            </a:pP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Іске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асыру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уақыт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: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2018-2022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жылдар</a:t>
            </a:r>
            <a:endParaRPr lang="ru-RU" altLang="ru-RU" sz="1100" b="1" dirty="0" smtClean="0">
              <a:solidFill>
                <a:srgbClr val="595959"/>
              </a:solidFill>
              <a:ea typeface="Calibri" pitchFamily="34" charset="0"/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аржыландыру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ДБ </a:t>
            </a:r>
            <a:r>
              <a:rPr lang="ru-RU" altLang="ru-RU" sz="1100" b="1" dirty="0" err="1">
                <a:solidFill>
                  <a:srgbClr val="002060"/>
                </a:solidFill>
                <a:cs typeface="Arial" pitchFamily="34" charset="0"/>
              </a:rPr>
              <a:t>займдары</a:t>
            </a:r>
            <a:endParaRPr lang="ru-RU" altLang="ru-RU" sz="1100" b="1" dirty="0" smtClean="0">
              <a:solidFill>
                <a:srgbClr val="595959"/>
              </a:solidFill>
              <a:ea typeface="Calibri" pitchFamily="34" charset="0"/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Құн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– </a:t>
            </a:r>
            <a:r>
              <a:rPr lang="ru-RU" altLang="ru-RU" sz="1100" b="1" dirty="0" smtClean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154 </a:t>
            </a:r>
            <a:r>
              <a:rPr lang="ru-RU" altLang="ru-RU" sz="1100" b="1" dirty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rgbClr val="002060"/>
              </a:solidFill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2018 </a:t>
            </a:r>
            <a:r>
              <a:rPr lang="ru-RU" altLang="ru-RU" sz="1100" b="1" dirty="0" err="1">
                <a:solidFill>
                  <a:srgbClr val="595959"/>
                </a:solidFill>
                <a:ea typeface="MS PGothic"/>
                <a:cs typeface="Arial" pitchFamily="34" charset="0"/>
              </a:rPr>
              <a:t>жылға</a:t>
            </a:r>
            <a:r>
              <a:rPr lang="ru-RU" altLang="ru-RU" sz="1100" b="1" dirty="0">
                <a:solidFill>
                  <a:srgbClr val="595959"/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жоспар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24,3 </a:t>
            </a:r>
            <a:r>
              <a:rPr lang="ru-RU" altLang="ru-RU" sz="1100" b="1" dirty="0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rgbClr val="002060"/>
                </a:solidFill>
                <a:ea typeface="Calibri" pitchFamily="34" charset="0"/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rgbClr val="002060"/>
              </a:solidFill>
              <a:cs typeface="Arial" pitchFamily="34" charset="0"/>
            </a:endParaRPr>
          </a:p>
        </p:txBody>
      </p:sp>
      <p:cxnSp>
        <p:nvCxnSpPr>
          <p:cNvPr id="301" name="Прямая со стрелкой 300"/>
          <p:cNvCxnSpPr>
            <a:stCxn id="299" idx="3"/>
            <a:endCxn id="291" idx="17"/>
          </p:cNvCxnSpPr>
          <p:nvPr/>
        </p:nvCxnSpPr>
        <p:spPr>
          <a:xfrm>
            <a:off x="5019321" y="3072125"/>
            <a:ext cx="1117954" cy="368975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Прямая со стрелкой 301"/>
          <p:cNvCxnSpPr>
            <a:stCxn id="300" idx="3"/>
            <a:endCxn id="231" idx="8"/>
          </p:cNvCxnSpPr>
          <p:nvPr/>
        </p:nvCxnSpPr>
        <p:spPr>
          <a:xfrm>
            <a:off x="5516898" y="4048422"/>
            <a:ext cx="637494" cy="198209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Прямая со стрелкой 302"/>
          <p:cNvCxnSpPr>
            <a:stCxn id="294" idx="2"/>
            <a:endCxn id="154" idx="1"/>
          </p:cNvCxnSpPr>
          <p:nvPr/>
        </p:nvCxnSpPr>
        <p:spPr>
          <a:xfrm flipH="1">
            <a:off x="5969000" y="1735071"/>
            <a:ext cx="1560969" cy="1201804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4" name="Rectangle 44"/>
          <p:cNvSpPr>
            <a:spLocks noChangeArrowheads="1"/>
          </p:cNvSpPr>
          <p:nvPr/>
        </p:nvSpPr>
        <p:spPr bwMode="auto">
          <a:xfrm>
            <a:off x="7010414" y="5786454"/>
            <a:ext cx="2124074" cy="10001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87782" tIns="144000" rIns="87782" bIns="43891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452438" indent="-1270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100" b="1" dirty="0" err="1">
                <a:latin typeface="+mn-lt"/>
                <a:cs typeface="Arial" pitchFamily="34" charset="0"/>
              </a:rPr>
              <a:t>Шартты</a:t>
            </a:r>
            <a:r>
              <a:rPr lang="ru-RU" altLang="ru-RU" sz="1100" b="1" dirty="0">
                <a:latin typeface="+mn-lt"/>
                <a:cs typeface="Arial" pitchFamily="34" charset="0"/>
              </a:rPr>
              <a:t> </a:t>
            </a:r>
            <a:r>
              <a:rPr lang="ru-RU" altLang="ru-RU" sz="1100" b="1" dirty="0" err="1">
                <a:latin typeface="+mn-lt"/>
                <a:cs typeface="Arial" pitchFamily="34" charset="0"/>
              </a:rPr>
              <a:t>белгілер</a:t>
            </a:r>
            <a:endParaRPr lang="ru-RU" altLang="ru-RU" sz="1100" b="1" dirty="0">
              <a:latin typeface="+mn-lt"/>
              <a:cs typeface="Arial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201</a:t>
            </a:r>
            <a:r>
              <a:rPr lang="en-US" altLang="ru-RU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8</a:t>
            </a:r>
            <a:r>
              <a:rPr lang="ru-RU" altLang="ru-RU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 </a:t>
            </a:r>
            <a:r>
              <a:rPr lang="ru-RU" altLang="ru-RU" sz="105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жылға</a:t>
            </a:r>
            <a:r>
              <a:rPr lang="ru-RU" altLang="ru-RU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 </a:t>
            </a:r>
            <a:r>
              <a:rPr lang="ru-RU" altLang="ru-RU" sz="105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дейін</a:t>
            </a:r>
            <a:r>
              <a:rPr lang="ru-RU" altLang="ru-RU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 </a:t>
            </a:r>
            <a:r>
              <a:rPr lang="ru-RU" altLang="ru-RU" sz="105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аяқталған</a:t>
            </a:r>
            <a:endParaRPr lang="ru-RU" altLang="ru-RU" sz="105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kk-KZ" altLang="ru-RU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Іске асыру жүргізілуде</a:t>
            </a:r>
            <a:endParaRPr lang="ru-RU" altLang="ru-RU" sz="105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Басталуы</a:t>
            </a:r>
            <a:r>
              <a:rPr lang="ru-RU" altLang="ru-RU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 2017-2018 </a:t>
            </a:r>
            <a:r>
              <a:rPr lang="ru-RU" altLang="ru-RU" sz="105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жылдар</a:t>
            </a:r>
            <a:r>
              <a:rPr lang="ru-RU" altLang="ru-RU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  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Балсталуы</a:t>
            </a:r>
            <a:r>
              <a:rPr lang="ru-RU" altLang="ru-RU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 2020 </a:t>
            </a:r>
            <a:r>
              <a:rPr lang="ru-RU" altLang="ru-RU" sz="105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жылдан</a:t>
            </a:r>
            <a:r>
              <a:rPr lang="ru-RU" altLang="ru-RU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        </a:t>
            </a:r>
            <a:endParaRPr lang="ru-RU" altLang="ru-RU" sz="105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305" name="Line 45"/>
          <p:cNvSpPr>
            <a:spLocks noChangeShapeType="1"/>
          </p:cNvSpPr>
          <p:nvPr/>
        </p:nvSpPr>
        <p:spPr bwMode="auto">
          <a:xfrm>
            <a:off x="6429036" y="6351550"/>
            <a:ext cx="574109" cy="0"/>
          </a:xfrm>
          <a:prstGeom prst="line">
            <a:avLst/>
          </a:prstGeom>
          <a:noFill/>
          <a:ln w="63500">
            <a:solidFill>
              <a:srgbClr val="0070C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06" name="Line 45"/>
          <p:cNvSpPr>
            <a:spLocks noChangeShapeType="1"/>
          </p:cNvSpPr>
          <p:nvPr/>
        </p:nvSpPr>
        <p:spPr bwMode="auto">
          <a:xfrm>
            <a:off x="6434029" y="6538051"/>
            <a:ext cx="574109" cy="0"/>
          </a:xfrm>
          <a:prstGeom prst="line">
            <a:avLst/>
          </a:prstGeom>
          <a:noFill/>
          <a:ln w="63500">
            <a:solidFill>
              <a:srgbClr val="7030A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07" name="Line 45"/>
          <p:cNvSpPr>
            <a:spLocks noChangeShapeType="1"/>
          </p:cNvSpPr>
          <p:nvPr/>
        </p:nvSpPr>
        <p:spPr bwMode="auto">
          <a:xfrm>
            <a:off x="6438913" y="6709501"/>
            <a:ext cx="574109" cy="0"/>
          </a:xfrm>
          <a:prstGeom prst="line">
            <a:avLst/>
          </a:prstGeom>
          <a:noFill/>
          <a:ln w="63500">
            <a:solidFill>
              <a:srgbClr val="C0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08" name="Line 45"/>
          <p:cNvSpPr>
            <a:spLocks noChangeShapeType="1"/>
          </p:cNvSpPr>
          <p:nvPr/>
        </p:nvSpPr>
        <p:spPr bwMode="auto">
          <a:xfrm>
            <a:off x="6426128" y="6165304"/>
            <a:ext cx="574109" cy="0"/>
          </a:xfrm>
          <a:prstGeom prst="line">
            <a:avLst/>
          </a:prstGeom>
          <a:noFill/>
          <a:ln w="63500">
            <a:solidFill>
              <a:srgbClr val="00B05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09" name="Номер слайда 14"/>
          <p:cNvSpPr>
            <a:spLocks noGrp="1"/>
          </p:cNvSpPr>
          <p:nvPr>
            <p:ph type="sldNum" sz="quarter" idx="10"/>
          </p:nvPr>
        </p:nvSpPr>
        <p:spPr>
          <a:xfrm>
            <a:off x="8631807" y="6520259"/>
            <a:ext cx="620713" cy="365125"/>
          </a:xfrm>
        </p:spPr>
        <p:txBody>
          <a:bodyPr/>
          <a:lstStyle/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  <a:latin typeface="Impact" pitchFamily="34" charset="0"/>
              </a:rPr>
              <a:t>3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  <p:sp>
        <p:nvSpPr>
          <p:cNvPr id="310" name="Пятиугольник 309"/>
          <p:cNvSpPr/>
          <p:nvPr/>
        </p:nvSpPr>
        <p:spPr>
          <a:xfrm>
            <a:off x="151469" y="874427"/>
            <a:ext cx="3709077" cy="771626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r>
              <a:rPr lang="en-US" altLang="ru-RU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       </a:t>
            </a:r>
            <a:r>
              <a:rPr lang="ru-RU" altLang="ru-RU" sz="1200" b="1" dirty="0" err="1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Жобаның</a:t>
            </a: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ru-RU" altLang="ru-RU" sz="1200" b="1" dirty="0" err="1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басты</a:t>
            </a: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ru-RU" altLang="ru-RU" sz="1200" b="1" dirty="0" err="1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көрсеткіштері</a:t>
            </a:r>
            <a:endParaRPr lang="ru-RU" altLang="ru-RU" sz="12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r>
              <a:rPr lang="ru-RU" sz="12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ұны</a:t>
            </a:r>
            <a:r>
              <a:rPr lang="ru-RU" sz="12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 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ea typeface="Calibri" pitchFamily="34" charset="0"/>
                <a:cs typeface="Arial" pitchFamily="34" charset="0"/>
              </a:rPr>
              <a:t>749 млрд. </a:t>
            </a:r>
            <a:r>
              <a:rPr lang="ru-RU" sz="1200" b="1" dirty="0" err="1" smtClean="0">
                <a:solidFill>
                  <a:schemeClr val="tx2">
                    <a:lumMod val="75000"/>
                  </a:schemeClr>
                </a:solidFill>
                <a:ea typeface="Calibri" pitchFamily="34" charset="0"/>
                <a:cs typeface="Arial" pitchFamily="34" charset="0"/>
              </a:rPr>
              <a:t>теңге</a:t>
            </a:r>
            <a:endParaRPr lang="ru-RU" altLang="ru-RU" sz="12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r>
              <a:rPr lang="ru-RU" altLang="ru-RU" sz="12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айнар</a:t>
            </a:r>
            <a:r>
              <a:rPr lang="ru-RU" altLang="ru-RU" sz="12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2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көзі</a:t>
            </a:r>
            <a:r>
              <a:rPr lang="ru-RU" altLang="ru-RU" sz="12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2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– </a:t>
            </a: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РБ, ДБ, ЕРДБ, ХРДБ </a:t>
            </a:r>
            <a:r>
              <a:rPr lang="ru-RU" altLang="ru-RU" sz="1200" b="1" dirty="0" err="1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займдары</a:t>
            </a:r>
            <a:endParaRPr lang="ru-RU" altLang="ru-RU" sz="1200" b="1" dirty="0" smtClean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r>
              <a:rPr lang="ru-RU" altLang="ru-RU" sz="12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Ұзақтығы</a:t>
            </a:r>
            <a:r>
              <a:rPr lang="ru-RU" altLang="ru-RU" sz="12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 </a:t>
            </a:r>
            <a:r>
              <a:rPr lang="ru-RU" altLang="ru-RU" sz="1200" b="1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1 </a:t>
            </a: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291 км</a:t>
            </a:r>
            <a:endParaRPr lang="ru-RU" altLang="ru-RU" sz="12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r>
              <a:rPr lang="ru-RU" altLang="ru-RU" sz="12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Іске</a:t>
            </a:r>
            <a:r>
              <a:rPr lang="ru-RU" altLang="ru-RU" sz="12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2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асыру</a:t>
            </a:r>
            <a:r>
              <a:rPr lang="ru-RU" altLang="ru-RU" sz="12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2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уақыты</a:t>
            </a:r>
            <a:r>
              <a:rPr lang="ru-RU" altLang="ru-RU" sz="12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</a:t>
            </a:r>
            <a:r>
              <a:rPr lang="ru-RU" altLang="ru-RU" sz="1200" b="1" dirty="0" smtClean="0">
                <a:solidFill>
                  <a:srgbClr val="008000"/>
                </a:solidFill>
                <a:cs typeface="Arial" pitchFamily="34" charset="0"/>
              </a:rPr>
              <a:t> </a:t>
            </a: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2013-2021 годы</a:t>
            </a:r>
          </a:p>
          <a:p>
            <a:r>
              <a:rPr lang="ru-RU" altLang="ru-RU" sz="12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2018 </a:t>
            </a:r>
            <a:r>
              <a:rPr lang="ru-RU" altLang="ru-RU" sz="12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жылғы</a:t>
            </a:r>
            <a:r>
              <a:rPr lang="ru-RU" altLang="ru-RU" sz="12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бюджет</a:t>
            </a:r>
            <a:r>
              <a:rPr lang="ru-RU" altLang="ru-RU" sz="1200" b="1" dirty="0">
                <a:solidFill>
                  <a:srgbClr val="008000"/>
                </a:solidFill>
                <a:cs typeface="Arial" pitchFamily="34" charset="0"/>
              </a:rPr>
              <a:t> </a:t>
            </a:r>
            <a:r>
              <a:rPr lang="ru-RU" alt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–</a:t>
            </a:r>
            <a:r>
              <a:rPr lang="ru-RU" altLang="ru-RU" sz="1200" b="1" dirty="0" smtClean="0">
                <a:solidFill>
                  <a:srgbClr val="008000"/>
                </a:solidFill>
                <a:cs typeface="Arial" pitchFamily="34" charset="0"/>
              </a:rPr>
              <a:t> </a:t>
            </a:r>
            <a:r>
              <a:rPr lang="ru-RU" altLang="ru-RU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42,9 </a:t>
            </a:r>
            <a:r>
              <a:rPr lang="ru-RU" altLang="ru-RU" sz="1200" b="1" dirty="0" err="1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млрд.теңге</a:t>
            </a:r>
            <a:endParaRPr lang="ru-RU" altLang="ru-RU" sz="1200" b="1" dirty="0" smtClean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</p:txBody>
      </p:sp>
      <p:sp>
        <p:nvSpPr>
          <p:cNvPr id="311" name="Заголовок 5"/>
          <p:cNvSpPr txBox="1">
            <a:spLocks/>
          </p:cNvSpPr>
          <p:nvPr/>
        </p:nvSpPr>
        <p:spPr bwMode="auto">
          <a:xfrm>
            <a:off x="123059" y="126098"/>
            <a:ext cx="3149445" cy="338137"/>
          </a:xfrm>
          <a:prstGeom prst="roundRect">
            <a:avLst>
              <a:gd name="adj" fmla="val 8800"/>
            </a:avLst>
          </a:prstGeom>
          <a:solidFill>
            <a:schemeClr val="bg1"/>
          </a:solidFill>
        </p:spPr>
        <p:txBody>
          <a:bodyPr anchor="ctr">
            <a:noAutofit/>
          </a:bodyPr>
          <a:lstStyle/>
          <a:p>
            <a:pPr algn="ctr" eaLnBrk="0" hangingPunct="0">
              <a:defRPr/>
            </a:pPr>
            <a:r>
              <a:rPr lang="kk-KZ" sz="2400" b="1" dirty="0" smtClean="0">
                <a:cs typeface="Arial" pitchFamily="34" charset="0"/>
              </a:rPr>
              <a:t>Орталық</a:t>
            </a:r>
            <a:r>
              <a:rPr lang="ru-RU" sz="2400" b="1" dirty="0" smtClean="0">
                <a:cs typeface="Arial" pitchFamily="34" charset="0"/>
              </a:rPr>
              <a:t>- </a:t>
            </a:r>
            <a:r>
              <a:rPr lang="ru-RU" sz="2400" b="1" dirty="0" err="1" smtClean="0">
                <a:cs typeface="Arial" pitchFamily="34" charset="0"/>
              </a:rPr>
              <a:t>Оңтүстік</a:t>
            </a:r>
            <a:endParaRPr lang="ru-RU" sz="2400" b="1" dirty="0">
              <a:cs typeface="Arial" pitchFamily="34" charset="0"/>
            </a:endParaRPr>
          </a:p>
        </p:txBody>
      </p:sp>
      <p:sp>
        <p:nvSpPr>
          <p:cNvPr id="312" name="AutoShape 19"/>
          <p:cNvSpPr>
            <a:spLocks noChangeArrowheads="1"/>
          </p:cNvSpPr>
          <p:nvPr/>
        </p:nvSpPr>
        <p:spPr bwMode="auto">
          <a:xfrm>
            <a:off x="7177502" y="5034554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лматы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313" name="AutoShape 19"/>
          <p:cNvSpPr>
            <a:spLocks noChangeArrowheads="1"/>
          </p:cNvSpPr>
          <p:nvPr/>
        </p:nvSpPr>
        <p:spPr bwMode="auto">
          <a:xfrm>
            <a:off x="7141533" y="4760352"/>
            <a:ext cx="436225" cy="120187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kk-KZ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апшагай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pic>
        <p:nvPicPr>
          <p:cNvPr id="61" name="Picture 69" descr="E:\! WORK\For prezentations\Build\highway_construction_25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21638" y="5762023"/>
            <a:ext cx="108108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34887" y="5557175"/>
            <a:ext cx="540000" cy="5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639338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" y="620688"/>
            <a:ext cx="9144000" cy="5641277"/>
          </a:xfrm>
          <a:prstGeom prst="rect">
            <a:avLst/>
          </a:prstGeom>
          <a:ln w="6350">
            <a:solidFill>
              <a:schemeClr val="bg1"/>
            </a:solidFill>
            <a:prstDash val="dash"/>
          </a:ln>
        </p:spPr>
      </p:pic>
      <p:sp>
        <p:nvSpPr>
          <p:cNvPr id="61" name="Полилиния 60"/>
          <p:cNvSpPr/>
          <p:nvPr/>
        </p:nvSpPr>
        <p:spPr>
          <a:xfrm>
            <a:off x="7819027" y="2588523"/>
            <a:ext cx="170597" cy="266131"/>
          </a:xfrm>
          <a:custGeom>
            <a:avLst/>
            <a:gdLst>
              <a:gd name="connsiteX0" fmla="*/ 170597 w 170597"/>
              <a:gd name="connsiteY0" fmla="*/ 0 h 266131"/>
              <a:gd name="connsiteX1" fmla="*/ 116006 w 170597"/>
              <a:gd name="connsiteY1" fmla="*/ 81886 h 266131"/>
              <a:gd name="connsiteX2" fmla="*/ 71651 w 170597"/>
              <a:gd name="connsiteY2" fmla="*/ 126241 h 266131"/>
              <a:gd name="connsiteX3" fmla="*/ 51179 w 170597"/>
              <a:gd name="connsiteY3" fmla="*/ 153537 h 266131"/>
              <a:gd name="connsiteX4" fmla="*/ 47767 w 170597"/>
              <a:gd name="connsiteY4" fmla="*/ 201304 h 266131"/>
              <a:gd name="connsiteX5" fmla="*/ 40944 w 170597"/>
              <a:gd name="connsiteY5" fmla="*/ 228600 h 266131"/>
              <a:gd name="connsiteX6" fmla="*/ 13648 w 170597"/>
              <a:gd name="connsiteY6" fmla="*/ 259307 h 266131"/>
              <a:gd name="connsiteX7" fmla="*/ 0 w 170597"/>
              <a:gd name="connsiteY7" fmla="*/ 266131 h 266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597" h="266131">
                <a:moveTo>
                  <a:pt x="170597" y="0"/>
                </a:moveTo>
                <a:cubicBezTo>
                  <a:pt x="151547" y="30423"/>
                  <a:pt x="132497" y="60846"/>
                  <a:pt x="116006" y="81886"/>
                </a:cubicBezTo>
                <a:cubicBezTo>
                  <a:pt x="99515" y="102926"/>
                  <a:pt x="82455" y="114299"/>
                  <a:pt x="71651" y="126241"/>
                </a:cubicBezTo>
                <a:cubicBezTo>
                  <a:pt x="60846" y="138183"/>
                  <a:pt x="55160" y="141027"/>
                  <a:pt x="51179" y="153537"/>
                </a:cubicBezTo>
                <a:cubicBezTo>
                  <a:pt x="47198" y="166047"/>
                  <a:pt x="49473" y="188794"/>
                  <a:pt x="47767" y="201304"/>
                </a:cubicBezTo>
                <a:cubicBezTo>
                  <a:pt x="46061" y="213815"/>
                  <a:pt x="46630" y="218933"/>
                  <a:pt x="40944" y="228600"/>
                </a:cubicBezTo>
                <a:cubicBezTo>
                  <a:pt x="35258" y="238267"/>
                  <a:pt x="20472" y="253052"/>
                  <a:pt x="13648" y="259307"/>
                </a:cubicBezTo>
                <a:cubicBezTo>
                  <a:pt x="6824" y="265562"/>
                  <a:pt x="3412" y="265846"/>
                  <a:pt x="0" y="266131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Полилиния 119"/>
          <p:cNvSpPr/>
          <p:nvPr/>
        </p:nvSpPr>
        <p:spPr>
          <a:xfrm>
            <a:off x="7335078" y="2492734"/>
            <a:ext cx="485030" cy="357809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Полилиния 120"/>
          <p:cNvSpPr/>
          <p:nvPr/>
        </p:nvSpPr>
        <p:spPr>
          <a:xfrm>
            <a:off x="7332427" y="2490081"/>
            <a:ext cx="485030" cy="357809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Полилиния 130"/>
          <p:cNvSpPr/>
          <p:nvPr/>
        </p:nvSpPr>
        <p:spPr>
          <a:xfrm>
            <a:off x="6663937" y="2052466"/>
            <a:ext cx="72362" cy="88809"/>
          </a:xfrm>
          <a:custGeom>
            <a:avLst/>
            <a:gdLst>
              <a:gd name="connsiteX0" fmla="*/ 0 w 72362"/>
              <a:gd name="connsiteY0" fmla="*/ 0 h 88809"/>
              <a:gd name="connsiteX1" fmla="*/ 29603 w 72362"/>
              <a:gd name="connsiteY1" fmla="*/ 42760 h 88809"/>
              <a:gd name="connsiteX2" fmla="*/ 52627 w 72362"/>
              <a:gd name="connsiteY2" fmla="*/ 69074 h 88809"/>
              <a:gd name="connsiteX3" fmla="*/ 72362 w 72362"/>
              <a:gd name="connsiteY3" fmla="*/ 88809 h 88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62" h="88809">
                <a:moveTo>
                  <a:pt x="0" y="0"/>
                </a:moveTo>
                <a:cubicBezTo>
                  <a:pt x="10416" y="15624"/>
                  <a:pt x="20832" y="31248"/>
                  <a:pt x="29603" y="42760"/>
                </a:cubicBezTo>
                <a:cubicBezTo>
                  <a:pt x="38374" y="54272"/>
                  <a:pt x="45500" y="61399"/>
                  <a:pt x="52627" y="69074"/>
                </a:cubicBezTo>
                <a:cubicBezTo>
                  <a:pt x="59754" y="76749"/>
                  <a:pt x="66058" y="82779"/>
                  <a:pt x="72362" y="88809"/>
                </a:cubicBezTo>
              </a:path>
            </a:pathLst>
          </a:custGeom>
          <a:noFill/>
          <a:ln w="76200">
            <a:solidFill>
              <a:srgbClr val="33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Полилиния 131"/>
          <p:cNvSpPr/>
          <p:nvPr/>
        </p:nvSpPr>
        <p:spPr>
          <a:xfrm>
            <a:off x="6670517" y="2062368"/>
            <a:ext cx="72362" cy="88809"/>
          </a:xfrm>
          <a:custGeom>
            <a:avLst/>
            <a:gdLst>
              <a:gd name="connsiteX0" fmla="*/ 0 w 72362"/>
              <a:gd name="connsiteY0" fmla="*/ 0 h 88809"/>
              <a:gd name="connsiteX1" fmla="*/ 29603 w 72362"/>
              <a:gd name="connsiteY1" fmla="*/ 42760 h 88809"/>
              <a:gd name="connsiteX2" fmla="*/ 52627 w 72362"/>
              <a:gd name="connsiteY2" fmla="*/ 69074 h 88809"/>
              <a:gd name="connsiteX3" fmla="*/ 72362 w 72362"/>
              <a:gd name="connsiteY3" fmla="*/ 88809 h 88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62" h="88809">
                <a:moveTo>
                  <a:pt x="0" y="0"/>
                </a:moveTo>
                <a:cubicBezTo>
                  <a:pt x="10416" y="15624"/>
                  <a:pt x="20832" y="31248"/>
                  <a:pt x="29603" y="42760"/>
                </a:cubicBezTo>
                <a:cubicBezTo>
                  <a:pt x="38374" y="54272"/>
                  <a:pt x="45500" y="61399"/>
                  <a:pt x="52627" y="69074"/>
                </a:cubicBezTo>
                <a:cubicBezTo>
                  <a:pt x="59754" y="76749"/>
                  <a:pt x="66058" y="82779"/>
                  <a:pt x="72362" y="88809"/>
                </a:cubicBezTo>
              </a:path>
            </a:pathLst>
          </a:custGeom>
          <a:noFill/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Полилиния 132"/>
          <p:cNvSpPr/>
          <p:nvPr/>
        </p:nvSpPr>
        <p:spPr>
          <a:xfrm>
            <a:off x="6733010" y="2134696"/>
            <a:ext cx="374970" cy="197353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7620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Полилиния 133"/>
          <p:cNvSpPr/>
          <p:nvPr/>
        </p:nvSpPr>
        <p:spPr>
          <a:xfrm>
            <a:off x="6733010" y="2134696"/>
            <a:ext cx="374970" cy="197353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Полилиния 134"/>
          <p:cNvSpPr/>
          <p:nvPr/>
        </p:nvSpPr>
        <p:spPr>
          <a:xfrm>
            <a:off x="7098112" y="2325470"/>
            <a:ext cx="243401" cy="167750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solidFill>
            <a:srgbClr val="3333FF"/>
          </a:solidFill>
          <a:ln w="76200">
            <a:solidFill>
              <a:srgbClr val="33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Полилиния 135"/>
          <p:cNvSpPr/>
          <p:nvPr/>
        </p:nvSpPr>
        <p:spPr>
          <a:xfrm>
            <a:off x="7098112" y="2324741"/>
            <a:ext cx="243401" cy="167750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noFill/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олилиния 136"/>
          <p:cNvSpPr/>
          <p:nvPr/>
        </p:nvSpPr>
        <p:spPr>
          <a:xfrm>
            <a:off x="6543675" y="2044700"/>
            <a:ext cx="82550" cy="92075"/>
          </a:xfrm>
          <a:custGeom>
            <a:avLst/>
            <a:gdLst>
              <a:gd name="connsiteX0" fmla="*/ 82550 w 82550"/>
              <a:gd name="connsiteY0" fmla="*/ 0 h 92075"/>
              <a:gd name="connsiteX1" fmla="*/ 22225 w 82550"/>
              <a:gd name="connsiteY1" fmla="*/ 73025 h 92075"/>
              <a:gd name="connsiteX2" fmla="*/ 6350 w 82550"/>
              <a:gd name="connsiteY2" fmla="*/ 82550 h 92075"/>
              <a:gd name="connsiteX3" fmla="*/ 0 w 82550"/>
              <a:gd name="connsiteY3" fmla="*/ 92075 h 9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92075">
                <a:moveTo>
                  <a:pt x="82550" y="0"/>
                </a:moveTo>
                <a:cubicBezTo>
                  <a:pt x="58737" y="29633"/>
                  <a:pt x="34925" y="59267"/>
                  <a:pt x="22225" y="73025"/>
                </a:cubicBezTo>
                <a:cubicBezTo>
                  <a:pt x="9525" y="86783"/>
                  <a:pt x="6350" y="82550"/>
                  <a:pt x="6350" y="82550"/>
                </a:cubicBezTo>
                <a:cubicBezTo>
                  <a:pt x="2646" y="85725"/>
                  <a:pt x="1323" y="88900"/>
                  <a:pt x="0" y="92075"/>
                </a:cubicBezTo>
              </a:path>
            </a:pathLst>
          </a:cu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8" name="Полилиния 137"/>
          <p:cNvSpPr/>
          <p:nvPr/>
        </p:nvSpPr>
        <p:spPr>
          <a:xfrm>
            <a:off x="6540500" y="2041522"/>
            <a:ext cx="82550" cy="92075"/>
          </a:xfrm>
          <a:custGeom>
            <a:avLst/>
            <a:gdLst>
              <a:gd name="connsiteX0" fmla="*/ 82550 w 82550"/>
              <a:gd name="connsiteY0" fmla="*/ 0 h 92075"/>
              <a:gd name="connsiteX1" fmla="*/ 22225 w 82550"/>
              <a:gd name="connsiteY1" fmla="*/ 73025 h 92075"/>
              <a:gd name="connsiteX2" fmla="*/ 6350 w 82550"/>
              <a:gd name="connsiteY2" fmla="*/ 82550 h 92075"/>
              <a:gd name="connsiteX3" fmla="*/ 0 w 82550"/>
              <a:gd name="connsiteY3" fmla="*/ 92075 h 9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92075">
                <a:moveTo>
                  <a:pt x="82550" y="0"/>
                </a:moveTo>
                <a:cubicBezTo>
                  <a:pt x="58737" y="29633"/>
                  <a:pt x="34925" y="59267"/>
                  <a:pt x="22225" y="73025"/>
                </a:cubicBezTo>
                <a:cubicBezTo>
                  <a:pt x="9525" y="86783"/>
                  <a:pt x="6350" y="82550"/>
                  <a:pt x="6350" y="82550"/>
                </a:cubicBezTo>
                <a:cubicBezTo>
                  <a:pt x="2646" y="85725"/>
                  <a:pt x="1323" y="88900"/>
                  <a:pt x="0" y="92075"/>
                </a:cubicBezTo>
              </a:path>
            </a:pathLst>
          </a:custGeom>
          <a:noFill/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Полилиния 138"/>
          <p:cNvSpPr/>
          <p:nvPr/>
        </p:nvSpPr>
        <p:spPr>
          <a:xfrm>
            <a:off x="6061075" y="2129631"/>
            <a:ext cx="488950" cy="206375"/>
          </a:xfrm>
          <a:custGeom>
            <a:avLst/>
            <a:gdLst>
              <a:gd name="connsiteX0" fmla="*/ 488950 w 488950"/>
              <a:gd name="connsiteY0" fmla="*/ 0 h 206375"/>
              <a:gd name="connsiteX1" fmla="*/ 425450 w 488950"/>
              <a:gd name="connsiteY1" fmla="*/ 60325 h 206375"/>
              <a:gd name="connsiteX2" fmla="*/ 396875 w 488950"/>
              <a:gd name="connsiteY2" fmla="*/ 82550 h 206375"/>
              <a:gd name="connsiteX3" fmla="*/ 355600 w 488950"/>
              <a:gd name="connsiteY3" fmla="*/ 101600 h 206375"/>
              <a:gd name="connsiteX4" fmla="*/ 307975 w 488950"/>
              <a:gd name="connsiteY4" fmla="*/ 127000 h 206375"/>
              <a:gd name="connsiteX5" fmla="*/ 260350 w 488950"/>
              <a:gd name="connsiteY5" fmla="*/ 152400 h 206375"/>
              <a:gd name="connsiteX6" fmla="*/ 212725 w 488950"/>
              <a:gd name="connsiteY6" fmla="*/ 165100 h 206375"/>
              <a:gd name="connsiteX7" fmla="*/ 161925 w 488950"/>
              <a:gd name="connsiteY7" fmla="*/ 174625 h 206375"/>
              <a:gd name="connsiteX8" fmla="*/ 127000 w 488950"/>
              <a:gd name="connsiteY8" fmla="*/ 174625 h 206375"/>
              <a:gd name="connsiteX9" fmla="*/ 95250 w 488950"/>
              <a:gd name="connsiteY9" fmla="*/ 168275 h 206375"/>
              <a:gd name="connsiteX10" fmla="*/ 73025 w 488950"/>
              <a:gd name="connsiteY10" fmla="*/ 174625 h 206375"/>
              <a:gd name="connsiteX11" fmla="*/ 57150 w 488950"/>
              <a:gd name="connsiteY11" fmla="*/ 187325 h 206375"/>
              <a:gd name="connsiteX12" fmla="*/ 22225 w 488950"/>
              <a:gd name="connsiteY12" fmla="*/ 200025 h 206375"/>
              <a:gd name="connsiteX13" fmla="*/ 0 w 488950"/>
              <a:gd name="connsiteY13" fmla="*/ 206375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88950" h="206375">
                <a:moveTo>
                  <a:pt x="488950" y="0"/>
                </a:moveTo>
                <a:cubicBezTo>
                  <a:pt x="464873" y="23283"/>
                  <a:pt x="440796" y="46567"/>
                  <a:pt x="425450" y="60325"/>
                </a:cubicBezTo>
                <a:cubicBezTo>
                  <a:pt x="410104" y="74083"/>
                  <a:pt x="408517" y="75671"/>
                  <a:pt x="396875" y="82550"/>
                </a:cubicBezTo>
                <a:cubicBezTo>
                  <a:pt x="385233" y="89429"/>
                  <a:pt x="370417" y="94192"/>
                  <a:pt x="355600" y="101600"/>
                </a:cubicBezTo>
                <a:cubicBezTo>
                  <a:pt x="340783" y="109008"/>
                  <a:pt x="307975" y="127000"/>
                  <a:pt x="307975" y="127000"/>
                </a:cubicBezTo>
                <a:cubicBezTo>
                  <a:pt x="292100" y="135467"/>
                  <a:pt x="276225" y="146050"/>
                  <a:pt x="260350" y="152400"/>
                </a:cubicBezTo>
                <a:cubicBezTo>
                  <a:pt x="244475" y="158750"/>
                  <a:pt x="229129" y="161396"/>
                  <a:pt x="212725" y="165100"/>
                </a:cubicBezTo>
                <a:cubicBezTo>
                  <a:pt x="196321" y="168804"/>
                  <a:pt x="176212" y="173038"/>
                  <a:pt x="161925" y="174625"/>
                </a:cubicBezTo>
                <a:cubicBezTo>
                  <a:pt x="147638" y="176212"/>
                  <a:pt x="138112" y="175683"/>
                  <a:pt x="127000" y="174625"/>
                </a:cubicBezTo>
                <a:cubicBezTo>
                  <a:pt x="115888" y="173567"/>
                  <a:pt x="104246" y="168275"/>
                  <a:pt x="95250" y="168275"/>
                </a:cubicBezTo>
                <a:cubicBezTo>
                  <a:pt x="86254" y="168275"/>
                  <a:pt x="79375" y="171450"/>
                  <a:pt x="73025" y="174625"/>
                </a:cubicBezTo>
                <a:cubicBezTo>
                  <a:pt x="66675" y="177800"/>
                  <a:pt x="65617" y="183092"/>
                  <a:pt x="57150" y="187325"/>
                </a:cubicBezTo>
                <a:cubicBezTo>
                  <a:pt x="48683" y="191558"/>
                  <a:pt x="31750" y="196850"/>
                  <a:pt x="22225" y="200025"/>
                </a:cubicBezTo>
                <a:cubicBezTo>
                  <a:pt x="12700" y="203200"/>
                  <a:pt x="6350" y="204787"/>
                  <a:pt x="0" y="206375"/>
                </a:cubicBezTo>
              </a:path>
            </a:pathLst>
          </a:custGeom>
          <a:noFill/>
          <a:ln w="76200">
            <a:solidFill>
              <a:srgbClr val="33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Полилиния 139"/>
          <p:cNvSpPr/>
          <p:nvPr/>
        </p:nvSpPr>
        <p:spPr>
          <a:xfrm>
            <a:off x="6057900" y="2127250"/>
            <a:ext cx="488950" cy="206375"/>
          </a:xfrm>
          <a:custGeom>
            <a:avLst/>
            <a:gdLst>
              <a:gd name="connsiteX0" fmla="*/ 488950 w 488950"/>
              <a:gd name="connsiteY0" fmla="*/ 0 h 206375"/>
              <a:gd name="connsiteX1" fmla="*/ 425450 w 488950"/>
              <a:gd name="connsiteY1" fmla="*/ 60325 h 206375"/>
              <a:gd name="connsiteX2" fmla="*/ 396875 w 488950"/>
              <a:gd name="connsiteY2" fmla="*/ 82550 h 206375"/>
              <a:gd name="connsiteX3" fmla="*/ 355600 w 488950"/>
              <a:gd name="connsiteY3" fmla="*/ 101600 h 206375"/>
              <a:gd name="connsiteX4" fmla="*/ 307975 w 488950"/>
              <a:gd name="connsiteY4" fmla="*/ 127000 h 206375"/>
              <a:gd name="connsiteX5" fmla="*/ 260350 w 488950"/>
              <a:gd name="connsiteY5" fmla="*/ 152400 h 206375"/>
              <a:gd name="connsiteX6" fmla="*/ 212725 w 488950"/>
              <a:gd name="connsiteY6" fmla="*/ 165100 h 206375"/>
              <a:gd name="connsiteX7" fmla="*/ 161925 w 488950"/>
              <a:gd name="connsiteY7" fmla="*/ 174625 h 206375"/>
              <a:gd name="connsiteX8" fmla="*/ 127000 w 488950"/>
              <a:gd name="connsiteY8" fmla="*/ 174625 h 206375"/>
              <a:gd name="connsiteX9" fmla="*/ 95250 w 488950"/>
              <a:gd name="connsiteY9" fmla="*/ 168275 h 206375"/>
              <a:gd name="connsiteX10" fmla="*/ 73025 w 488950"/>
              <a:gd name="connsiteY10" fmla="*/ 174625 h 206375"/>
              <a:gd name="connsiteX11" fmla="*/ 57150 w 488950"/>
              <a:gd name="connsiteY11" fmla="*/ 187325 h 206375"/>
              <a:gd name="connsiteX12" fmla="*/ 22225 w 488950"/>
              <a:gd name="connsiteY12" fmla="*/ 200025 h 206375"/>
              <a:gd name="connsiteX13" fmla="*/ 0 w 488950"/>
              <a:gd name="connsiteY13" fmla="*/ 206375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88950" h="206375">
                <a:moveTo>
                  <a:pt x="488950" y="0"/>
                </a:moveTo>
                <a:cubicBezTo>
                  <a:pt x="464873" y="23283"/>
                  <a:pt x="440796" y="46567"/>
                  <a:pt x="425450" y="60325"/>
                </a:cubicBezTo>
                <a:cubicBezTo>
                  <a:pt x="410104" y="74083"/>
                  <a:pt x="408517" y="75671"/>
                  <a:pt x="396875" y="82550"/>
                </a:cubicBezTo>
                <a:cubicBezTo>
                  <a:pt x="385233" y="89429"/>
                  <a:pt x="370417" y="94192"/>
                  <a:pt x="355600" y="101600"/>
                </a:cubicBezTo>
                <a:cubicBezTo>
                  <a:pt x="340783" y="109008"/>
                  <a:pt x="307975" y="127000"/>
                  <a:pt x="307975" y="127000"/>
                </a:cubicBezTo>
                <a:cubicBezTo>
                  <a:pt x="292100" y="135467"/>
                  <a:pt x="276225" y="146050"/>
                  <a:pt x="260350" y="152400"/>
                </a:cubicBezTo>
                <a:cubicBezTo>
                  <a:pt x="244475" y="158750"/>
                  <a:pt x="229129" y="161396"/>
                  <a:pt x="212725" y="165100"/>
                </a:cubicBezTo>
                <a:cubicBezTo>
                  <a:pt x="196321" y="168804"/>
                  <a:pt x="176212" y="173038"/>
                  <a:pt x="161925" y="174625"/>
                </a:cubicBezTo>
                <a:cubicBezTo>
                  <a:pt x="147638" y="176212"/>
                  <a:pt x="138112" y="175683"/>
                  <a:pt x="127000" y="174625"/>
                </a:cubicBezTo>
                <a:cubicBezTo>
                  <a:pt x="115888" y="173567"/>
                  <a:pt x="104246" y="168275"/>
                  <a:pt x="95250" y="168275"/>
                </a:cubicBezTo>
                <a:cubicBezTo>
                  <a:pt x="86254" y="168275"/>
                  <a:pt x="79375" y="171450"/>
                  <a:pt x="73025" y="174625"/>
                </a:cubicBezTo>
                <a:cubicBezTo>
                  <a:pt x="66675" y="177800"/>
                  <a:pt x="65617" y="183092"/>
                  <a:pt x="57150" y="187325"/>
                </a:cubicBezTo>
                <a:cubicBezTo>
                  <a:pt x="48683" y="191558"/>
                  <a:pt x="31750" y="196850"/>
                  <a:pt x="22225" y="200025"/>
                </a:cubicBezTo>
                <a:cubicBezTo>
                  <a:pt x="12700" y="203200"/>
                  <a:pt x="6350" y="204787"/>
                  <a:pt x="0" y="206375"/>
                </a:cubicBezTo>
              </a:path>
            </a:pathLst>
          </a:custGeom>
          <a:noFill/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Полилиния 140"/>
          <p:cNvSpPr/>
          <p:nvPr/>
        </p:nvSpPr>
        <p:spPr>
          <a:xfrm>
            <a:off x="5562600" y="2333625"/>
            <a:ext cx="504825" cy="209550"/>
          </a:xfrm>
          <a:custGeom>
            <a:avLst/>
            <a:gdLst>
              <a:gd name="connsiteX0" fmla="*/ 504825 w 504825"/>
              <a:gd name="connsiteY0" fmla="*/ 0 h 209550"/>
              <a:gd name="connsiteX1" fmla="*/ 438150 w 504825"/>
              <a:gd name="connsiteY1" fmla="*/ 34925 h 209550"/>
              <a:gd name="connsiteX2" fmla="*/ 403225 w 504825"/>
              <a:gd name="connsiteY2" fmla="*/ 41275 h 209550"/>
              <a:gd name="connsiteX3" fmla="*/ 361950 w 504825"/>
              <a:gd name="connsiteY3" fmla="*/ 38100 h 209550"/>
              <a:gd name="connsiteX4" fmla="*/ 339725 w 504825"/>
              <a:gd name="connsiteY4" fmla="*/ 31750 h 209550"/>
              <a:gd name="connsiteX5" fmla="*/ 288925 w 504825"/>
              <a:gd name="connsiteY5" fmla="*/ 9525 h 209550"/>
              <a:gd name="connsiteX6" fmla="*/ 257175 w 504825"/>
              <a:gd name="connsiteY6" fmla="*/ 0 h 209550"/>
              <a:gd name="connsiteX7" fmla="*/ 238125 w 504825"/>
              <a:gd name="connsiteY7" fmla="*/ 9525 h 209550"/>
              <a:gd name="connsiteX8" fmla="*/ 184150 w 504825"/>
              <a:gd name="connsiteY8" fmla="*/ 19050 h 209550"/>
              <a:gd name="connsiteX9" fmla="*/ 155575 w 504825"/>
              <a:gd name="connsiteY9" fmla="*/ 41275 h 209550"/>
              <a:gd name="connsiteX10" fmla="*/ 111125 w 504825"/>
              <a:gd name="connsiteY10" fmla="*/ 76200 h 209550"/>
              <a:gd name="connsiteX11" fmla="*/ 92075 w 504825"/>
              <a:gd name="connsiteY11" fmla="*/ 107950 h 209550"/>
              <a:gd name="connsiteX12" fmla="*/ 69850 w 504825"/>
              <a:gd name="connsiteY12" fmla="*/ 139700 h 209550"/>
              <a:gd name="connsiteX13" fmla="*/ 47625 w 504825"/>
              <a:gd name="connsiteY13" fmla="*/ 171450 h 209550"/>
              <a:gd name="connsiteX14" fmla="*/ 19050 w 504825"/>
              <a:gd name="connsiteY14" fmla="*/ 190500 h 209550"/>
              <a:gd name="connsiteX15" fmla="*/ 0 w 504825"/>
              <a:gd name="connsiteY15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4825" h="209550">
                <a:moveTo>
                  <a:pt x="504825" y="0"/>
                </a:moveTo>
                <a:cubicBezTo>
                  <a:pt x="479954" y="14023"/>
                  <a:pt x="455083" y="28046"/>
                  <a:pt x="438150" y="34925"/>
                </a:cubicBezTo>
                <a:cubicBezTo>
                  <a:pt x="421217" y="41804"/>
                  <a:pt x="415925" y="40746"/>
                  <a:pt x="403225" y="41275"/>
                </a:cubicBezTo>
                <a:cubicBezTo>
                  <a:pt x="390525" y="41804"/>
                  <a:pt x="372533" y="39688"/>
                  <a:pt x="361950" y="38100"/>
                </a:cubicBezTo>
                <a:cubicBezTo>
                  <a:pt x="351367" y="36513"/>
                  <a:pt x="351896" y="36512"/>
                  <a:pt x="339725" y="31750"/>
                </a:cubicBezTo>
                <a:cubicBezTo>
                  <a:pt x="327554" y="26988"/>
                  <a:pt x="302683" y="14817"/>
                  <a:pt x="288925" y="9525"/>
                </a:cubicBezTo>
                <a:cubicBezTo>
                  <a:pt x="275167" y="4233"/>
                  <a:pt x="265642" y="0"/>
                  <a:pt x="257175" y="0"/>
                </a:cubicBezTo>
                <a:cubicBezTo>
                  <a:pt x="248708" y="0"/>
                  <a:pt x="250296" y="6350"/>
                  <a:pt x="238125" y="9525"/>
                </a:cubicBezTo>
                <a:cubicBezTo>
                  <a:pt x="225954" y="12700"/>
                  <a:pt x="197908" y="13758"/>
                  <a:pt x="184150" y="19050"/>
                </a:cubicBezTo>
                <a:cubicBezTo>
                  <a:pt x="170392" y="24342"/>
                  <a:pt x="155575" y="41275"/>
                  <a:pt x="155575" y="41275"/>
                </a:cubicBezTo>
                <a:cubicBezTo>
                  <a:pt x="143404" y="50800"/>
                  <a:pt x="121708" y="65088"/>
                  <a:pt x="111125" y="76200"/>
                </a:cubicBezTo>
                <a:cubicBezTo>
                  <a:pt x="100542" y="87312"/>
                  <a:pt x="98954" y="97367"/>
                  <a:pt x="92075" y="107950"/>
                </a:cubicBezTo>
                <a:cubicBezTo>
                  <a:pt x="85196" y="118533"/>
                  <a:pt x="69850" y="139700"/>
                  <a:pt x="69850" y="139700"/>
                </a:cubicBezTo>
                <a:cubicBezTo>
                  <a:pt x="62442" y="150283"/>
                  <a:pt x="56092" y="162983"/>
                  <a:pt x="47625" y="171450"/>
                </a:cubicBezTo>
                <a:cubicBezTo>
                  <a:pt x="39158" y="179917"/>
                  <a:pt x="26987" y="184150"/>
                  <a:pt x="19050" y="190500"/>
                </a:cubicBezTo>
                <a:cubicBezTo>
                  <a:pt x="11113" y="196850"/>
                  <a:pt x="5556" y="203200"/>
                  <a:pt x="0" y="209550"/>
                </a:cubicBezTo>
              </a:path>
            </a:pathLst>
          </a:custGeom>
          <a:noFill/>
          <a:ln w="762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Полилиния 141"/>
          <p:cNvSpPr/>
          <p:nvPr/>
        </p:nvSpPr>
        <p:spPr>
          <a:xfrm>
            <a:off x="5565775" y="2330450"/>
            <a:ext cx="504825" cy="209550"/>
          </a:xfrm>
          <a:custGeom>
            <a:avLst/>
            <a:gdLst>
              <a:gd name="connsiteX0" fmla="*/ 504825 w 504825"/>
              <a:gd name="connsiteY0" fmla="*/ 0 h 209550"/>
              <a:gd name="connsiteX1" fmla="*/ 438150 w 504825"/>
              <a:gd name="connsiteY1" fmla="*/ 34925 h 209550"/>
              <a:gd name="connsiteX2" fmla="*/ 403225 w 504825"/>
              <a:gd name="connsiteY2" fmla="*/ 41275 h 209550"/>
              <a:gd name="connsiteX3" fmla="*/ 361950 w 504825"/>
              <a:gd name="connsiteY3" fmla="*/ 38100 h 209550"/>
              <a:gd name="connsiteX4" fmla="*/ 339725 w 504825"/>
              <a:gd name="connsiteY4" fmla="*/ 31750 h 209550"/>
              <a:gd name="connsiteX5" fmla="*/ 288925 w 504825"/>
              <a:gd name="connsiteY5" fmla="*/ 9525 h 209550"/>
              <a:gd name="connsiteX6" fmla="*/ 257175 w 504825"/>
              <a:gd name="connsiteY6" fmla="*/ 0 h 209550"/>
              <a:gd name="connsiteX7" fmla="*/ 238125 w 504825"/>
              <a:gd name="connsiteY7" fmla="*/ 9525 h 209550"/>
              <a:gd name="connsiteX8" fmla="*/ 184150 w 504825"/>
              <a:gd name="connsiteY8" fmla="*/ 19050 h 209550"/>
              <a:gd name="connsiteX9" fmla="*/ 155575 w 504825"/>
              <a:gd name="connsiteY9" fmla="*/ 41275 h 209550"/>
              <a:gd name="connsiteX10" fmla="*/ 111125 w 504825"/>
              <a:gd name="connsiteY10" fmla="*/ 76200 h 209550"/>
              <a:gd name="connsiteX11" fmla="*/ 92075 w 504825"/>
              <a:gd name="connsiteY11" fmla="*/ 107950 h 209550"/>
              <a:gd name="connsiteX12" fmla="*/ 69850 w 504825"/>
              <a:gd name="connsiteY12" fmla="*/ 139700 h 209550"/>
              <a:gd name="connsiteX13" fmla="*/ 47625 w 504825"/>
              <a:gd name="connsiteY13" fmla="*/ 171450 h 209550"/>
              <a:gd name="connsiteX14" fmla="*/ 19050 w 504825"/>
              <a:gd name="connsiteY14" fmla="*/ 190500 h 209550"/>
              <a:gd name="connsiteX15" fmla="*/ 0 w 504825"/>
              <a:gd name="connsiteY15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4825" h="209550">
                <a:moveTo>
                  <a:pt x="504825" y="0"/>
                </a:moveTo>
                <a:cubicBezTo>
                  <a:pt x="479954" y="14023"/>
                  <a:pt x="455083" y="28046"/>
                  <a:pt x="438150" y="34925"/>
                </a:cubicBezTo>
                <a:cubicBezTo>
                  <a:pt x="421217" y="41804"/>
                  <a:pt x="415925" y="40746"/>
                  <a:pt x="403225" y="41275"/>
                </a:cubicBezTo>
                <a:cubicBezTo>
                  <a:pt x="390525" y="41804"/>
                  <a:pt x="372533" y="39688"/>
                  <a:pt x="361950" y="38100"/>
                </a:cubicBezTo>
                <a:cubicBezTo>
                  <a:pt x="351367" y="36513"/>
                  <a:pt x="351896" y="36512"/>
                  <a:pt x="339725" y="31750"/>
                </a:cubicBezTo>
                <a:cubicBezTo>
                  <a:pt x="327554" y="26988"/>
                  <a:pt x="302683" y="14817"/>
                  <a:pt x="288925" y="9525"/>
                </a:cubicBezTo>
                <a:cubicBezTo>
                  <a:pt x="275167" y="4233"/>
                  <a:pt x="265642" y="0"/>
                  <a:pt x="257175" y="0"/>
                </a:cubicBezTo>
                <a:cubicBezTo>
                  <a:pt x="248708" y="0"/>
                  <a:pt x="250296" y="6350"/>
                  <a:pt x="238125" y="9525"/>
                </a:cubicBezTo>
                <a:cubicBezTo>
                  <a:pt x="225954" y="12700"/>
                  <a:pt x="197908" y="13758"/>
                  <a:pt x="184150" y="19050"/>
                </a:cubicBezTo>
                <a:cubicBezTo>
                  <a:pt x="170392" y="24342"/>
                  <a:pt x="155575" y="41275"/>
                  <a:pt x="155575" y="41275"/>
                </a:cubicBezTo>
                <a:cubicBezTo>
                  <a:pt x="143404" y="50800"/>
                  <a:pt x="121708" y="65088"/>
                  <a:pt x="111125" y="76200"/>
                </a:cubicBezTo>
                <a:cubicBezTo>
                  <a:pt x="100542" y="87312"/>
                  <a:pt x="98954" y="97367"/>
                  <a:pt x="92075" y="107950"/>
                </a:cubicBezTo>
                <a:cubicBezTo>
                  <a:pt x="85196" y="118533"/>
                  <a:pt x="69850" y="139700"/>
                  <a:pt x="69850" y="139700"/>
                </a:cubicBezTo>
                <a:cubicBezTo>
                  <a:pt x="62442" y="150283"/>
                  <a:pt x="56092" y="162983"/>
                  <a:pt x="47625" y="171450"/>
                </a:cubicBezTo>
                <a:cubicBezTo>
                  <a:pt x="39158" y="179917"/>
                  <a:pt x="26987" y="184150"/>
                  <a:pt x="19050" y="190500"/>
                </a:cubicBezTo>
                <a:cubicBezTo>
                  <a:pt x="11113" y="196850"/>
                  <a:pt x="5556" y="203200"/>
                  <a:pt x="0" y="209550"/>
                </a:cubicBezTo>
              </a:path>
            </a:pathLst>
          </a:custGeom>
          <a:noFill/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2" name="AutoShape 19"/>
          <p:cNvSpPr>
            <a:spLocks noChangeArrowheads="1"/>
          </p:cNvSpPr>
          <p:nvPr/>
        </p:nvSpPr>
        <p:spPr bwMode="auto">
          <a:xfrm>
            <a:off x="7952916" y="2771077"/>
            <a:ext cx="44381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албата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4" name="AutoShape 19"/>
          <p:cNvSpPr>
            <a:spLocks noChangeArrowheads="1"/>
          </p:cNvSpPr>
          <p:nvPr/>
        </p:nvSpPr>
        <p:spPr bwMode="auto">
          <a:xfrm>
            <a:off x="7006684" y="2600358"/>
            <a:ext cx="38648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Семей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7" name="AutoShape 19"/>
          <p:cNvSpPr>
            <a:spLocks noChangeArrowheads="1"/>
          </p:cNvSpPr>
          <p:nvPr/>
        </p:nvSpPr>
        <p:spPr bwMode="auto">
          <a:xfrm>
            <a:off x="5681521" y="2458436"/>
            <a:ext cx="324316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стана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75" name="AutoShape 19"/>
          <p:cNvSpPr>
            <a:spLocks noChangeArrowheads="1"/>
          </p:cNvSpPr>
          <p:nvPr/>
        </p:nvSpPr>
        <p:spPr bwMode="auto">
          <a:xfrm>
            <a:off x="6717273" y="1950627"/>
            <a:ext cx="4678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Павлодар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73" name="Заголовок 1"/>
          <p:cNvSpPr txBox="1">
            <a:spLocks/>
          </p:cNvSpPr>
          <p:nvPr/>
        </p:nvSpPr>
        <p:spPr>
          <a:xfrm>
            <a:off x="192088" y="71438"/>
            <a:ext cx="3155776" cy="358775"/>
          </a:xfrm>
          <a:prstGeom prst="round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defRPr/>
            </a:pPr>
            <a:r>
              <a:rPr lang="ru-RU" sz="2400" b="1" dirty="0" err="1" smtClean="0">
                <a:ea typeface="+mj-ea"/>
                <a:cs typeface="Arial" pitchFamily="34" charset="0"/>
              </a:rPr>
              <a:t>Орталық</a:t>
            </a:r>
            <a:r>
              <a:rPr lang="ru-RU" sz="2400" b="1" dirty="0" smtClean="0">
                <a:ea typeface="+mj-ea"/>
                <a:cs typeface="Arial" pitchFamily="34" charset="0"/>
              </a:rPr>
              <a:t> - </a:t>
            </a:r>
            <a:r>
              <a:rPr lang="ru-RU" sz="2400" b="1" dirty="0" err="1" smtClean="0">
                <a:ea typeface="+mj-ea"/>
                <a:cs typeface="Arial" pitchFamily="34" charset="0"/>
              </a:rPr>
              <a:t>Шығыс</a:t>
            </a:r>
            <a:endParaRPr lang="ru-RU" sz="2400" b="1" dirty="0">
              <a:ea typeface="+mj-ea"/>
              <a:cs typeface="Arial" pitchFamily="34" charset="0"/>
            </a:endParaRPr>
          </a:p>
        </p:txBody>
      </p:sp>
      <p:grpSp>
        <p:nvGrpSpPr>
          <p:cNvPr id="277" name="Группа 46"/>
          <p:cNvGrpSpPr/>
          <p:nvPr/>
        </p:nvGrpSpPr>
        <p:grpSpPr>
          <a:xfrm>
            <a:off x="6572264" y="5976611"/>
            <a:ext cx="2484000" cy="809975"/>
            <a:chOff x="6572264" y="5976611"/>
            <a:chExt cx="2484000" cy="809975"/>
          </a:xfrm>
        </p:grpSpPr>
        <p:sp>
          <p:nvSpPr>
            <p:cNvPr id="278" name="Прямоугольник 277"/>
            <p:cNvSpPr/>
            <p:nvPr/>
          </p:nvSpPr>
          <p:spPr bwMode="auto">
            <a:xfrm>
              <a:off x="6572264" y="6030586"/>
              <a:ext cx="2484000" cy="756000"/>
            </a:xfrm>
            <a:prstGeom prst="rect">
              <a:avLst/>
            </a:prstGeom>
            <a:solidFill>
              <a:srgbClr val="FFFFFF">
                <a:alpha val="72941"/>
              </a:srgbClr>
            </a:solidFill>
            <a:ln w="190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just" eaLnBrk="0" hangingPunct="0">
                <a:defRPr/>
              </a:pPr>
              <a:endParaRPr lang="ru-RU" sz="1600" dirty="0">
                <a:solidFill>
                  <a:prstClr val="black"/>
                </a:solidFill>
              </a:endParaRPr>
            </a:p>
          </p:txBody>
        </p:sp>
        <p:sp>
          <p:nvSpPr>
            <p:cNvPr id="279" name="Rectangle 44"/>
            <p:cNvSpPr>
              <a:spLocks noChangeArrowheads="1"/>
            </p:cNvSpPr>
            <p:nvPr/>
          </p:nvSpPr>
          <p:spPr bwMode="auto">
            <a:xfrm>
              <a:off x="7158130" y="5976611"/>
              <a:ext cx="1898134" cy="75723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87782" tIns="144000" rIns="87782" bIns="43891" anchor="ctr"/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452438" indent="-12700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r>
                <a:rPr lang="ru-RU" altLang="ru-RU" sz="1100" b="1" dirty="0" err="1">
                  <a:latin typeface="+mn-lt"/>
                  <a:cs typeface="Arial" charset="0"/>
                </a:rPr>
                <a:t>Шартты</a:t>
              </a:r>
              <a:r>
                <a:rPr lang="ru-RU" altLang="ru-RU" sz="1100" b="1" dirty="0">
                  <a:latin typeface="+mn-lt"/>
                  <a:cs typeface="Arial" charset="0"/>
                </a:rPr>
                <a:t> </a:t>
              </a:r>
              <a:r>
                <a:rPr lang="ru-RU" altLang="ru-RU" sz="1100" b="1" dirty="0" err="1" smtClean="0">
                  <a:latin typeface="+mn-lt"/>
                  <a:cs typeface="Arial" charset="0"/>
                </a:rPr>
                <a:t>белгілер</a:t>
              </a:r>
              <a:endParaRPr lang="ru-RU" altLang="ru-RU" sz="1100" b="1" dirty="0" smtClean="0">
                <a:latin typeface="+mn-lt"/>
                <a:cs typeface="Arial" charset="0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r>
                <a:rPr lang="ru-RU" altLang="ru-RU" sz="105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cs typeface="Arial" charset="0"/>
                </a:rPr>
                <a:t>2018 </a:t>
              </a:r>
              <a:r>
                <a:rPr lang="ru-RU" altLang="ru-RU" sz="1050" b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cs typeface="Arial" charset="0"/>
                </a:rPr>
                <a:t>жылға</a:t>
              </a:r>
              <a:r>
                <a:rPr lang="ru-RU" altLang="ru-RU" sz="105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cs typeface="Arial" charset="0"/>
                </a:rPr>
                <a:t> </a:t>
              </a:r>
              <a:r>
                <a:rPr lang="ru-RU" altLang="ru-RU" sz="1050" b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cs typeface="Arial" charset="0"/>
                </a:rPr>
                <a:t>дейін</a:t>
              </a:r>
              <a:r>
                <a:rPr lang="ru-RU" altLang="ru-RU" sz="105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cs typeface="Arial" charset="0"/>
                </a:rPr>
                <a:t> </a:t>
              </a:r>
              <a:r>
                <a:rPr lang="ru-RU" altLang="ru-RU" sz="1050" b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cs typeface="Arial" charset="0"/>
                </a:rPr>
                <a:t>аяқталған</a:t>
              </a:r>
              <a:endParaRPr lang="ru-RU" altLang="ru-RU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r>
                <a:rPr lang="kk-KZ" altLang="ru-RU" sz="105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cs typeface="Arial" charset="0"/>
                </a:rPr>
                <a:t>Реконструкция жүргізілуде</a:t>
              </a:r>
              <a:endParaRPr lang="ru-RU" altLang="ru-RU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80" name="Line 45"/>
            <p:cNvSpPr>
              <a:spLocks noChangeShapeType="1"/>
            </p:cNvSpPr>
            <p:nvPr/>
          </p:nvSpPr>
          <p:spPr bwMode="auto">
            <a:xfrm>
              <a:off x="6653019" y="6578244"/>
              <a:ext cx="513621" cy="0"/>
            </a:xfrm>
            <a:prstGeom prst="line">
              <a:avLst/>
            </a:prstGeom>
            <a:noFill/>
            <a:ln w="63500">
              <a:solidFill>
                <a:srgbClr val="0070C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81" name="Line 45"/>
            <p:cNvSpPr>
              <a:spLocks noChangeShapeType="1"/>
            </p:cNvSpPr>
            <p:nvPr/>
          </p:nvSpPr>
          <p:spPr bwMode="auto">
            <a:xfrm>
              <a:off x="6653019" y="6381328"/>
              <a:ext cx="504000" cy="0"/>
            </a:xfrm>
            <a:prstGeom prst="line">
              <a:avLst/>
            </a:prstGeom>
            <a:noFill/>
            <a:ln w="63500">
              <a:solidFill>
                <a:srgbClr val="00B05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</p:grpSp>
      <p:sp>
        <p:nvSpPr>
          <p:cNvPr id="282" name="Номер слайда 14"/>
          <p:cNvSpPr>
            <a:spLocks noGrp="1"/>
          </p:cNvSpPr>
          <p:nvPr>
            <p:ph type="sldNum" sz="quarter" idx="10"/>
          </p:nvPr>
        </p:nvSpPr>
        <p:spPr>
          <a:xfrm>
            <a:off x="8631807" y="6520259"/>
            <a:ext cx="620713" cy="365125"/>
          </a:xfrm>
        </p:spPr>
        <p:txBody>
          <a:bodyPr/>
          <a:lstStyle/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  <a:latin typeface="Impact" pitchFamily="34" charset="0"/>
              </a:rPr>
              <a:t>4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  <p:sp>
        <p:nvSpPr>
          <p:cNvPr id="283" name="Полилиния 282"/>
          <p:cNvSpPr/>
          <p:nvPr/>
        </p:nvSpPr>
        <p:spPr>
          <a:xfrm>
            <a:off x="7318846" y="2506431"/>
            <a:ext cx="485030" cy="357809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5" name="Полилиния 284"/>
          <p:cNvSpPr/>
          <p:nvPr/>
        </p:nvSpPr>
        <p:spPr>
          <a:xfrm>
            <a:off x="6656936" y="2078718"/>
            <a:ext cx="72362" cy="88809"/>
          </a:xfrm>
          <a:custGeom>
            <a:avLst/>
            <a:gdLst>
              <a:gd name="connsiteX0" fmla="*/ 0 w 72362"/>
              <a:gd name="connsiteY0" fmla="*/ 0 h 88809"/>
              <a:gd name="connsiteX1" fmla="*/ 29603 w 72362"/>
              <a:gd name="connsiteY1" fmla="*/ 42760 h 88809"/>
              <a:gd name="connsiteX2" fmla="*/ 52627 w 72362"/>
              <a:gd name="connsiteY2" fmla="*/ 69074 h 88809"/>
              <a:gd name="connsiteX3" fmla="*/ 72362 w 72362"/>
              <a:gd name="connsiteY3" fmla="*/ 88809 h 88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62" h="88809">
                <a:moveTo>
                  <a:pt x="0" y="0"/>
                </a:moveTo>
                <a:cubicBezTo>
                  <a:pt x="10416" y="15624"/>
                  <a:pt x="20832" y="31248"/>
                  <a:pt x="29603" y="42760"/>
                </a:cubicBezTo>
                <a:cubicBezTo>
                  <a:pt x="38374" y="54272"/>
                  <a:pt x="45500" y="61399"/>
                  <a:pt x="52627" y="69074"/>
                </a:cubicBezTo>
                <a:cubicBezTo>
                  <a:pt x="59754" y="76749"/>
                  <a:pt x="66058" y="82779"/>
                  <a:pt x="72362" y="8880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6" name="Полилиния 285"/>
          <p:cNvSpPr/>
          <p:nvPr/>
        </p:nvSpPr>
        <p:spPr>
          <a:xfrm>
            <a:off x="6719429" y="2155808"/>
            <a:ext cx="374970" cy="197353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7" name="Полилиния 286"/>
          <p:cNvSpPr/>
          <p:nvPr/>
        </p:nvSpPr>
        <p:spPr>
          <a:xfrm>
            <a:off x="7084531" y="2341091"/>
            <a:ext cx="243401" cy="167750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8" name="Полилиния 287"/>
          <p:cNvSpPr/>
          <p:nvPr/>
        </p:nvSpPr>
        <p:spPr>
          <a:xfrm>
            <a:off x="6545966" y="2066713"/>
            <a:ext cx="82550" cy="92075"/>
          </a:xfrm>
          <a:custGeom>
            <a:avLst/>
            <a:gdLst>
              <a:gd name="connsiteX0" fmla="*/ 82550 w 82550"/>
              <a:gd name="connsiteY0" fmla="*/ 0 h 92075"/>
              <a:gd name="connsiteX1" fmla="*/ 22225 w 82550"/>
              <a:gd name="connsiteY1" fmla="*/ 73025 h 92075"/>
              <a:gd name="connsiteX2" fmla="*/ 6350 w 82550"/>
              <a:gd name="connsiteY2" fmla="*/ 82550 h 92075"/>
              <a:gd name="connsiteX3" fmla="*/ 0 w 82550"/>
              <a:gd name="connsiteY3" fmla="*/ 92075 h 9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92075">
                <a:moveTo>
                  <a:pt x="82550" y="0"/>
                </a:moveTo>
                <a:cubicBezTo>
                  <a:pt x="58737" y="29633"/>
                  <a:pt x="34925" y="59267"/>
                  <a:pt x="22225" y="73025"/>
                </a:cubicBezTo>
                <a:cubicBezTo>
                  <a:pt x="9525" y="86783"/>
                  <a:pt x="6350" y="82550"/>
                  <a:pt x="6350" y="82550"/>
                </a:cubicBezTo>
                <a:cubicBezTo>
                  <a:pt x="2646" y="85725"/>
                  <a:pt x="1323" y="88900"/>
                  <a:pt x="0" y="9207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9" name="Полилиния 288"/>
          <p:cNvSpPr/>
          <p:nvPr/>
        </p:nvSpPr>
        <p:spPr>
          <a:xfrm>
            <a:off x="6063366" y="2152441"/>
            <a:ext cx="488950" cy="206375"/>
          </a:xfrm>
          <a:custGeom>
            <a:avLst/>
            <a:gdLst>
              <a:gd name="connsiteX0" fmla="*/ 488950 w 488950"/>
              <a:gd name="connsiteY0" fmla="*/ 0 h 206375"/>
              <a:gd name="connsiteX1" fmla="*/ 425450 w 488950"/>
              <a:gd name="connsiteY1" fmla="*/ 60325 h 206375"/>
              <a:gd name="connsiteX2" fmla="*/ 396875 w 488950"/>
              <a:gd name="connsiteY2" fmla="*/ 82550 h 206375"/>
              <a:gd name="connsiteX3" fmla="*/ 355600 w 488950"/>
              <a:gd name="connsiteY3" fmla="*/ 101600 h 206375"/>
              <a:gd name="connsiteX4" fmla="*/ 307975 w 488950"/>
              <a:gd name="connsiteY4" fmla="*/ 127000 h 206375"/>
              <a:gd name="connsiteX5" fmla="*/ 260350 w 488950"/>
              <a:gd name="connsiteY5" fmla="*/ 152400 h 206375"/>
              <a:gd name="connsiteX6" fmla="*/ 212725 w 488950"/>
              <a:gd name="connsiteY6" fmla="*/ 165100 h 206375"/>
              <a:gd name="connsiteX7" fmla="*/ 161925 w 488950"/>
              <a:gd name="connsiteY7" fmla="*/ 174625 h 206375"/>
              <a:gd name="connsiteX8" fmla="*/ 127000 w 488950"/>
              <a:gd name="connsiteY8" fmla="*/ 174625 h 206375"/>
              <a:gd name="connsiteX9" fmla="*/ 95250 w 488950"/>
              <a:gd name="connsiteY9" fmla="*/ 168275 h 206375"/>
              <a:gd name="connsiteX10" fmla="*/ 73025 w 488950"/>
              <a:gd name="connsiteY10" fmla="*/ 174625 h 206375"/>
              <a:gd name="connsiteX11" fmla="*/ 57150 w 488950"/>
              <a:gd name="connsiteY11" fmla="*/ 187325 h 206375"/>
              <a:gd name="connsiteX12" fmla="*/ 22225 w 488950"/>
              <a:gd name="connsiteY12" fmla="*/ 200025 h 206375"/>
              <a:gd name="connsiteX13" fmla="*/ 0 w 488950"/>
              <a:gd name="connsiteY13" fmla="*/ 206375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88950" h="206375">
                <a:moveTo>
                  <a:pt x="488950" y="0"/>
                </a:moveTo>
                <a:cubicBezTo>
                  <a:pt x="464873" y="23283"/>
                  <a:pt x="440796" y="46567"/>
                  <a:pt x="425450" y="60325"/>
                </a:cubicBezTo>
                <a:cubicBezTo>
                  <a:pt x="410104" y="74083"/>
                  <a:pt x="408517" y="75671"/>
                  <a:pt x="396875" y="82550"/>
                </a:cubicBezTo>
                <a:cubicBezTo>
                  <a:pt x="385233" y="89429"/>
                  <a:pt x="370417" y="94192"/>
                  <a:pt x="355600" y="101600"/>
                </a:cubicBezTo>
                <a:cubicBezTo>
                  <a:pt x="340783" y="109008"/>
                  <a:pt x="307975" y="127000"/>
                  <a:pt x="307975" y="127000"/>
                </a:cubicBezTo>
                <a:cubicBezTo>
                  <a:pt x="292100" y="135467"/>
                  <a:pt x="276225" y="146050"/>
                  <a:pt x="260350" y="152400"/>
                </a:cubicBezTo>
                <a:cubicBezTo>
                  <a:pt x="244475" y="158750"/>
                  <a:pt x="229129" y="161396"/>
                  <a:pt x="212725" y="165100"/>
                </a:cubicBezTo>
                <a:cubicBezTo>
                  <a:pt x="196321" y="168804"/>
                  <a:pt x="176212" y="173038"/>
                  <a:pt x="161925" y="174625"/>
                </a:cubicBezTo>
                <a:cubicBezTo>
                  <a:pt x="147638" y="176212"/>
                  <a:pt x="138112" y="175683"/>
                  <a:pt x="127000" y="174625"/>
                </a:cubicBezTo>
                <a:cubicBezTo>
                  <a:pt x="115888" y="173567"/>
                  <a:pt x="104246" y="168275"/>
                  <a:pt x="95250" y="168275"/>
                </a:cubicBezTo>
                <a:cubicBezTo>
                  <a:pt x="86254" y="168275"/>
                  <a:pt x="79375" y="171450"/>
                  <a:pt x="73025" y="174625"/>
                </a:cubicBezTo>
                <a:cubicBezTo>
                  <a:pt x="66675" y="177800"/>
                  <a:pt x="65617" y="183092"/>
                  <a:pt x="57150" y="187325"/>
                </a:cubicBezTo>
                <a:cubicBezTo>
                  <a:pt x="48683" y="191558"/>
                  <a:pt x="31750" y="196850"/>
                  <a:pt x="22225" y="200025"/>
                </a:cubicBezTo>
                <a:cubicBezTo>
                  <a:pt x="12700" y="203200"/>
                  <a:pt x="6350" y="204787"/>
                  <a:pt x="0" y="20637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0" name="Полилиния 289"/>
          <p:cNvSpPr/>
          <p:nvPr/>
        </p:nvSpPr>
        <p:spPr>
          <a:xfrm>
            <a:off x="5571241" y="2355641"/>
            <a:ext cx="504825" cy="209550"/>
          </a:xfrm>
          <a:custGeom>
            <a:avLst/>
            <a:gdLst>
              <a:gd name="connsiteX0" fmla="*/ 504825 w 504825"/>
              <a:gd name="connsiteY0" fmla="*/ 0 h 209550"/>
              <a:gd name="connsiteX1" fmla="*/ 438150 w 504825"/>
              <a:gd name="connsiteY1" fmla="*/ 34925 h 209550"/>
              <a:gd name="connsiteX2" fmla="*/ 403225 w 504825"/>
              <a:gd name="connsiteY2" fmla="*/ 41275 h 209550"/>
              <a:gd name="connsiteX3" fmla="*/ 361950 w 504825"/>
              <a:gd name="connsiteY3" fmla="*/ 38100 h 209550"/>
              <a:gd name="connsiteX4" fmla="*/ 339725 w 504825"/>
              <a:gd name="connsiteY4" fmla="*/ 31750 h 209550"/>
              <a:gd name="connsiteX5" fmla="*/ 288925 w 504825"/>
              <a:gd name="connsiteY5" fmla="*/ 9525 h 209550"/>
              <a:gd name="connsiteX6" fmla="*/ 257175 w 504825"/>
              <a:gd name="connsiteY6" fmla="*/ 0 h 209550"/>
              <a:gd name="connsiteX7" fmla="*/ 238125 w 504825"/>
              <a:gd name="connsiteY7" fmla="*/ 9525 h 209550"/>
              <a:gd name="connsiteX8" fmla="*/ 184150 w 504825"/>
              <a:gd name="connsiteY8" fmla="*/ 19050 h 209550"/>
              <a:gd name="connsiteX9" fmla="*/ 155575 w 504825"/>
              <a:gd name="connsiteY9" fmla="*/ 41275 h 209550"/>
              <a:gd name="connsiteX10" fmla="*/ 111125 w 504825"/>
              <a:gd name="connsiteY10" fmla="*/ 76200 h 209550"/>
              <a:gd name="connsiteX11" fmla="*/ 92075 w 504825"/>
              <a:gd name="connsiteY11" fmla="*/ 107950 h 209550"/>
              <a:gd name="connsiteX12" fmla="*/ 69850 w 504825"/>
              <a:gd name="connsiteY12" fmla="*/ 139700 h 209550"/>
              <a:gd name="connsiteX13" fmla="*/ 47625 w 504825"/>
              <a:gd name="connsiteY13" fmla="*/ 171450 h 209550"/>
              <a:gd name="connsiteX14" fmla="*/ 19050 w 504825"/>
              <a:gd name="connsiteY14" fmla="*/ 190500 h 209550"/>
              <a:gd name="connsiteX15" fmla="*/ 0 w 504825"/>
              <a:gd name="connsiteY15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4825" h="209550">
                <a:moveTo>
                  <a:pt x="504825" y="0"/>
                </a:moveTo>
                <a:cubicBezTo>
                  <a:pt x="479954" y="14023"/>
                  <a:pt x="455083" y="28046"/>
                  <a:pt x="438150" y="34925"/>
                </a:cubicBezTo>
                <a:cubicBezTo>
                  <a:pt x="421217" y="41804"/>
                  <a:pt x="415925" y="40746"/>
                  <a:pt x="403225" y="41275"/>
                </a:cubicBezTo>
                <a:cubicBezTo>
                  <a:pt x="390525" y="41804"/>
                  <a:pt x="372533" y="39688"/>
                  <a:pt x="361950" y="38100"/>
                </a:cubicBezTo>
                <a:cubicBezTo>
                  <a:pt x="351367" y="36513"/>
                  <a:pt x="351896" y="36512"/>
                  <a:pt x="339725" y="31750"/>
                </a:cubicBezTo>
                <a:cubicBezTo>
                  <a:pt x="327554" y="26988"/>
                  <a:pt x="302683" y="14817"/>
                  <a:pt x="288925" y="9525"/>
                </a:cubicBezTo>
                <a:cubicBezTo>
                  <a:pt x="275167" y="4233"/>
                  <a:pt x="265642" y="0"/>
                  <a:pt x="257175" y="0"/>
                </a:cubicBezTo>
                <a:cubicBezTo>
                  <a:pt x="248708" y="0"/>
                  <a:pt x="250296" y="6350"/>
                  <a:pt x="238125" y="9525"/>
                </a:cubicBezTo>
                <a:cubicBezTo>
                  <a:pt x="225954" y="12700"/>
                  <a:pt x="197908" y="13758"/>
                  <a:pt x="184150" y="19050"/>
                </a:cubicBezTo>
                <a:cubicBezTo>
                  <a:pt x="170392" y="24342"/>
                  <a:pt x="155575" y="41275"/>
                  <a:pt x="155575" y="41275"/>
                </a:cubicBezTo>
                <a:cubicBezTo>
                  <a:pt x="143404" y="50800"/>
                  <a:pt x="121708" y="65088"/>
                  <a:pt x="111125" y="76200"/>
                </a:cubicBezTo>
                <a:cubicBezTo>
                  <a:pt x="100542" y="87312"/>
                  <a:pt x="98954" y="97367"/>
                  <a:pt x="92075" y="107950"/>
                </a:cubicBezTo>
                <a:cubicBezTo>
                  <a:pt x="85196" y="118533"/>
                  <a:pt x="69850" y="139700"/>
                  <a:pt x="69850" y="139700"/>
                </a:cubicBezTo>
                <a:cubicBezTo>
                  <a:pt x="62442" y="150283"/>
                  <a:pt x="56092" y="162983"/>
                  <a:pt x="47625" y="171450"/>
                </a:cubicBezTo>
                <a:cubicBezTo>
                  <a:pt x="39158" y="179917"/>
                  <a:pt x="26987" y="184150"/>
                  <a:pt x="19050" y="190500"/>
                </a:cubicBezTo>
                <a:cubicBezTo>
                  <a:pt x="11113" y="196850"/>
                  <a:pt x="5556" y="203200"/>
                  <a:pt x="0" y="20955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1" name="Полилиния 290"/>
          <p:cNvSpPr/>
          <p:nvPr/>
        </p:nvSpPr>
        <p:spPr>
          <a:xfrm>
            <a:off x="7346080" y="2471082"/>
            <a:ext cx="485030" cy="357809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2" name="Полилиния 291"/>
          <p:cNvSpPr/>
          <p:nvPr/>
        </p:nvSpPr>
        <p:spPr>
          <a:xfrm>
            <a:off x="6678728" y="2030784"/>
            <a:ext cx="72362" cy="88809"/>
          </a:xfrm>
          <a:custGeom>
            <a:avLst/>
            <a:gdLst>
              <a:gd name="connsiteX0" fmla="*/ 0 w 72362"/>
              <a:gd name="connsiteY0" fmla="*/ 0 h 88809"/>
              <a:gd name="connsiteX1" fmla="*/ 29603 w 72362"/>
              <a:gd name="connsiteY1" fmla="*/ 42760 h 88809"/>
              <a:gd name="connsiteX2" fmla="*/ 52627 w 72362"/>
              <a:gd name="connsiteY2" fmla="*/ 69074 h 88809"/>
              <a:gd name="connsiteX3" fmla="*/ 72362 w 72362"/>
              <a:gd name="connsiteY3" fmla="*/ 88809 h 88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62" h="88809">
                <a:moveTo>
                  <a:pt x="0" y="0"/>
                </a:moveTo>
                <a:cubicBezTo>
                  <a:pt x="10416" y="15624"/>
                  <a:pt x="20832" y="31248"/>
                  <a:pt x="29603" y="42760"/>
                </a:cubicBezTo>
                <a:cubicBezTo>
                  <a:pt x="38374" y="54272"/>
                  <a:pt x="45500" y="61399"/>
                  <a:pt x="52627" y="69074"/>
                </a:cubicBezTo>
                <a:cubicBezTo>
                  <a:pt x="59754" y="76749"/>
                  <a:pt x="66058" y="82779"/>
                  <a:pt x="72362" y="8880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3" name="Полилиния 292"/>
          <p:cNvSpPr/>
          <p:nvPr/>
        </p:nvSpPr>
        <p:spPr>
          <a:xfrm>
            <a:off x="6746663" y="2113316"/>
            <a:ext cx="374970" cy="197353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4" name="Полилиния 293"/>
          <p:cNvSpPr/>
          <p:nvPr/>
        </p:nvSpPr>
        <p:spPr>
          <a:xfrm>
            <a:off x="7111765" y="2305742"/>
            <a:ext cx="243401" cy="167750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Блок-схема: узел 122"/>
          <p:cNvSpPr/>
          <p:nvPr/>
        </p:nvSpPr>
        <p:spPr>
          <a:xfrm>
            <a:off x="7402784" y="2513075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Блок-схема: узел 172"/>
          <p:cNvSpPr/>
          <p:nvPr/>
        </p:nvSpPr>
        <p:spPr>
          <a:xfrm>
            <a:off x="7785008" y="2826989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3" name="Полилиния 302"/>
          <p:cNvSpPr/>
          <p:nvPr/>
        </p:nvSpPr>
        <p:spPr>
          <a:xfrm>
            <a:off x="6529434" y="2021971"/>
            <a:ext cx="82550" cy="92075"/>
          </a:xfrm>
          <a:custGeom>
            <a:avLst/>
            <a:gdLst>
              <a:gd name="connsiteX0" fmla="*/ 82550 w 82550"/>
              <a:gd name="connsiteY0" fmla="*/ 0 h 92075"/>
              <a:gd name="connsiteX1" fmla="*/ 22225 w 82550"/>
              <a:gd name="connsiteY1" fmla="*/ 73025 h 92075"/>
              <a:gd name="connsiteX2" fmla="*/ 6350 w 82550"/>
              <a:gd name="connsiteY2" fmla="*/ 82550 h 92075"/>
              <a:gd name="connsiteX3" fmla="*/ 0 w 82550"/>
              <a:gd name="connsiteY3" fmla="*/ 92075 h 9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92075">
                <a:moveTo>
                  <a:pt x="82550" y="0"/>
                </a:moveTo>
                <a:cubicBezTo>
                  <a:pt x="58737" y="29633"/>
                  <a:pt x="34925" y="59267"/>
                  <a:pt x="22225" y="73025"/>
                </a:cubicBezTo>
                <a:cubicBezTo>
                  <a:pt x="9525" y="86783"/>
                  <a:pt x="6350" y="82550"/>
                  <a:pt x="6350" y="82550"/>
                </a:cubicBezTo>
                <a:cubicBezTo>
                  <a:pt x="2646" y="85725"/>
                  <a:pt x="1323" y="88900"/>
                  <a:pt x="0" y="9207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4" name="Полилиния 303"/>
          <p:cNvSpPr/>
          <p:nvPr/>
        </p:nvSpPr>
        <p:spPr>
          <a:xfrm>
            <a:off x="6049215" y="2107699"/>
            <a:ext cx="488950" cy="206375"/>
          </a:xfrm>
          <a:custGeom>
            <a:avLst/>
            <a:gdLst>
              <a:gd name="connsiteX0" fmla="*/ 488950 w 488950"/>
              <a:gd name="connsiteY0" fmla="*/ 0 h 206375"/>
              <a:gd name="connsiteX1" fmla="*/ 425450 w 488950"/>
              <a:gd name="connsiteY1" fmla="*/ 60325 h 206375"/>
              <a:gd name="connsiteX2" fmla="*/ 396875 w 488950"/>
              <a:gd name="connsiteY2" fmla="*/ 82550 h 206375"/>
              <a:gd name="connsiteX3" fmla="*/ 355600 w 488950"/>
              <a:gd name="connsiteY3" fmla="*/ 101600 h 206375"/>
              <a:gd name="connsiteX4" fmla="*/ 307975 w 488950"/>
              <a:gd name="connsiteY4" fmla="*/ 127000 h 206375"/>
              <a:gd name="connsiteX5" fmla="*/ 260350 w 488950"/>
              <a:gd name="connsiteY5" fmla="*/ 152400 h 206375"/>
              <a:gd name="connsiteX6" fmla="*/ 212725 w 488950"/>
              <a:gd name="connsiteY6" fmla="*/ 165100 h 206375"/>
              <a:gd name="connsiteX7" fmla="*/ 161925 w 488950"/>
              <a:gd name="connsiteY7" fmla="*/ 174625 h 206375"/>
              <a:gd name="connsiteX8" fmla="*/ 127000 w 488950"/>
              <a:gd name="connsiteY8" fmla="*/ 174625 h 206375"/>
              <a:gd name="connsiteX9" fmla="*/ 95250 w 488950"/>
              <a:gd name="connsiteY9" fmla="*/ 168275 h 206375"/>
              <a:gd name="connsiteX10" fmla="*/ 73025 w 488950"/>
              <a:gd name="connsiteY10" fmla="*/ 174625 h 206375"/>
              <a:gd name="connsiteX11" fmla="*/ 57150 w 488950"/>
              <a:gd name="connsiteY11" fmla="*/ 187325 h 206375"/>
              <a:gd name="connsiteX12" fmla="*/ 22225 w 488950"/>
              <a:gd name="connsiteY12" fmla="*/ 200025 h 206375"/>
              <a:gd name="connsiteX13" fmla="*/ 0 w 488950"/>
              <a:gd name="connsiteY13" fmla="*/ 206375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88950" h="206375">
                <a:moveTo>
                  <a:pt x="488950" y="0"/>
                </a:moveTo>
                <a:cubicBezTo>
                  <a:pt x="464873" y="23283"/>
                  <a:pt x="440796" y="46567"/>
                  <a:pt x="425450" y="60325"/>
                </a:cubicBezTo>
                <a:cubicBezTo>
                  <a:pt x="410104" y="74083"/>
                  <a:pt x="408517" y="75671"/>
                  <a:pt x="396875" y="82550"/>
                </a:cubicBezTo>
                <a:cubicBezTo>
                  <a:pt x="385233" y="89429"/>
                  <a:pt x="370417" y="94192"/>
                  <a:pt x="355600" y="101600"/>
                </a:cubicBezTo>
                <a:cubicBezTo>
                  <a:pt x="340783" y="109008"/>
                  <a:pt x="307975" y="127000"/>
                  <a:pt x="307975" y="127000"/>
                </a:cubicBezTo>
                <a:cubicBezTo>
                  <a:pt x="292100" y="135467"/>
                  <a:pt x="276225" y="146050"/>
                  <a:pt x="260350" y="152400"/>
                </a:cubicBezTo>
                <a:cubicBezTo>
                  <a:pt x="244475" y="158750"/>
                  <a:pt x="229129" y="161396"/>
                  <a:pt x="212725" y="165100"/>
                </a:cubicBezTo>
                <a:cubicBezTo>
                  <a:pt x="196321" y="168804"/>
                  <a:pt x="176212" y="173038"/>
                  <a:pt x="161925" y="174625"/>
                </a:cubicBezTo>
                <a:cubicBezTo>
                  <a:pt x="147638" y="176212"/>
                  <a:pt x="138112" y="175683"/>
                  <a:pt x="127000" y="174625"/>
                </a:cubicBezTo>
                <a:cubicBezTo>
                  <a:pt x="115888" y="173567"/>
                  <a:pt x="104246" y="168275"/>
                  <a:pt x="95250" y="168275"/>
                </a:cubicBezTo>
                <a:cubicBezTo>
                  <a:pt x="86254" y="168275"/>
                  <a:pt x="79375" y="171450"/>
                  <a:pt x="73025" y="174625"/>
                </a:cubicBezTo>
                <a:cubicBezTo>
                  <a:pt x="66675" y="177800"/>
                  <a:pt x="65617" y="183092"/>
                  <a:pt x="57150" y="187325"/>
                </a:cubicBezTo>
                <a:cubicBezTo>
                  <a:pt x="48683" y="191558"/>
                  <a:pt x="31750" y="196850"/>
                  <a:pt x="22225" y="200025"/>
                </a:cubicBezTo>
                <a:cubicBezTo>
                  <a:pt x="12700" y="203200"/>
                  <a:pt x="6350" y="204787"/>
                  <a:pt x="0" y="20637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5" name="Полилиния 304"/>
          <p:cNvSpPr/>
          <p:nvPr/>
        </p:nvSpPr>
        <p:spPr>
          <a:xfrm>
            <a:off x="5557090" y="2310899"/>
            <a:ext cx="504825" cy="209550"/>
          </a:xfrm>
          <a:custGeom>
            <a:avLst/>
            <a:gdLst>
              <a:gd name="connsiteX0" fmla="*/ 504825 w 504825"/>
              <a:gd name="connsiteY0" fmla="*/ 0 h 209550"/>
              <a:gd name="connsiteX1" fmla="*/ 438150 w 504825"/>
              <a:gd name="connsiteY1" fmla="*/ 34925 h 209550"/>
              <a:gd name="connsiteX2" fmla="*/ 403225 w 504825"/>
              <a:gd name="connsiteY2" fmla="*/ 41275 h 209550"/>
              <a:gd name="connsiteX3" fmla="*/ 361950 w 504825"/>
              <a:gd name="connsiteY3" fmla="*/ 38100 h 209550"/>
              <a:gd name="connsiteX4" fmla="*/ 339725 w 504825"/>
              <a:gd name="connsiteY4" fmla="*/ 31750 h 209550"/>
              <a:gd name="connsiteX5" fmla="*/ 288925 w 504825"/>
              <a:gd name="connsiteY5" fmla="*/ 9525 h 209550"/>
              <a:gd name="connsiteX6" fmla="*/ 257175 w 504825"/>
              <a:gd name="connsiteY6" fmla="*/ 0 h 209550"/>
              <a:gd name="connsiteX7" fmla="*/ 238125 w 504825"/>
              <a:gd name="connsiteY7" fmla="*/ 9525 h 209550"/>
              <a:gd name="connsiteX8" fmla="*/ 184150 w 504825"/>
              <a:gd name="connsiteY8" fmla="*/ 19050 h 209550"/>
              <a:gd name="connsiteX9" fmla="*/ 155575 w 504825"/>
              <a:gd name="connsiteY9" fmla="*/ 41275 h 209550"/>
              <a:gd name="connsiteX10" fmla="*/ 111125 w 504825"/>
              <a:gd name="connsiteY10" fmla="*/ 76200 h 209550"/>
              <a:gd name="connsiteX11" fmla="*/ 92075 w 504825"/>
              <a:gd name="connsiteY11" fmla="*/ 107950 h 209550"/>
              <a:gd name="connsiteX12" fmla="*/ 69850 w 504825"/>
              <a:gd name="connsiteY12" fmla="*/ 139700 h 209550"/>
              <a:gd name="connsiteX13" fmla="*/ 47625 w 504825"/>
              <a:gd name="connsiteY13" fmla="*/ 171450 h 209550"/>
              <a:gd name="connsiteX14" fmla="*/ 19050 w 504825"/>
              <a:gd name="connsiteY14" fmla="*/ 190500 h 209550"/>
              <a:gd name="connsiteX15" fmla="*/ 0 w 504825"/>
              <a:gd name="connsiteY15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4825" h="209550">
                <a:moveTo>
                  <a:pt x="504825" y="0"/>
                </a:moveTo>
                <a:cubicBezTo>
                  <a:pt x="479954" y="14023"/>
                  <a:pt x="455083" y="28046"/>
                  <a:pt x="438150" y="34925"/>
                </a:cubicBezTo>
                <a:cubicBezTo>
                  <a:pt x="421217" y="41804"/>
                  <a:pt x="415925" y="40746"/>
                  <a:pt x="403225" y="41275"/>
                </a:cubicBezTo>
                <a:cubicBezTo>
                  <a:pt x="390525" y="41804"/>
                  <a:pt x="372533" y="39688"/>
                  <a:pt x="361950" y="38100"/>
                </a:cubicBezTo>
                <a:cubicBezTo>
                  <a:pt x="351367" y="36513"/>
                  <a:pt x="351896" y="36512"/>
                  <a:pt x="339725" y="31750"/>
                </a:cubicBezTo>
                <a:cubicBezTo>
                  <a:pt x="327554" y="26988"/>
                  <a:pt x="302683" y="14817"/>
                  <a:pt x="288925" y="9525"/>
                </a:cubicBezTo>
                <a:cubicBezTo>
                  <a:pt x="275167" y="4233"/>
                  <a:pt x="265642" y="0"/>
                  <a:pt x="257175" y="0"/>
                </a:cubicBezTo>
                <a:cubicBezTo>
                  <a:pt x="248708" y="0"/>
                  <a:pt x="250296" y="6350"/>
                  <a:pt x="238125" y="9525"/>
                </a:cubicBezTo>
                <a:cubicBezTo>
                  <a:pt x="225954" y="12700"/>
                  <a:pt x="197908" y="13758"/>
                  <a:pt x="184150" y="19050"/>
                </a:cubicBezTo>
                <a:cubicBezTo>
                  <a:pt x="170392" y="24342"/>
                  <a:pt x="155575" y="41275"/>
                  <a:pt x="155575" y="41275"/>
                </a:cubicBezTo>
                <a:cubicBezTo>
                  <a:pt x="143404" y="50800"/>
                  <a:pt x="121708" y="65088"/>
                  <a:pt x="111125" y="76200"/>
                </a:cubicBezTo>
                <a:cubicBezTo>
                  <a:pt x="100542" y="87312"/>
                  <a:pt x="98954" y="97367"/>
                  <a:pt x="92075" y="107950"/>
                </a:cubicBezTo>
                <a:cubicBezTo>
                  <a:pt x="85196" y="118533"/>
                  <a:pt x="69850" y="139700"/>
                  <a:pt x="69850" y="139700"/>
                </a:cubicBezTo>
                <a:cubicBezTo>
                  <a:pt x="62442" y="150283"/>
                  <a:pt x="56092" y="162983"/>
                  <a:pt x="47625" y="171450"/>
                </a:cubicBezTo>
                <a:cubicBezTo>
                  <a:pt x="39158" y="179917"/>
                  <a:pt x="26987" y="184150"/>
                  <a:pt x="19050" y="190500"/>
                </a:cubicBezTo>
                <a:cubicBezTo>
                  <a:pt x="11113" y="196850"/>
                  <a:pt x="5556" y="203200"/>
                  <a:pt x="0" y="20955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Блок-схема: узел 37"/>
          <p:cNvSpPr/>
          <p:nvPr/>
        </p:nvSpPr>
        <p:spPr>
          <a:xfrm>
            <a:off x="6601118" y="1985989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Блок-схема: узел 36"/>
          <p:cNvSpPr/>
          <p:nvPr/>
        </p:nvSpPr>
        <p:spPr>
          <a:xfrm>
            <a:off x="5516899" y="2500716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6" name="Скругленный прямоугольник 305"/>
          <p:cNvSpPr/>
          <p:nvPr/>
        </p:nvSpPr>
        <p:spPr bwMode="auto">
          <a:xfrm>
            <a:off x="6005836" y="247051"/>
            <a:ext cx="2598612" cy="1237733"/>
          </a:xfrm>
          <a:prstGeom prst="roundRect">
            <a:avLst/>
          </a:prstGeom>
          <a:solidFill>
            <a:schemeClr val="tx2">
              <a:lumMod val="20000"/>
              <a:lumOff val="80000"/>
              <a:alpha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algn="ctr" eaLnBrk="0" hangingPunct="0">
              <a:defRPr/>
            </a:pP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Астана - Павлодар - 441 </a:t>
            </a:r>
            <a:r>
              <a:rPr lang="ru-RU" altLang="ru-RU" sz="1100" b="1" dirty="0">
                <a:solidFill>
                  <a:srgbClr val="002060"/>
                </a:solidFill>
                <a:cs typeface="Arial" pitchFamily="34" charset="0"/>
              </a:rPr>
              <a:t>км</a:t>
            </a:r>
          </a:p>
          <a:p>
            <a:pPr algn="just" eaLnBrk="0" hangingPunct="0">
              <a:defRPr/>
            </a:pP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Іске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асыру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уақыт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: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2013-2018 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жылдар</a:t>
            </a:r>
            <a:endParaRPr lang="ru-RU" altLang="ru-RU" sz="11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аржыландыру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РБ</a:t>
            </a:r>
          </a:p>
          <a:p>
            <a:r>
              <a:rPr 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ұны</a:t>
            </a:r>
            <a:r>
              <a:rPr 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280 </a:t>
            </a:r>
            <a:r>
              <a:rPr lang="ru-RU" altLang="ru-RU" sz="1100" b="1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r>
              <a:rPr lang="ru-RU" altLang="ru-RU" sz="11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Игерілді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177 </a:t>
            </a:r>
            <a:r>
              <a:rPr lang="ru-RU" altLang="ru-RU" sz="1100" b="1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Қолданысқа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берілді</a:t>
            </a:r>
            <a:r>
              <a:rPr lang="ru-RU" altLang="ru-RU" sz="1100" b="1" dirty="0">
                <a:solidFill>
                  <a:srgbClr val="595959"/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176 км</a:t>
            </a:r>
          </a:p>
          <a:p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2018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жылға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жоспар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ea typeface="MS PGothic"/>
                <a:cs typeface="Arial" pitchFamily="34" charset="0"/>
              </a:rPr>
              <a:t>37,3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100" b="1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</p:txBody>
      </p:sp>
      <p:cxnSp>
        <p:nvCxnSpPr>
          <p:cNvPr id="307" name="Прямая со стрелкой 306"/>
          <p:cNvCxnSpPr>
            <a:stCxn id="306" idx="2"/>
            <a:endCxn id="304" idx="5"/>
          </p:cNvCxnSpPr>
          <p:nvPr/>
        </p:nvCxnSpPr>
        <p:spPr>
          <a:xfrm flipH="1">
            <a:off x="6309565" y="1484784"/>
            <a:ext cx="995577" cy="775315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Скругленный прямоугольник 307"/>
          <p:cNvSpPr/>
          <p:nvPr/>
        </p:nvSpPr>
        <p:spPr bwMode="auto">
          <a:xfrm>
            <a:off x="4987438" y="3356992"/>
            <a:ext cx="2680905" cy="1203506"/>
          </a:xfrm>
          <a:prstGeom prst="roundRect">
            <a:avLst/>
          </a:prstGeom>
          <a:solidFill>
            <a:schemeClr val="tx2">
              <a:lumMod val="20000"/>
              <a:lumOff val="80000"/>
              <a:alpha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algn="ctr" eaLnBrk="0" hangingPunct="0">
              <a:defRPr/>
            </a:pP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Павлодар - Семей - </a:t>
            </a:r>
            <a:r>
              <a:rPr lang="ru-RU" altLang="ru-RU" sz="1100" b="1" dirty="0" err="1">
                <a:solidFill>
                  <a:srgbClr val="002060"/>
                </a:solidFill>
                <a:cs typeface="Arial" pitchFamily="34" charset="0"/>
              </a:rPr>
              <a:t>Қ</a:t>
            </a:r>
            <a:r>
              <a:rPr lang="ru-RU" altLang="ru-RU" sz="1100" b="1" dirty="0" err="1" smtClean="0">
                <a:solidFill>
                  <a:srgbClr val="002060"/>
                </a:solidFill>
                <a:cs typeface="Arial" pitchFamily="34" charset="0"/>
              </a:rPr>
              <a:t>албатау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– 464 км</a:t>
            </a:r>
            <a:endParaRPr lang="ru-RU" altLang="ru-RU" sz="1100" b="1" dirty="0" smtClean="0">
              <a:solidFill>
                <a:srgbClr val="002060"/>
              </a:solidFill>
              <a:ea typeface="MS PGothic"/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Іске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асыру</a:t>
            </a:r>
            <a:r>
              <a:rPr lang="ru-RU" altLang="ru-RU" sz="11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уақыт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: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2013-2020 </a:t>
            </a:r>
            <a:r>
              <a:rPr lang="ru-RU" altLang="ru-RU" sz="1100" b="1" dirty="0" err="1">
                <a:solidFill>
                  <a:srgbClr val="002060"/>
                </a:solidFill>
                <a:cs typeface="Arial" pitchFamily="34" charset="0"/>
              </a:rPr>
              <a:t>жылдар</a:t>
            </a:r>
            <a:endParaRPr lang="ru-RU" altLang="ru-RU" sz="11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аржыландыру</a:t>
            </a:r>
            <a:r>
              <a:rPr lang="ru-RU" altLang="ru-RU" sz="11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РБ</a:t>
            </a:r>
          </a:p>
          <a:p>
            <a:r>
              <a:rPr lang="ru-RU" altLang="ru-RU" sz="11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Құны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ea typeface="MS PGothic"/>
                <a:cs typeface="Arial" pitchFamily="34" charset="0"/>
              </a:rPr>
              <a:t>110,5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100" b="1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r>
              <a:rPr lang="ru-RU" altLang="ru-RU" sz="11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Игерілді</a:t>
            </a:r>
            <a:r>
              <a:rPr lang="ru-RU" altLang="ru-RU" sz="11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43 </a:t>
            </a:r>
            <a:r>
              <a:rPr lang="ru-RU" altLang="ru-RU" sz="1100" b="1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pPr algn="just" eaLnBrk="0" hangingPunct="0">
              <a:defRPr/>
            </a:pP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Қолданысқа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берілді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ea typeface="MS PGothic"/>
                <a:cs typeface="Arial" pitchFamily="34" charset="0"/>
              </a:rPr>
              <a:t>204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км</a:t>
            </a:r>
            <a:endParaRPr lang="ru-RU" altLang="ru-RU" sz="1100" b="1" dirty="0" smtClean="0">
              <a:solidFill>
                <a:srgbClr val="595959"/>
              </a:solidFill>
              <a:ea typeface="MS PGothic"/>
              <a:cs typeface="Arial" pitchFamily="34" charset="0"/>
            </a:endParaRPr>
          </a:p>
          <a:p>
            <a:r>
              <a:rPr lang="ru-RU" altLang="ru-RU" sz="1100" b="1" dirty="0">
                <a:solidFill>
                  <a:srgbClr val="595959"/>
                </a:solidFill>
                <a:ea typeface="MS PGothic"/>
                <a:cs typeface="Arial" pitchFamily="34" charset="0"/>
              </a:rPr>
              <a:t>2018 </a:t>
            </a:r>
            <a:r>
              <a:rPr lang="ru-RU" altLang="ru-RU" sz="1100" b="1" dirty="0" err="1">
                <a:solidFill>
                  <a:srgbClr val="595959"/>
                </a:solidFill>
                <a:ea typeface="MS PGothic"/>
                <a:cs typeface="Arial" pitchFamily="34" charset="0"/>
              </a:rPr>
              <a:t>жылға</a:t>
            </a:r>
            <a:r>
              <a:rPr lang="ru-RU" altLang="ru-RU" sz="1100" b="1" dirty="0">
                <a:solidFill>
                  <a:srgbClr val="595959"/>
                </a:solidFill>
                <a:ea typeface="MS PGothic"/>
                <a:cs typeface="Arial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595959"/>
                </a:solidFill>
                <a:ea typeface="MS PGothic"/>
                <a:cs typeface="Arial" pitchFamily="34" charset="0"/>
              </a:rPr>
              <a:t>жоспар</a:t>
            </a:r>
            <a:r>
              <a:rPr lang="ru-RU" altLang="ru-RU" sz="1100" b="1" dirty="0" smtClean="0">
                <a:solidFill>
                  <a:srgbClr val="595959"/>
                </a:solidFill>
                <a:ea typeface="MS PGothic"/>
                <a:cs typeface="Arial" pitchFamily="34" charset="0"/>
              </a:rPr>
              <a:t> – </a:t>
            </a:r>
            <a:r>
              <a:rPr lang="ru-RU" altLang="ru-RU" sz="1100" b="1" dirty="0" smtClean="0">
                <a:solidFill>
                  <a:srgbClr val="002060"/>
                </a:solidFill>
                <a:ea typeface="MS PGothic"/>
                <a:cs typeface="Arial" pitchFamily="34" charset="0"/>
              </a:rPr>
              <a:t>17,5</a:t>
            </a:r>
            <a:r>
              <a:rPr lang="ru-RU" altLang="ru-RU" sz="1100" b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100" b="1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млрд. </a:t>
            </a:r>
            <a:r>
              <a:rPr lang="ru-RU" altLang="ru-RU" sz="1100" b="1" dirty="0" err="1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теңге</a:t>
            </a:r>
            <a:endParaRPr lang="ru-RU" altLang="ru-RU" sz="11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</p:txBody>
      </p:sp>
      <p:cxnSp>
        <p:nvCxnSpPr>
          <p:cNvPr id="309" name="Прямая со стрелкой 308"/>
          <p:cNvCxnSpPr>
            <a:stCxn id="308" idx="0"/>
            <a:endCxn id="286" idx="11"/>
          </p:cNvCxnSpPr>
          <p:nvPr/>
        </p:nvCxnSpPr>
        <p:spPr>
          <a:xfrm flipV="1">
            <a:off x="6327891" y="2330136"/>
            <a:ext cx="664542" cy="1026856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69" descr="E:\! WORK\For prezentations\Build\highway_construction_25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02613" y="5762023"/>
            <a:ext cx="108108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15862" y="5557175"/>
            <a:ext cx="540000" cy="5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76" name="Пятиугольник 275"/>
          <p:cNvSpPr/>
          <p:nvPr/>
        </p:nvSpPr>
        <p:spPr>
          <a:xfrm>
            <a:off x="134218" y="436666"/>
            <a:ext cx="3205020" cy="151902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altLang="ru-RU" sz="1300" b="1" dirty="0" err="1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Жобаның</a:t>
            </a:r>
            <a:r>
              <a:rPr lang="ru-RU" altLang="ru-RU" sz="1300" b="1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ru-RU" altLang="ru-RU" sz="1300" b="1" dirty="0" err="1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басты</a:t>
            </a:r>
            <a:r>
              <a:rPr lang="ru-RU" altLang="ru-RU" sz="1300" b="1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ru-RU" altLang="ru-RU" sz="1300" b="1" dirty="0" err="1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көрсеткіштері</a:t>
            </a:r>
            <a:endParaRPr lang="ru-RU" altLang="ru-RU" sz="13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r>
              <a:rPr lang="ru-RU" sz="13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ұны</a:t>
            </a:r>
            <a:r>
              <a:rPr lang="ru-RU" sz="13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 </a:t>
            </a:r>
            <a:r>
              <a:rPr lang="ru-RU" sz="1300" b="1" dirty="0" smtClean="0">
                <a:solidFill>
                  <a:schemeClr val="tx2">
                    <a:lumMod val="75000"/>
                  </a:schemeClr>
                </a:solidFill>
                <a:ea typeface="Calibri" pitchFamily="34" charset="0"/>
                <a:cs typeface="Arial" pitchFamily="34" charset="0"/>
              </a:rPr>
              <a:t>390,5 млрд. </a:t>
            </a:r>
            <a:r>
              <a:rPr lang="ru-RU" sz="1300" b="1" dirty="0" err="1" smtClean="0">
                <a:solidFill>
                  <a:schemeClr val="tx2">
                    <a:lumMod val="75000"/>
                  </a:schemeClr>
                </a:solidFill>
                <a:ea typeface="Calibri" pitchFamily="34" charset="0"/>
                <a:cs typeface="Arial" pitchFamily="34" charset="0"/>
              </a:rPr>
              <a:t>теңге</a:t>
            </a:r>
            <a:endParaRPr lang="ru-RU" altLang="ru-RU" sz="13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r>
              <a:rPr lang="ru-RU" altLang="ru-RU" sz="13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Қайнар</a:t>
            </a:r>
            <a:r>
              <a:rPr lang="ru-RU" altLang="ru-RU" sz="13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3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көзі</a:t>
            </a:r>
            <a:r>
              <a:rPr lang="ru-RU" altLang="ru-RU" sz="13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 </a:t>
            </a:r>
            <a:r>
              <a:rPr lang="ru-RU" altLang="ru-RU" sz="13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РБ</a:t>
            </a:r>
            <a:endParaRPr lang="ru-RU" altLang="ru-RU" sz="1300" b="1" dirty="0" smtClean="0">
              <a:solidFill>
                <a:schemeClr val="tx2">
                  <a:lumMod val="75000"/>
                </a:schemeClr>
              </a:solidFill>
              <a:ea typeface="Calibri" pitchFamily="34" charset="0"/>
              <a:cs typeface="Arial" pitchFamily="34" charset="0"/>
            </a:endParaRPr>
          </a:p>
          <a:p>
            <a:r>
              <a:rPr lang="ru-RU" altLang="ru-RU" sz="13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Ұзақтығы</a:t>
            </a:r>
            <a:r>
              <a:rPr lang="ru-RU" altLang="ru-RU" sz="13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 </a:t>
            </a:r>
            <a:r>
              <a:rPr lang="ru-RU" altLang="ru-RU" sz="1300" b="1" dirty="0" smtClean="0">
                <a:solidFill>
                  <a:schemeClr val="tx2">
                    <a:lumMod val="75000"/>
                  </a:schemeClr>
                </a:solidFill>
                <a:ea typeface="Calibri" pitchFamily="34" charset="0"/>
                <a:cs typeface="Arial" pitchFamily="34" charset="0"/>
              </a:rPr>
              <a:t>904</a:t>
            </a:r>
            <a:r>
              <a:rPr lang="ru-RU" altLang="ru-RU" sz="13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 км</a:t>
            </a:r>
            <a:endParaRPr lang="ru-RU" altLang="ru-RU" sz="13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r>
              <a:rPr lang="ru-RU" altLang="ru-RU" sz="13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Іске</a:t>
            </a:r>
            <a:r>
              <a:rPr lang="ru-RU" altLang="ru-RU" sz="13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3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асыру</a:t>
            </a:r>
            <a:r>
              <a:rPr lang="ru-RU" altLang="ru-RU" sz="13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300" b="1" dirty="0" err="1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уақыты</a:t>
            </a:r>
            <a:r>
              <a:rPr lang="ru-RU" altLang="ru-RU" sz="13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–</a:t>
            </a:r>
            <a:r>
              <a:rPr lang="ru-RU" altLang="ru-RU" sz="1300" b="1" dirty="0" smtClean="0">
                <a:solidFill>
                  <a:srgbClr val="008000"/>
                </a:solidFill>
                <a:cs typeface="Arial" pitchFamily="34" charset="0"/>
              </a:rPr>
              <a:t> </a:t>
            </a:r>
            <a:r>
              <a:rPr lang="ru-RU" altLang="ru-RU" sz="13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2013-2020 </a:t>
            </a:r>
            <a:r>
              <a:rPr lang="ru-RU" altLang="ru-RU" sz="1300" b="1" dirty="0" err="1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жылдар</a:t>
            </a:r>
            <a:endParaRPr lang="ru-RU" altLang="ru-RU" sz="1300" b="1" dirty="0" smtClean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r>
              <a:rPr lang="ru-RU" altLang="ru-RU" sz="13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2018 </a:t>
            </a:r>
            <a:r>
              <a:rPr lang="ru-RU" altLang="ru-RU" sz="1300" b="1" dirty="0" err="1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жылғы</a:t>
            </a:r>
            <a:r>
              <a:rPr lang="ru-RU" altLang="ru-RU" sz="1300" b="1" dirty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 </a:t>
            </a:r>
            <a:r>
              <a:rPr lang="ru-RU" altLang="ru-RU" sz="1300" b="1" dirty="0" smtClean="0">
                <a:solidFill>
                  <a:srgbClr val="595959"/>
                </a:solidFill>
                <a:ea typeface="Calibri" pitchFamily="34" charset="0"/>
                <a:cs typeface="Arial" pitchFamily="34" charset="0"/>
              </a:rPr>
              <a:t>бюджет </a:t>
            </a:r>
            <a:r>
              <a:rPr lang="ru-RU" altLang="ru-RU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–</a:t>
            </a:r>
            <a:r>
              <a:rPr lang="ru-RU" altLang="ru-RU" sz="13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 54,8 млрд. </a:t>
            </a:r>
            <a:r>
              <a:rPr lang="ru-RU" altLang="ru-RU" sz="1300" b="1" dirty="0" err="1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теңге</a:t>
            </a:r>
            <a:endParaRPr lang="ru-RU" altLang="ru-RU" sz="1300" b="1" dirty="0" smtClean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195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" y="601992"/>
            <a:ext cx="9144000" cy="5641277"/>
          </a:xfrm>
          <a:prstGeom prst="rect">
            <a:avLst/>
          </a:prstGeom>
          <a:ln w="6350">
            <a:solidFill>
              <a:schemeClr val="bg1"/>
            </a:solidFill>
            <a:prstDash val="dash"/>
          </a:ln>
        </p:spPr>
      </p:pic>
      <p:sp>
        <p:nvSpPr>
          <p:cNvPr id="36" name="Полилиния 35"/>
          <p:cNvSpPr/>
          <p:nvPr/>
        </p:nvSpPr>
        <p:spPr>
          <a:xfrm>
            <a:off x="6210737" y="1585775"/>
            <a:ext cx="437783" cy="451905"/>
          </a:xfrm>
          <a:custGeom>
            <a:avLst/>
            <a:gdLst>
              <a:gd name="connsiteX0" fmla="*/ 0 w 437783"/>
              <a:gd name="connsiteY0" fmla="*/ 0 h 451905"/>
              <a:gd name="connsiteX1" fmla="*/ 42366 w 437783"/>
              <a:gd name="connsiteY1" fmla="*/ 52958 h 451905"/>
              <a:gd name="connsiteX2" fmla="*/ 56488 w 437783"/>
              <a:gd name="connsiteY2" fmla="*/ 70610 h 451905"/>
              <a:gd name="connsiteX3" fmla="*/ 74141 w 437783"/>
              <a:gd name="connsiteY3" fmla="*/ 77671 h 451905"/>
              <a:gd name="connsiteX4" fmla="*/ 88263 w 437783"/>
              <a:gd name="connsiteY4" fmla="*/ 81202 h 451905"/>
              <a:gd name="connsiteX5" fmla="*/ 102385 w 437783"/>
              <a:gd name="connsiteY5" fmla="*/ 102385 h 451905"/>
              <a:gd name="connsiteX6" fmla="*/ 127098 w 437783"/>
              <a:gd name="connsiteY6" fmla="*/ 127098 h 451905"/>
              <a:gd name="connsiteX7" fmla="*/ 144751 w 437783"/>
              <a:gd name="connsiteY7" fmla="*/ 151812 h 451905"/>
              <a:gd name="connsiteX8" fmla="*/ 165934 w 437783"/>
              <a:gd name="connsiteY8" fmla="*/ 172995 h 451905"/>
              <a:gd name="connsiteX9" fmla="*/ 180056 w 437783"/>
              <a:gd name="connsiteY9" fmla="*/ 190647 h 451905"/>
              <a:gd name="connsiteX10" fmla="*/ 197709 w 437783"/>
              <a:gd name="connsiteY10" fmla="*/ 197708 h 451905"/>
              <a:gd name="connsiteX11" fmla="*/ 215361 w 437783"/>
              <a:gd name="connsiteY11" fmla="*/ 208300 h 451905"/>
              <a:gd name="connsiteX12" fmla="*/ 236544 w 437783"/>
              <a:gd name="connsiteY12" fmla="*/ 211830 h 451905"/>
              <a:gd name="connsiteX13" fmla="*/ 275380 w 437783"/>
              <a:gd name="connsiteY13" fmla="*/ 218891 h 451905"/>
              <a:gd name="connsiteX14" fmla="*/ 307154 w 437783"/>
              <a:gd name="connsiteY14" fmla="*/ 236544 h 451905"/>
              <a:gd name="connsiteX15" fmla="*/ 349520 w 437783"/>
              <a:gd name="connsiteY15" fmla="*/ 264788 h 451905"/>
              <a:gd name="connsiteX16" fmla="*/ 374234 w 437783"/>
              <a:gd name="connsiteY16" fmla="*/ 307154 h 451905"/>
              <a:gd name="connsiteX17" fmla="*/ 388356 w 437783"/>
              <a:gd name="connsiteY17" fmla="*/ 335398 h 451905"/>
              <a:gd name="connsiteX18" fmla="*/ 416600 w 437783"/>
              <a:gd name="connsiteY18" fmla="*/ 370703 h 451905"/>
              <a:gd name="connsiteX19" fmla="*/ 434252 w 437783"/>
              <a:gd name="connsiteY19" fmla="*/ 427191 h 451905"/>
              <a:gd name="connsiteX20" fmla="*/ 437783 w 437783"/>
              <a:gd name="connsiteY20" fmla="*/ 451905 h 451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7783" h="451905">
                <a:moveTo>
                  <a:pt x="0" y="0"/>
                </a:moveTo>
                <a:lnTo>
                  <a:pt x="42366" y="52958"/>
                </a:lnTo>
                <a:cubicBezTo>
                  <a:pt x="51781" y="64726"/>
                  <a:pt x="51192" y="66491"/>
                  <a:pt x="56488" y="70610"/>
                </a:cubicBezTo>
                <a:cubicBezTo>
                  <a:pt x="61784" y="74729"/>
                  <a:pt x="74141" y="77671"/>
                  <a:pt x="74141" y="77671"/>
                </a:cubicBezTo>
                <a:cubicBezTo>
                  <a:pt x="79437" y="79436"/>
                  <a:pt x="83556" y="77083"/>
                  <a:pt x="88263" y="81202"/>
                </a:cubicBezTo>
                <a:cubicBezTo>
                  <a:pt x="92970" y="85321"/>
                  <a:pt x="95913" y="94736"/>
                  <a:pt x="102385" y="102385"/>
                </a:cubicBezTo>
                <a:cubicBezTo>
                  <a:pt x="108857" y="110034"/>
                  <a:pt x="120037" y="118860"/>
                  <a:pt x="127098" y="127098"/>
                </a:cubicBezTo>
                <a:cubicBezTo>
                  <a:pt x="134159" y="135336"/>
                  <a:pt x="138278" y="144163"/>
                  <a:pt x="144751" y="151812"/>
                </a:cubicBezTo>
                <a:cubicBezTo>
                  <a:pt x="151224" y="159461"/>
                  <a:pt x="160050" y="166523"/>
                  <a:pt x="165934" y="172995"/>
                </a:cubicBezTo>
                <a:cubicBezTo>
                  <a:pt x="171818" y="179467"/>
                  <a:pt x="180056" y="190647"/>
                  <a:pt x="180056" y="190647"/>
                </a:cubicBezTo>
                <a:cubicBezTo>
                  <a:pt x="185352" y="194766"/>
                  <a:pt x="191825" y="194766"/>
                  <a:pt x="197709" y="197708"/>
                </a:cubicBezTo>
                <a:cubicBezTo>
                  <a:pt x="203593" y="200650"/>
                  <a:pt x="208889" y="205946"/>
                  <a:pt x="215361" y="208300"/>
                </a:cubicBezTo>
                <a:cubicBezTo>
                  <a:pt x="221833" y="210654"/>
                  <a:pt x="236544" y="211830"/>
                  <a:pt x="236544" y="211830"/>
                </a:cubicBezTo>
                <a:cubicBezTo>
                  <a:pt x="246547" y="213595"/>
                  <a:pt x="263612" y="214772"/>
                  <a:pt x="275380" y="218891"/>
                </a:cubicBezTo>
                <a:cubicBezTo>
                  <a:pt x="287148" y="223010"/>
                  <a:pt x="294797" y="228895"/>
                  <a:pt x="307154" y="236544"/>
                </a:cubicBezTo>
                <a:cubicBezTo>
                  <a:pt x="319511" y="244194"/>
                  <a:pt x="338340" y="253020"/>
                  <a:pt x="349520" y="264788"/>
                </a:cubicBezTo>
                <a:cubicBezTo>
                  <a:pt x="360700" y="276556"/>
                  <a:pt x="367761" y="295386"/>
                  <a:pt x="374234" y="307154"/>
                </a:cubicBezTo>
                <a:cubicBezTo>
                  <a:pt x="380707" y="318922"/>
                  <a:pt x="381295" y="324807"/>
                  <a:pt x="388356" y="335398"/>
                </a:cubicBezTo>
                <a:cubicBezTo>
                  <a:pt x="395417" y="345989"/>
                  <a:pt x="408951" y="355404"/>
                  <a:pt x="416600" y="370703"/>
                </a:cubicBezTo>
                <a:cubicBezTo>
                  <a:pt x="424249" y="386002"/>
                  <a:pt x="430722" y="413657"/>
                  <a:pt x="434252" y="427191"/>
                </a:cubicBezTo>
                <a:cubicBezTo>
                  <a:pt x="437782" y="440725"/>
                  <a:pt x="437782" y="446315"/>
                  <a:pt x="437783" y="45190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олилиния 53"/>
          <p:cNvSpPr/>
          <p:nvPr/>
        </p:nvSpPr>
        <p:spPr>
          <a:xfrm>
            <a:off x="972403" y="4735773"/>
            <a:ext cx="160361" cy="92123"/>
          </a:xfrm>
          <a:custGeom>
            <a:avLst/>
            <a:gdLst>
              <a:gd name="connsiteX0" fmla="*/ 0 w 160361"/>
              <a:gd name="connsiteY0" fmla="*/ 0 h 92123"/>
              <a:gd name="connsiteX1" fmla="*/ 61415 w 160361"/>
              <a:gd name="connsiteY1" fmla="*/ 47767 h 92123"/>
              <a:gd name="connsiteX2" fmla="*/ 102358 w 160361"/>
              <a:gd name="connsiteY2" fmla="*/ 58003 h 92123"/>
              <a:gd name="connsiteX3" fmla="*/ 129654 w 160361"/>
              <a:gd name="connsiteY3" fmla="*/ 71651 h 92123"/>
              <a:gd name="connsiteX4" fmla="*/ 153537 w 160361"/>
              <a:gd name="connsiteY4" fmla="*/ 81887 h 92123"/>
              <a:gd name="connsiteX5" fmla="*/ 160361 w 160361"/>
              <a:gd name="connsiteY5" fmla="*/ 92123 h 9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361" h="92123">
                <a:moveTo>
                  <a:pt x="0" y="0"/>
                </a:moveTo>
                <a:cubicBezTo>
                  <a:pt x="22177" y="19050"/>
                  <a:pt x="44355" y="38100"/>
                  <a:pt x="61415" y="47767"/>
                </a:cubicBezTo>
                <a:cubicBezTo>
                  <a:pt x="78475" y="57434"/>
                  <a:pt x="90985" y="54022"/>
                  <a:pt x="102358" y="58003"/>
                </a:cubicBezTo>
                <a:cubicBezTo>
                  <a:pt x="113731" y="61984"/>
                  <a:pt x="121124" y="67670"/>
                  <a:pt x="129654" y="71651"/>
                </a:cubicBezTo>
                <a:cubicBezTo>
                  <a:pt x="138184" y="75632"/>
                  <a:pt x="153537" y="81887"/>
                  <a:pt x="153537" y="81887"/>
                </a:cubicBezTo>
                <a:cubicBezTo>
                  <a:pt x="158655" y="85299"/>
                  <a:pt x="159508" y="88711"/>
                  <a:pt x="160361" y="92123"/>
                </a:cubicBezTo>
              </a:path>
            </a:pathLst>
          </a:custGeom>
          <a:noFill/>
          <a:ln w="7620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олилиния 54"/>
          <p:cNvSpPr/>
          <p:nvPr/>
        </p:nvSpPr>
        <p:spPr>
          <a:xfrm>
            <a:off x="971263" y="4734633"/>
            <a:ext cx="160361" cy="92123"/>
          </a:xfrm>
          <a:custGeom>
            <a:avLst/>
            <a:gdLst>
              <a:gd name="connsiteX0" fmla="*/ 0 w 160361"/>
              <a:gd name="connsiteY0" fmla="*/ 0 h 92123"/>
              <a:gd name="connsiteX1" fmla="*/ 61415 w 160361"/>
              <a:gd name="connsiteY1" fmla="*/ 47767 h 92123"/>
              <a:gd name="connsiteX2" fmla="*/ 102358 w 160361"/>
              <a:gd name="connsiteY2" fmla="*/ 58003 h 92123"/>
              <a:gd name="connsiteX3" fmla="*/ 129654 w 160361"/>
              <a:gd name="connsiteY3" fmla="*/ 71651 h 92123"/>
              <a:gd name="connsiteX4" fmla="*/ 153537 w 160361"/>
              <a:gd name="connsiteY4" fmla="*/ 81887 h 92123"/>
              <a:gd name="connsiteX5" fmla="*/ 160361 w 160361"/>
              <a:gd name="connsiteY5" fmla="*/ 92123 h 9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361" h="92123">
                <a:moveTo>
                  <a:pt x="0" y="0"/>
                </a:moveTo>
                <a:cubicBezTo>
                  <a:pt x="22177" y="19050"/>
                  <a:pt x="44355" y="38100"/>
                  <a:pt x="61415" y="47767"/>
                </a:cubicBezTo>
                <a:cubicBezTo>
                  <a:pt x="78475" y="57434"/>
                  <a:pt x="90985" y="54022"/>
                  <a:pt x="102358" y="58003"/>
                </a:cubicBezTo>
                <a:cubicBezTo>
                  <a:pt x="113731" y="61984"/>
                  <a:pt x="121124" y="67670"/>
                  <a:pt x="129654" y="71651"/>
                </a:cubicBezTo>
                <a:cubicBezTo>
                  <a:pt x="138184" y="75632"/>
                  <a:pt x="153537" y="81887"/>
                  <a:pt x="153537" y="81887"/>
                </a:cubicBezTo>
                <a:cubicBezTo>
                  <a:pt x="158655" y="85299"/>
                  <a:pt x="159508" y="88711"/>
                  <a:pt x="160361" y="92123"/>
                </a:cubicBezTo>
              </a:path>
            </a:pathLst>
          </a:custGeom>
          <a:noFill/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Полилиния 93"/>
          <p:cNvSpPr/>
          <p:nvPr/>
        </p:nvSpPr>
        <p:spPr>
          <a:xfrm>
            <a:off x="542925" y="3422631"/>
            <a:ext cx="622300" cy="143599"/>
          </a:xfrm>
          <a:custGeom>
            <a:avLst/>
            <a:gdLst>
              <a:gd name="connsiteX0" fmla="*/ 0 w 622300"/>
              <a:gd name="connsiteY0" fmla="*/ 136544 h 143599"/>
              <a:gd name="connsiteX1" fmla="*/ 66675 w 622300"/>
              <a:gd name="connsiteY1" fmla="*/ 127019 h 143599"/>
              <a:gd name="connsiteX2" fmla="*/ 101600 w 622300"/>
              <a:gd name="connsiteY2" fmla="*/ 130194 h 143599"/>
              <a:gd name="connsiteX3" fmla="*/ 139700 w 622300"/>
              <a:gd name="connsiteY3" fmla="*/ 139719 h 143599"/>
              <a:gd name="connsiteX4" fmla="*/ 165100 w 622300"/>
              <a:gd name="connsiteY4" fmla="*/ 142894 h 143599"/>
              <a:gd name="connsiteX5" fmla="*/ 187325 w 622300"/>
              <a:gd name="connsiteY5" fmla="*/ 142894 h 143599"/>
              <a:gd name="connsiteX6" fmla="*/ 209550 w 622300"/>
              <a:gd name="connsiteY6" fmla="*/ 142894 h 143599"/>
              <a:gd name="connsiteX7" fmla="*/ 231775 w 622300"/>
              <a:gd name="connsiteY7" fmla="*/ 133369 h 143599"/>
              <a:gd name="connsiteX8" fmla="*/ 273050 w 622300"/>
              <a:gd name="connsiteY8" fmla="*/ 104794 h 143599"/>
              <a:gd name="connsiteX9" fmla="*/ 304800 w 622300"/>
              <a:gd name="connsiteY9" fmla="*/ 92094 h 143599"/>
              <a:gd name="connsiteX10" fmla="*/ 355600 w 622300"/>
              <a:gd name="connsiteY10" fmla="*/ 79394 h 143599"/>
              <a:gd name="connsiteX11" fmla="*/ 415925 w 622300"/>
              <a:gd name="connsiteY11" fmla="*/ 60344 h 143599"/>
              <a:gd name="connsiteX12" fmla="*/ 444500 w 622300"/>
              <a:gd name="connsiteY12" fmla="*/ 53994 h 143599"/>
              <a:gd name="connsiteX13" fmla="*/ 460375 w 622300"/>
              <a:gd name="connsiteY13" fmla="*/ 44469 h 143599"/>
              <a:gd name="connsiteX14" fmla="*/ 473075 w 622300"/>
              <a:gd name="connsiteY14" fmla="*/ 15894 h 143599"/>
              <a:gd name="connsiteX15" fmla="*/ 488950 w 622300"/>
              <a:gd name="connsiteY15" fmla="*/ 19 h 143599"/>
              <a:gd name="connsiteX16" fmla="*/ 520700 w 622300"/>
              <a:gd name="connsiteY16" fmla="*/ 12719 h 143599"/>
              <a:gd name="connsiteX17" fmla="*/ 536575 w 622300"/>
              <a:gd name="connsiteY17" fmla="*/ 15894 h 143599"/>
              <a:gd name="connsiteX18" fmla="*/ 574675 w 622300"/>
              <a:gd name="connsiteY18" fmla="*/ 31769 h 143599"/>
              <a:gd name="connsiteX19" fmla="*/ 596900 w 622300"/>
              <a:gd name="connsiteY19" fmla="*/ 41294 h 143599"/>
              <a:gd name="connsiteX20" fmla="*/ 609600 w 622300"/>
              <a:gd name="connsiteY20" fmla="*/ 44469 h 143599"/>
              <a:gd name="connsiteX21" fmla="*/ 622300 w 622300"/>
              <a:gd name="connsiteY21" fmla="*/ 50819 h 14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22300" h="143599">
                <a:moveTo>
                  <a:pt x="0" y="136544"/>
                </a:moveTo>
                <a:cubicBezTo>
                  <a:pt x="24871" y="132310"/>
                  <a:pt x="49742" y="128077"/>
                  <a:pt x="66675" y="127019"/>
                </a:cubicBezTo>
                <a:cubicBezTo>
                  <a:pt x="83608" y="125961"/>
                  <a:pt x="89429" y="128077"/>
                  <a:pt x="101600" y="130194"/>
                </a:cubicBezTo>
                <a:cubicBezTo>
                  <a:pt x="113771" y="132311"/>
                  <a:pt x="129117" y="137602"/>
                  <a:pt x="139700" y="139719"/>
                </a:cubicBezTo>
                <a:cubicBezTo>
                  <a:pt x="150283" y="141836"/>
                  <a:pt x="157163" y="142365"/>
                  <a:pt x="165100" y="142894"/>
                </a:cubicBezTo>
                <a:cubicBezTo>
                  <a:pt x="173038" y="143423"/>
                  <a:pt x="187325" y="142894"/>
                  <a:pt x="187325" y="142894"/>
                </a:cubicBezTo>
                <a:cubicBezTo>
                  <a:pt x="194733" y="142894"/>
                  <a:pt x="202142" y="144481"/>
                  <a:pt x="209550" y="142894"/>
                </a:cubicBezTo>
                <a:cubicBezTo>
                  <a:pt x="216958" y="141307"/>
                  <a:pt x="221192" y="139719"/>
                  <a:pt x="231775" y="133369"/>
                </a:cubicBezTo>
                <a:cubicBezTo>
                  <a:pt x="242358" y="127019"/>
                  <a:pt x="260879" y="111673"/>
                  <a:pt x="273050" y="104794"/>
                </a:cubicBezTo>
                <a:cubicBezTo>
                  <a:pt x="285221" y="97915"/>
                  <a:pt x="291042" y="96327"/>
                  <a:pt x="304800" y="92094"/>
                </a:cubicBezTo>
                <a:cubicBezTo>
                  <a:pt x="318558" y="87861"/>
                  <a:pt x="337079" y="84686"/>
                  <a:pt x="355600" y="79394"/>
                </a:cubicBezTo>
                <a:cubicBezTo>
                  <a:pt x="374121" y="74102"/>
                  <a:pt x="401108" y="64577"/>
                  <a:pt x="415925" y="60344"/>
                </a:cubicBezTo>
                <a:cubicBezTo>
                  <a:pt x="430742" y="56111"/>
                  <a:pt x="437092" y="56640"/>
                  <a:pt x="444500" y="53994"/>
                </a:cubicBezTo>
                <a:cubicBezTo>
                  <a:pt x="451908" y="51348"/>
                  <a:pt x="455613" y="50819"/>
                  <a:pt x="460375" y="44469"/>
                </a:cubicBezTo>
                <a:cubicBezTo>
                  <a:pt x="465137" y="38119"/>
                  <a:pt x="468313" y="23302"/>
                  <a:pt x="473075" y="15894"/>
                </a:cubicBezTo>
                <a:cubicBezTo>
                  <a:pt x="477838" y="8486"/>
                  <a:pt x="481013" y="548"/>
                  <a:pt x="488950" y="19"/>
                </a:cubicBezTo>
                <a:cubicBezTo>
                  <a:pt x="496888" y="-510"/>
                  <a:pt x="512763" y="10073"/>
                  <a:pt x="520700" y="12719"/>
                </a:cubicBezTo>
                <a:cubicBezTo>
                  <a:pt x="528637" y="15365"/>
                  <a:pt x="527579" y="12719"/>
                  <a:pt x="536575" y="15894"/>
                </a:cubicBezTo>
                <a:cubicBezTo>
                  <a:pt x="545571" y="19069"/>
                  <a:pt x="574675" y="31769"/>
                  <a:pt x="574675" y="31769"/>
                </a:cubicBezTo>
                <a:lnTo>
                  <a:pt x="596900" y="41294"/>
                </a:lnTo>
                <a:cubicBezTo>
                  <a:pt x="602721" y="43411"/>
                  <a:pt x="609600" y="44469"/>
                  <a:pt x="609600" y="44469"/>
                </a:cubicBezTo>
                <a:cubicBezTo>
                  <a:pt x="613833" y="46056"/>
                  <a:pt x="618066" y="48437"/>
                  <a:pt x="622300" y="50819"/>
                </a:cubicBezTo>
              </a:path>
            </a:pathLst>
          </a:custGeom>
          <a:noFill/>
          <a:ln w="7620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Полилиния 95"/>
          <p:cNvSpPr/>
          <p:nvPr/>
        </p:nvSpPr>
        <p:spPr>
          <a:xfrm>
            <a:off x="381000" y="3508375"/>
            <a:ext cx="205723" cy="45719"/>
          </a:xfrm>
          <a:custGeom>
            <a:avLst/>
            <a:gdLst>
              <a:gd name="connsiteX0" fmla="*/ 155575 w 155575"/>
              <a:gd name="connsiteY0" fmla="*/ 28575 h 28575"/>
              <a:gd name="connsiteX1" fmla="*/ 92075 w 155575"/>
              <a:gd name="connsiteY1" fmla="*/ 22225 h 28575"/>
              <a:gd name="connsiteX2" fmla="*/ 73025 w 155575"/>
              <a:gd name="connsiteY2" fmla="*/ 19050 h 28575"/>
              <a:gd name="connsiteX3" fmla="*/ 41275 w 155575"/>
              <a:gd name="connsiteY3" fmla="*/ 15875 h 28575"/>
              <a:gd name="connsiteX4" fmla="*/ 25400 w 155575"/>
              <a:gd name="connsiteY4" fmla="*/ 9525 h 28575"/>
              <a:gd name="connsiteX5" fmla="*/ 12700 w 155575"/>
              <a:gd name="connsiteY5" fmla="*/ 6350 h 28575"/>
              <a:gd name="connsiteX6" fmla="*/ 0 w 155575"/>
              <a:gd name="connsiteY6" fmla="*/ 0 h 2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5575" h="28575">
                <a:moveTo>
                  <a:pt x="155575" y="28575"/>
                </a:moveTo>
                <a:lnTo>
                  <a:pt x="92075" y="22225"/>
                </a:lnTo>
                <a:cubicBezTo>
                  <a:pt x="78317" y="20638"/>
                  <a:pt x="81492" y="20108"/>
                  <a:pt x="73025" y="19050"/>
                </a:cubicBezTo>
                <a:cubicBezTo>
                  <a:pt x="64558" y="17992"/>
                  <a:pt x="49213" y="17463"/>
                  <a:pt x="41275" y="15875"/>
                </a:cubicBezTo>
                <a:cubicBezTo>
                  <a:pt x="33337" y="14287"/>
                  <a:pt x="25400" y="9525"/>
                  <a:pt x="25400" y="9525"/>
                </a:cubicBezTo>
                <a:cubicBezTo>
                  <a:pt x="20638" y="7938"/>
                  <a:pt x="12700" y="6350"/>
                  <a:pt x="12700" y="6350"/>
                </a:cubicBezTo>
                <a:cubicBezTo>
                  <a:pt x="8467" y="4763"/>
                  <a:pt x="4233" y="2381"/>
                  <a:pt x="0" y="0"/>
                </a:cubicBezTo>
              </a:path>
            </a:pathLst>
          </a:custGeom>
          <a:noFill/>
          <a:ln w="762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олилиния 96"/>
          <p:cNvSpPr/>
          <p:nvPr/>
        </p:nvSpPr>
        <p:spPr>
          <a:xfrm>
            <a:off x="414334" y="3513931"/>
            <a:ext cx="155575" cy="28575"/>
          </a:xfrm>
          <a:custGeom>
            <a:avLst/>
            <a:gdLst>
              <a:gd name="connsiteX0" fmla="*/ 155575 w 155575"/>
              <a:gd name="connsiteY0" fmla="*/ 28575 h 28575"/>
              <a:gd name="connsiteX1" fmla="*/ 92075 w 155575"/>
              <a:gd name="connsiteY1" fmla="*/ 22225 h 28575"/>
              <a:gd name="connsiteX2" fmla="*/ 73025 w 155575"/>
              <a:gd name="connsiteY2" fmla="*/ 19050 h 28575"/>
              <a:gd name="connsiteX3" fmla="*/ 41275 w 155575"/>
              <a:gd name="connsiteY3" fmla="*/ 15875 h 28575"/>
              <a:gd name="connsiteX4" fmla="*/ 25400 w 155575"/>
              <a:gd name="connsiteY4" fmla="*/ 9525 h 28575"/>
              <a:gd name="connsiteX5" fmla="*/ 12700 w 155575"/>
              <a:gd name="connsiteY5" fmla="*/ 6350 h 28575"/>
              <a:gd name="connsiteX6" fmla="*/ 0 w 155575"/>
              <a:gd name="connsiteY6" fmla="*/ 0 h 2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5575" h="28575">
                <a:moveTo>
                  <a:pt x="155575" y="28575"/>
                </a:moveTo>
                <a:lnTo>
                  <a:pt x="92075" y="22225"/>
                </a:lnTo>
                <a:cubicBezTo>
                  <a:pt x="78317" y="20638"/>
                  <a:pt x="81492" y="20108"/>
                  <a:pt x="73025" y="19050"/>
                </a:cubicBezTo>
                <a:cubicBezTo>
                  <a:pt x="64558" y="17992"/>
                  <a:pt x="49213" y="17463"/>
                  <a:pt x="41275" y="15875"/>
                </a:cubicBezTo>
                <a:cubicBezTo>
                  <a:pt x="33337" y="14287"/>
                  <a:pt x="25400" y="9525"/>
                  <a:pt x="25400" y="9525"/>
                </a:cubicBezTo>
                <a:cubicBezTo>
                  <a:pt x="20638" y="7938"/>
                  <a:pt x="12700" y="6350"/>
                  <a:pt x="12700" y="6350"/>
                </a:cubicBezTo>
                <a:cubicBezTo>
                  <a:pt x="8467" y="4763"/>
                  <a:pt x="4233" y="2381"/>
                  <a:pt x="0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Полилиния 100"/>
          <p:cNvSpPr/>
          <p:nvPr/>
        </p:nvSpPr>
        <p:spPr>
          <a:xfrm>
            <a:off x="568325" y="3421208"/>
            <a:ext cx="587375" cy="153913"/>
          </a:xfrm>
          <a:custGeom>
            <a:avLst/>
            <a:gdLst>
              <a:gd name="connsiteX0" fmla="*/ 0 w 587375"/>
              <a:gd name="connsiteY0" fmla="*/ 121298 h 153913"/>
              <a:gd name="connsiteX1" fmla="*/ 63500 w 587375"/>
              <a:gd name="connsiteY1" fmla="*/ 133998 h 153913"/>
              <a:gd name="connsiteX2" fmla="*/ 136525 w 587375"/>
              <a:gd name="connsiteY2" fmla="*/ 146698 h 153913"/>
              <a:gd name="connsiteX3" fmla="*/ 174625 w 587375"/>
              <a:gd name="connsiteY3" fmla="*/ 153048 h 153913"/>
              <a:gd name="connsiteX4" fmla="*/ 209550 w 587375"/>
              <a:gd name="connsiteY4" fmla="*/ 127648 h 153913"/>
              <a:gd name="connsiteX5" fmla="*/ 260350 w 587375"/>
              <a:gd name="connsiteY5" fmla="*/ 99073 h 153913"/>
              <a:gd name="connsiteX6" fmla="*/ 323850 w 587375"/>
              <a:gd name="connsiteY6" fmla="*/ 86373 h 153913"/>
              <a:gd name="connsiteX7" fmla="*/ 390525 w 587375"/>
              <a:gd name="connsiteY7" fmla="*/ 67323 h 153913"/>
              <a:gd name="connsiteX8" fmla="*/ 419100 w 587375"/>
              <a:gd name="connsiteY8" fmla="*/ 57798 h 153913"/>
              <a:gd name="connsiteX9" fmla="*/ 434975 w 587375"/>
              <a:gd name="connsiteY9" fmla="*/ 35573 h 153913"/>
              <a:gd name="connsiteX10" fmla="*/ 457200 w 587375"/>
              <a:gd name="connsiteY10" fmla="*/ 648 h 153913"/>
              <a:gd name="connsiteX11" fmla="*/ 495300 w 587375"/>
              <a:gd name="connsiteY11" fmla="*/ 13348 h 153913"/>
              <a:gd name="connsiteX12" fmla="*/ 520700 w 587375"/>
              <a:gd name="connsiteY12" fmla="*/ 19698 h 153913"/>
              <a:gd name="connsiteX13" fmla="*/ 558800 w 587375"/>
              <a:gd name="connsiteY13" fmla="*/ 38748 h 153913"/>
              <a:gd name="connsiteX14" fmla="*/ 581025 w 587375"/>
              <a:gd name="connsiteY14" fmla="*/ 51448 h 153913"/>
              <a:gd name="connsiteX15" fmla="*/ 587375 w 587375"/>
              <a:gd name="connsiteY15" fmla="*/ 57798 h 1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87375" h="153913">
                <a:moveTo>
                  <a:pt x="0" y="121298"/>
                </a:moveTo>
                <a:lnTo>
                  <a:pt x="63500" y="133998"/>
                </a:lnTo>
                <a:cubicBezTo>
                  <a:pt x="86254" y="138231"/>
                  <a:pt x="136525" y="146698"/>
                  <a:pt x="136525" y="146698"/>
                </a:cubicBezTo>
                <a:cubicBezTo>
                  <a:pt x="155046" y="149873"/>
                  <a:pt x="162454" y="156223"/>
                  <a:pt x="174625" y="153048"/>
                </a:cubicBezTo>
                <a:cubicBezTo>
                  <a:pt x="186796" y="149873"/>
                  <a:pt x="195263" y="136644"/>
                  <a:pt x="209550" y="127648"/>
                </a:cubicBezTo>
                <a:cubicBezTo>
                  <a:pt x="223837" y="118652"/>
                  <a:pt x="241300" y="105952"/>
                  <a:pt x="260350" y="99073"/>
                </a:cubicBezTo>
                <a:cubicBezTo>
                  <a:pt x="279400" y="92194"/>
                  <a:pt x="302154" y="91665"/>
                  <a:pt x="323850" y="86373"/>
                </a:cubicBezTo>
                <a:cubicBezTo>
                  <a:pt x="345546" y="81081"/>
                  <a:pt x="374650" y="72085"/>
                  <a:pt x="390525" y="67323"/>
                </a:cubicBezTo>
                <a:cubicBezTo>
                  <a:pt x="406400" y="62561"/>
                  <a:pt x="411692" y="63090"/>
                  <a:pt x="419100" y="57798"/>
                </a:cubicBezTo>
                <a:cubicBezTo>
                  <a:pt x="426508" y="52506"/>
                  <a:pt x="428625" y="45098"/>
                  <a:pt x="434975" y="35573"/>
                </a:cubicBezTo>
                <a:cubicBezTo>
                  <a:pt x="441325" y="26048"/>
                  <a:pt x="447146" y="4352"/>
                  <a:pt x="457200" y="648"/>
                </a:cubicBezTo>
                <a:cubicBezTo>
                  <a:pt x="467254" y="-3056"/>
                  <a:pt x="484717" y="10173"/>
                  <a:pt x="495300" y="13348"/>
                </a:cubicBezTo>
                <a:cubicBezTo>
                  <a:pt x="505883" y="16523"/>
                  <a:pt x="510117" y="15465"/>
                  <a:pt x="520700" y="19698"/>
                </a:cubicBezTo>
                <a:cubicBezTo>
                  <a:pt x="531283" y="23931"/>
                  <a:pt x="548746" y="33456"/>
                  <a:pt x="558800" y="38748"/>
                </a:cubicBezTo>
                <a:cubicBezTo>
                  <a:pt x="568854" y="44040"/>
                  <a:pt x="581025" y="51448"/>
                  <a:pt x="581025" y="51448"/>
                </a:cubicBezTo>
                <a:cubicBezTo>
                  <a:pt x="585787" y="54623"/>
                  <a:pt x="586581" y="56210"/>
                  <a:pt x="587375" y="57798"/>
                </a:cubicBezTo>
              </a:path>
            </a:pathLst>
          </a:custGeom>
          <a:noFill/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2" name="Полилиния 101"/>
          <p:cNvSpPr/>
          <p:nvPr/>
        </p:nvSpPr>
        <p:spPr>
          <a:xfrm>
            <a:off x="1533525" y="2981325"/>
            <a:ext cx="990600" cy="463550"/>
          </a:xfrm>
          <a:custGeom>
            <a:avLst/>
            <a:gdLst>
              <a:gd name="connsiteX0" fmla="*/ 990600 w 990600"/>
              <a:gd name="connsiteY0" fmla="*/ 0 h 463550"/>
              <a:gd name="connsiteX1" fmla="*/ 930275 w 990600"/>
              <a:gd name="connsiteY1" fmla="*/ 28575 h 463550"/>
              <a:gd name="connsiteX2" fmla="*/ 911225 w 990600"/>
              <a:gd name="connsiteY2" fmla="*/ 41275 h 463550"/>
              <a:gd name="connsiteX3" fmla="*/ 882650 w 990600"/>
              <a:gd name="connsiteY3" fmla="*/ 63500 h 463550"/>
              <a:gd name="connsiteX4" fmla="*/ 863600 w 990600"/>
              <a:gd name="connsiteY4" fmla="*/ 69850 h 463550"/>
              <a:gd name="connsiteX5" fmla="*/ 819150 w 990600"/>
              <a:gd name="connsiteY5" fmla="*/ 66675 h 463550"/>
              <a:gd name="connsiteX6" fmla="*/ 787400 w 990600"/>
              <a:gd name="connsiteY6" fmla="*/ 73025 h 463550"/>
              <a:gd name="connsiteX7" fmla="*/ 762000 w 990600"/>
              <a:gd name="connsiteY7" fmla="*/ 82550 h 463550"/>
              <a:gd name="connsiteX8" fmla="*/ 736600 w 990600"/>
              <a:gd name="connsiteY8" fmla="*/ 114300 h 463550"/>
              <a:gd name="connsiteX9" fmla="*/ 673100 w 990600"/>
              <a:gd name="connsiteY9" fmla="*/ 171450 h 463550"/>
              <a:gd name="connsiteX10" fmla="*/ 650875 w 990600"/>
              <a:gd name="connsiteY10" fmla="*/ 187325 h 463550"/>
              <a:gd name="connsiteX11" fmla="*/ 619125 w 990600"/>
              <a:gd name="connsiteY11" fmla="*/ 228600 h 463550"/>
              <a:gd name="connsiteX12" fmla="*/ 577850 w 990600"/>
              <a:gd name="connsiteY12" fmla="*/ 260350 h 463550"/>
              <a:gd name="connsiteX13" fmla="*/ 533400 w 990600"/>
              <a:gd name="connsiteY13" fmla="*/ 282575 h 463550"/>
              <a:gd name="connsiteX14" fmla="*/ 476250 w 990600"/>
              <a:gd name="connsiteY14" fmla="*/ 288925 h 463550"/>
              <a:gd name="connsiteX15" fmla="*/ 450850 w 990600"/>
              <a:gd name="connsiteY15" fmla="*/ 295275 h 463550"/>
              <a:gd name="connsiteX16" fmla="*/ 425450 w 990600"/>
              <a:gd name="connsiteY16" fmla="*/ 323850 h 463550"/>
              <a:gd name="connsiteX17" fmla="*/ 387350 w 990600"/>
              <a:gd name="connsiteY17" fmla="*/ 327025 h 463550"/>
              <a:gd name="connsiteX18" fmla="*/ 346075 w 990600"/>
              <a:gd name="connsiteY18" fmla="*/ 342900 h 463550"/>
              <a:gd name="connsiteX19" fmla="*/ 323850 w 990600"/>
              <a:gd name="connsiteY19" fmla="*/ 355600 h 463550"/>
              <a:gd name="connsiteX20" fmla="*/ 301625 w 990600"/>
              <a:gd name="connsiteY20" fmla="*/ 368300 h 463550"/>
              <a:gd name="connsiteX21" fmla="*/ 266700 w 990600"/>
              <a:gd name="connsiteY21" fmla="*/ 371475 h 463550"/>
              <a:gd name="connsiteX22" fmla="*/ 228600 w 990600"/>
              <a:gd name="connsiteY22" fmla="*/ 387350 h 463550"/>
              <a:gd name="connsiteX23" fmla="*/ 187325 w 990600"/>
              <a:gd name="connsiteY23" fmla="*/ 400050 h 463550"/>
              <a:gd name="connsiteX24" fmla="*/ 142875 w 990600"/>
              <a:gd name="connsiteY24" fmla="*/ 412750 h 463550"/>
              <a:gd name="connsiteX25" fmla="*/ 111125 w 990600"/>
              <a:gd name="connsiteY25" fmla="*/ 425450 h 463550"/>
              <a:gd name="connsiteX26" fmla="*/ 82550 w 990600"/>
              <a:gd name="connsiteY26" fmla="*/ 428625 h 463550"/>
              <a:gd name="connsiteX27" fmla="*/ 60325 w 990600"/>
              <a:gd name="connsiteY27" fmla="*/ 434975 h 463550"/>
              <a:gd name="connsiteX28" fmla="*/ 34925 w 990600"/>
              <a:gd name="connsiteY28" fmla="*/ 438150 h 463550"/>
              <a:gd name="connsiteX29" fmla="*/ 9525 w 990600"/>
              <a:gd name="connsiteY29" fmla="*/ 454025 h 463550"/>
              <a:gd name="connsiteX30" fmla="*/ 0 w 990600"/>
              <a:gd name="connsiteY30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990600" h="463550">
                <a:moveTo>
                  <a:pt x="990600" y="0"/>
                </a:moveTo>
                <a:cubicBezTo>
                  <a:pt x="967052" y="10848"/>
                  <a:pt x="943504" y="21696"/>
                  <a:pt x="930275" y="28575"/>
                </a:cubicBezTo>
                <a:cubicBezTo>
                  <a:pt x="917046" y="35454"/>
                  <a:pt x="919162" y="35454"/>
                  <a:pt x="911225" y="41275"/>
                </a:cubicBezTo>
                <a:cubicBezTo>
                  <a:pt x="903288" y="47096"/>
                  <a:pt x="890587" y="58738"/>
                  <a:pt x="882650" y="63500"/>
                </a:cubicBezTo>
                <a:cubicBezTo>
                  <a:pt x="874712" y="68263"/>
                  <a:pt x="874183" y="69321"/>
                  <a:pt x="863600" y="69850"/>
                </a:cubicBezTo>
                <a:cubicBezTo>
                  <a:pt x="853017" y="70379"/>
                  <a:pt x="831850" y="66146"/>
                  <a:pt x="819150" y="66675"/>
                </a:cubicBezTo>
                <a:cubicBezTo>
                  <a:pt x="806450" y="67204"/>
                  <a:pt x="796925" y="70379"/>
                  <a:pt x="787400" y="73025"/>
                </a:cubicBezTo>
                <a:cubicBezTo>
                  <a:pt x="777875" y="75671"/>
                  <a:pt x="770467" y="75671"/>
                  <a:pt x="762000" y="82550"/>
                </a:cubicBezTo>
                <a:cubicBezTo>
                  <a:pt x="753533" y="89429"/>
                  <a:pt x="751417" y="99483"/>
                  <a:pt x="736600" y="114300"/>
                </a:cubicBezTo>
                <a:cubicBezTo>
                  <a:pt x="721783" y="129117"/>
                  <a:pt x="687387" y="159279"/>
                  <a:pt x="673100" y="171450"/>
                </a:cubicBezTo>
                <a:cubicBezTo>
                  <a:pt x="658813" y="183621"/>
                  <a:pt x="659871" y="177800"/>
                  <a:pt x="650875" y="187325"/>
                </a:cubicBezTo>
                <a:cubicBezTo>
                  <a:pt x="641879" y="196850"/>
                  <a:pt x="631296" y="216429"/>
                  <a:pt x="619125" y="228600"/>
                </a:cubicBezTo>
                <a:cubicBezTo>
                  <a:pt x="606954" y="240771"/>
                  <a:pt x="592137" y="251354"/>
                  <a:pt x="577850" y="260350"/>
                </a:cubicBezTo>
                <a:cubicBezTo>
                  <a:pt x="563563" y="269346"/>
                  <a:pt x="550333" y="277813"/>
                  <a:pt x="533400" y="282575"/>
                </a:cubicBezTo>
                <a:cubicBezTo>
                  <a:pt x="516467" y="287337"/>
                  <a:pt x="490008" y="286808"/>
                  <a:pt x="476250" y="288925"/>
                </a:cubicBezTo>
                <a:cubicBezTo>
                  <a:pt x="462492" y="291042"/>
                  <a:pt x="459317" y="289454"/>
                  <a:pt x="450850" y="295275"/>
                </a:cubicBezTo>
                <a:cubicBezTo>
                  <a:pt x="442383" y="301096"/>
                  <a:pt x="436033" y="318558"/>
                  <a:pt x="425450" y="323850"/>
                </a:cubicBezTo>
                <a:cubicBezTo>
                  <a:pt x="414867" y="329142"/>
                  <a:pt x="400579" y="323850"/>
                  <a:pt x="387350" y="327025"/>
                </a:cubicBezTo>
                <a:cubicBezTo>
                  <a:pt x="374121" y="330200"/>
                  <a:pt x="356658" y="338138"/>
                  <a:pt x="346075" y="342900"/>
                </a:cubicBezTo>
                <a:cubicBezTo>
                  <a:pt x="335492" y="347663"/>
                  <a:pt x="323850" y="355600"/>
                  <a:pt x="323850" y="355600"/>
                </a:cubicBezTo>
                <a:cubicBezTo>
                  <a:pt x="316442" y="359833"/>
                  <a:pt x="311150" y="365654"/>
                  <a:pt x="301625" y="368300"/>
                </a:cubicBezTo>
                <a:cubicBezTo>
                  <a:pt x="292100" y="370946"/>
                  <a:pt x="278871" y="368300"/>
                  <a:pt x="266700" y="371475"/>
                </a:cubicBezTo>
                <a:cubicBezTo>
                  <a:pt x="254529" y="374650"/>
                  <a:pt x="241829" y="382588"/>
                  <a:pt x="228600" y="387350"/>
                </a:cubicBezTo>
                <a:cubicBezTo>
                  <a:pt x="215371" y="392112"/>
                  <a:pt x="201612" y="395817"/>
                  <a:pt x="187325" y="400050"/>
                </a:cubicBezTo>
                <a:cubicBezTo>
                  <a:pt x="173038" y="404283"/>
                  <a:pt x="155575" y="408517"/>
                  <a:pt x="142875" y="412750"/>
                </a:cubicBezTo>
                <a:cubicBezTo>
                  <a:pt x="130175" y="416983"/>
                  <a:pt x="121179" y="422804"/>
                  <a:pt x="111125" y="425450"/>
                </a:cubicBezTo>
                <a:cubicBezTo>
                  <a:pt x="101071" y="428096"/>
                  <a:pt x="91017" y="427038"/>
                  <a:pt x="82550" y="428625"/>
                </a:cubicBezTo>
                <a:cubicBezTo>
                  <a:pt x="74083" y="430212"/>
                  <a:pt x="68263" y="433387"/>
                  <a:pt x="60325" y="434975"/>
                </a:cubicBezTo>
                <a:cubicBezTo>
                  <a:pt x="52387" y="436563"/>
                  <a:pt x="43392" y="434975"/>
                  <a:pt x="34925" y="438150"/>
                </a:cubicBezTo>
                <a:cubicBezTo>
                  <a:pt x="26458" y="441325"/>
                  <a:pt x="9525" y="454025"/>
                  <a:pt x="9525" y="454025"/>
                </a:cubicBezTo>
                <a:cubicBezTo>
                  <a:pt x="3704" y="458258"/>
                  <a:pt x="1852" y="460904"/>
                  <a:pt x="0" y="463550"/>
                </a:cubicBezTo>
              </a:path>
            </a:pathLst>
          </a:custGeom>
          <a:noFill/>
          <a:ln w="7620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Полилиния 105"/>
          <p:cNvSpPr/>
          <p:nvPr/>
        </p:nvSpPr>
        <p:spPr>
          <a:xfrm>
            <a:off x="2502456" y="2726531"/>
            <a:ext cx="57201" cy="142875"/>
          </a:xfrm>
          <a:custGeom>
            <a:avLst/>
            <a:gdLst>
              <a:gd name="connsiteX0" fmla="*/ 0 w 57201"/>
              <a:gd name="connsiteY0" fmla="*/ 142875 h 142875"/>
              <a:gd name="connsiteX1" fmla="*/ 50800 w 57201"/>
              <a:gd name="connsiteY1" fmla="*/ 92075 h 142875"/>
              <a:gd name="connsiteX2" fmla="*/ 50800 w 57201"/>
              <a:gd name="connsiteY2" fmla="*/ 69850 h 142875"/>
              <a:gd name="connsiteX3" fmla="*/ 57150 w 57201"/>
              <a:gd name="connsiteY3" fmla="*/ 53975 h 142875"/>
              <a:gd name="connsiteX4" fmla="*/ 53975 w 57201"/>
              <a:gd name="connsiteY4" fmla="*/ 28575 h 142875"/>
              <a:gd name="connsiteX5" fmla="*/ 44450 w 57201"/>
              <a:gd name="connsiteY5" fmla="*/ 19050 h 142875"/>
              <a:gd name="connsiteX6" fmla="*/ 38100 w 57201"/>
              <a:gd name="connsiteY6" fmla="*/ 0 h 14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01" h="142875">
                <a:moveTo>
                  <a:pt x="0" y="142875"/>
                </a:moveTo>
                <a:cubicBezTo>
                  <a:pt x="21166" y="123560"/>
                  <a:pt x="42333" y="104246"/>
                  <a:pt x="50800" y="92075"/>
                </a:cubicBezTo>
                <a:cubicBezTo>
                  <a:pt x="59267" y="79904"/>
                  <a:pt x="49742" y="76200"/>
                  <a:pt x="50800" y="69850"/>
                </a:cubicBezTo>
                <a:cubicBezTo>
                  <a:pt x="51858" y="63500"/>
                  <a:pt x="56621" y="60854"/>
                  <a:pt x="57150" y="53975"/>
                </a:cubicBezTo>
                <a:cubicBezTo>
                  <a:pt x="57679" y="47096"/>
                  <a:pt x="53975" y="28575"/>
                  <a:pt x="53975" y="28575"/>
                </a:cubicBezTo>
                <a:cubicBezTo>
                  <a:pt x="51858" y="22754"/>
                  <a:pt x="47096" y="23812"/>
                  <a:pt x="44450" y="19050"/>
                </a:cubicBezTo>
                <a:cubicBezTo>
                  <a:pt x="41804" y="14288"/>
                  <a:pt x="39952" y="7144"/>
                  <a:pt x="38100" y="0"/>
                </a:cubicBezTo>
              </a:path>
            </a:pathLst>
          </a:custGeom>
          <a:noFill/>
          <a:ln w="7620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Полилиния 107"/>
          <p:cNvSpPr/>
          <p:nvPr/>
        </p:nvSpPr>
        <p:spPr>
          <a:xfrm>
            <a:off x="2507893" y="2848705"/>
            <a:ext cx="14105" cy="130175"/>
          </a:xfrm>
          <a:custGeom>
            <a:avLst/>
            <a:gdLst>
              <a:gd name="connsiteX0" fmla="*/ 6533 w 14105"/>
              <a:gd name="connsiteY0" fmla="*/ 0 h 130175"/>
              <a:gd name="connsiteX1" fmla="*/ 183 w 14105"/>
              <a:gd name="connsiteY1" fmla="*/ 76200 h 130175"/>
              <a:gd name="connsiteX2" fmla="*/ 12883 w 14105"/>
              <a:gd name="connsiteY2" fmla="*/ 92075 h 130175"/>
              <a:gd name="connsiteX3" fmla="*/ 12883 w 14105"/>
              <a:gd name="connsiteY3" fmla="*/ 130175 h 1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05" h="130175">
                <a:moveTo>
                  <a:pt x="6533" y="0"/>
                </a:moveTo>
                <a:cubicBezTo>
                  <a:pt x="2829" y="30427"/>
                  <a:pt x="-875" y="60854"/>
                  <a:pt x="183" y="76200"/>
                </a:cubicBezTo>
                <a:cubicBezTo>
                  <a:pt x="1241" y="91546"/>
                  <a:pt x="10766" y="83079"/>
                  <a:pt x="12883" y="92075"/>
                </a:cubicBezTo>
                <a:cubicBezTo>
                  <a:pt x="15000" y="101071"/>
                  <a:pt x="13941" y="115623"/>
                  <a:pt x="12883" y="130175"/>
                </a:cubicBezTo>
              </a:path>
            </a:pathLst>
          </a:custGeom>
          <a:noFill/>
          <a:ln w="76200">
            <a:solidFill>
              <a:srgbClr val="33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Полилиния 108"/>
          <p:cNvSpPr/>
          <p:nvPr/>
        </p:nvSpPr>
        <p:spPr>
          <a:xfrm>
            <a:off x="2507373" y="2842874"/>
            <a:ext cx="14105" cy="130175"/>
          </a:xfrm>
          <a:custGeom>
            <a:avLst/>
            <a:gdLst>
              <a:gd name="connsiteX0" fmla="*/ 6533 w 14105"/>
              <a:gd name="connsiteY0" fmla="*/ 0 h 130175"/>
              <a:gd name="connsiteX1" fmla="*/ 183 w 14105"/>
              <a:gd name="connsiteY1" fmla="*/ 76200 h 130175"/>
              <a:gd name="connsiteX2" fmla="*/ 12883 w 14105"/>
              <a:gd name="connsiteY2" fmla="*/ 92075 h 130175"/>
              <a:gd name="connsiteX3" fmla="*/ 12883 w 14105"/>
              <a:gd name="connsiteY3" fmla="*/ 130175 h 1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05" h="130175">
                <a:moveTo>
                  <a:pt x="6533" y="0"/>
                </a:moveTo>
                <a:cubicBezTo>
                  <a:pt x="2829" y="30427"/>
                  <a:pt x="-875" y="60854"/>
                  <a:pt x="183" y="76200"/>
                </a:cubicBezTo>
                <a:cubicBezTo>
                  <a:pt x="1241" y="91546"/>
                  <a:pt x="10766" y="83079"/>
                  <a:pt x="12883" y="92075"/>
                </a:cubicBezTo>
                <a:cubicBezTo>
                  <a:pt x="15000" y="101071"/>
                  <a:pt x="13941" y="115623"/>
                  <a:pt x="12883" y="130175"/>
                </a:cubicBezTo>
              </a:path>
            </a:pathLst>
          </a:custGeom>
          <a:noFill/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Полилиния 110"/>
          <p:cNvSpPr/>
          <p:nvPr/>
        </p:nvSpPr>
        <p:spPr>
          <a:xfrm>
            <a:off x="2515522" y="2728912"/>
            <a:ext cx="45719" cy="123825"/>
          </a:xfrm>
          <a:custGeom>
            <a:avLst/>
            <a:gdLst>
              <a:gd name="connsiteX0" fmla="*/ 0 w 42667"/>
              <a:gd name="connsiteY0" fmla="*/ 123825 h 123825"/>
              <a:gd name="connsiteX1" fmla="*/ 38100 w 42667"/>
              <a:gd name="connsiteY1" fmla="*/ 73025 h 123825"/>
              <a:gd name="connsiteX2" fmla="*/ 41275 w 42667"/>
              <a:gd name="connsiteY2" fmla="*/ 44450 h 123825"/>
              <a:gd name="connsiteX3" fmla="*/ 31750 w 42667"/>
              <a:gd name="connsiteY3" fmla="*/ 28575 h 123825"/>
              <a:gd name="connsiteX4" fmla="*/ 28575 w 42667"/>
              <a:gd name="connsiteY4" fmla="*/ 0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667" h="123825">
                <a:moveTo>
                  <a:pt x="0" y="123825"/>
                </a:moveTo>
                <a:cubicBezTo>
                  <a:pt x="15610" y="105039"/>
                  <a:pt x="31221" y="86254"/>
                  <a:pt x="38100" y="73025"/>
                </a:cubicBezTo>
                <a:cubicBezTo>
                  <a:pt x="44979" y="59796"/>
                  <a:pt x="42333" y="51858"/>
                  <a:pt x="41275" y="44450"/>
                </a:cubicBezTo>
                <a:cubicBezTo>
                  <a:pt x="40217" y="37042"/>
                  <a:pt x="33867" y="35983"/>
                  <a:pt x="31750" y="28575"/>
                </a:cubicBezTo>
                <a:cubicBezTo>
                  <a:pt x="29633" y="21167"/>
                  <a:pt x="29104" y="10583"/>
                  <a:pt x="28575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7" name="AutoShape 19"/>
          <p:cNvSpPr>
            <a:spLocks noChangeArrowheads="1"/>
          </p:cNvSpPr>
          <p:nvPr/>
        </p:nvSpPr>
        <p:spPr bwMode="auto">
          <a:xfrm>
            <a:off x="1948330" y="2896169"/>
            <a:ext cx="499526" cy="9593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андыагаш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188" name="AutoShape 19"/>
          <p:cNvSpPr>
            <a:spLocks noChangeArrowheads="1"/>
          </p:cNvSpPr>
          <p:nvPr/>
        </p:nvSpPr>
        <p:spPr bwMode="auto">
          <a:xfrm>
            <a:off x="2630004" y="2568515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ктобе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23" name="AutoShape 19"/>
          <p:cNvSpPr>
            <a:spLocks noChangeArrowheads="1"/>
          </p:cNvSpPr>
          <p:nvPr/>
        </p:nvSpPr>
        <p:spPr bwMode="auto">
          <a:xfrm>
            <a:off x="1007364" y="3576544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тыра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26" name="AutoShape 19"/>
          <p:cNvSpPr>
            <a:spLocks noChangeArrowheads="1"/>
          </p:cNvSpPr>
          <p:nvPr/>
        </p:nvSpPr>
        <p:spPr bwMode="auto">
          <a:xfrm>
            <a:off x="1678135" y="3442560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Доссор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28" name="AutoShape 19"/>
          <p:cNvSpPr>
            <a:spLocks noChangeArrowheads="1"/>
          </p:cNvSpPr>
          <p:nvPr/>
        </p:nvSpPr>
        <p:spPr bwMode="auto">
          <a:xfrm>
            <a:off x="1882841" y="4153881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Бейне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30" name="AutoShape 19"/>
          <p:cNvSpPr>
            <a:spLocks noChangeArrowheads="1"/>
          </p:cNvSpPr>
          <p:nvPr/>
        </p:nvSpPr>
        <p:spPr bwMode="auto">
          <a:xfrm>
            <a:off x="561602" y="4438151"/>
            <a:ext cx="30297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кта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33" name="AutoShape 19"/>
          <p:cNvSpPr>
            <a:spLocks noChangeArrowheads="1"/>
          </p:cNvSpPr>
          <p:nvPr/>
        </p:nvSpPr>
        <p:spPr bwMode="auto">
          <a:xfrm>
            <a:off x="1011959" y="4341509"/>
            <a:ext cx="322851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Шетпе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34" name="AutoShape 19"/>
          <p:cNvSpPr>
            <a:spLocks noChangeArrowheads="1"/>
          </p:cNvSpPr>
          <p:nvPr/>
        </p:nvSpPr>
        <p:spPr bwMode="auto">
          <a:xfrm>
            <a:off x="542925" y="4780694"/>
            <a:ext cx="4019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Жетыбай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35" name="AutoShape 19"/>
          <p:cNvSpPr>
            <a:spLocks noChangeArrowheads="1"/>
          </p:cNvSpPr>
          <p:nvPr/>
        </p:nvSpPr>
        <p:spPr bwMode="auto">
          <a:xfrm>
            <a:off x="1198408" y="4838817"/>
            <a:ext cx="43477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Жанаозен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73" name="Заголовок 1"/>
          <p:cNvSpPr txBox="1">
            <a:spLocks/>
          </p:cNvSpPr>
          <p:nvPr/>
        </p:nvSpPr>
        <p:spPr>
          <a:xfrm>
            <a:off x="214312" y="71438"/>
            <a:ext cx="5107326" cy="442674"/>
          </a:xfrm>
          <a:prstGeom prst="round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000">
                <a:latin typeface="Impact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Центр – Запад с выходом на Астрахань</a:t>
            </a:r>
          </a:p>
        </p:txBody>
      </p:sp>
      <p:sp>
        <p:nvSpPr>
          <p:cNvPr id="277" name="Номер слайда 14"/>
          <p:cNvSpPr>
            <a:spLocks noGrp="1"/>
          </p:cNvSpPr>
          <p:nvPr>
            <p:ph type="sldNum" sz="quarter" idx="10"/>
          </p:nvPr>
        </p:nvSpPr>
        <p:spPr>
          <a:xfrm>
            <a:off x="8631807" y="6520259"/>
            <a:ext cx="620713" cy="365125"/>
          </a:xfrm>
        </p:spPr>
        <p:txBody>
          <a:bodyPr/>
          <a:lstStyle/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  <a:latin typeface="Impact" pitchFamily="34" charset="0"/>
              </a:rPr>
              <a:t>5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  <p:sp>
        <p:nvSpPr>
          <p:cNvPr id="276" name="Пятиугольник 275"/>
          <p:cNvSpPr/>
          <p:nvPr/>
        </p:nvSpPr>
        <p:spPr>
          <a:xfrm>
            <a:off x="5766932" y="56855"/>
            <a:ext cx="3394815" cy="1209914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r>
              <a:rPr lang="ru-RU" altLang="ru-RU" sz="14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cs typeface="Arial" pitchFamily="34" charset="0"/>
              </a:rPr>
              <a:t>    </a:t>
            </a:r>
            <a:r>
              <a:rPr lang="ru-RU" altLang="ru-RU" sz="13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cs typeface="Arial" pitchFamily="34" charset="0"/>
              </a:rPr>
              <a:t>Основные </a:t>
            </a:r>
            <a:r>
              <a:rPr lang="ru-RU" altLang="ru-RU" sz="1300" dirty="0">
                <a:solidFill>
                  <a:schemeClr val="tx2">
                    <a:lumMod val="75000"/>
                  </a:schemeClr>
                </a:solidFill>
                <a:latin typeface="Impact" pitchFamily="34" charset="0"/>
                <a:cs typeface="Arial" pitchFamily="34" charset="0"/>
              </a:rPr>
              <a:t>показатели проекта</a:t>
            </a:r>
          </a:p>
          <a:p>
            <a:r>
              <a:rPr lang="ru-RU" sz="13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– </a:t>
            </a:r>
            <a: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ea typeface="Calibri" pitchFamily="34" charset="0"/>
                <a:cs typeface="Arial" pitchFamily="34" charset="0"/>
              </a:rPr>
              <a:t>326,7 млрд. тенге</a:t>
            </a:r>
            <a:endParaRPr lang="ru-RU" altLang="ru-RU" sz="1300" dirty="0">
              <a:solidFill>
                <a:schemeClr val="tx2">
                  <a:lumMod val="75000"/>
                </a:schemeClr>
              </a:solidFill>
              <a:latin typeface="Impact" pitchFamily="34" charset="0"/>
              <a:cs typeface="Arial" pitchFamily="34" charset="0"/>
            </a:endParaRPr>
          </a:p>
          <a:p>
            <a:r>
              <a:rPr lang="ru-RU" altLang="ru-RU" sz="13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 </a:t>
            </a:r>
            <a:r>
              <a:rPr lang="ru-RU" altLang="ru-RU" sz="13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cs typeface="Arial" pitchFamily="34" charset="0"/>
              </a:rPr>
              <a:t>РБ, Займы ЕБРР,  АБР</a:t>
            </a:r>
          </a:p>
          <a:p>
            <a:r>
              <a:rPr lang="ru-RU" altLang="ru-RU" sz="13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ротяженность </a:t>
            </a:r>
            <a:r>
              <a:rPr lang="ru-RU" altLang="ru-RU" sz="13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– </a:t>
            </a:r>
            <a:r>
              <a:rPr lang="ru-RU" altLang="ru-RU" sz="13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cs typeface="Arial" pitchFamily="34" charset="0"/>
              </a:rPr>
              <a:t>1 202 км</a:t>
            </a:r>
          </a:p>
          <a:p>
            <a:r>
              <a:rPr lang="ru-RU" altLang="ru-RU" sz="13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реализации –</a:t>
            </a:r>
            <a:r>
              <a:rPr lang="ru-RU" altLang="ru-RU" sz="1300" dirty="0" smtClean="0">
                <a:solidFill>
                  <a:srgbClr val="008000"/>
                </a:solidFill>
                <a:latin typeface="Impact" pitchFamily="34" charset="0"/>
                <a:cs typeface="Arial" pitchFamily="34" charset="0"/>
              </a:rPr>
              <a:t> </a:t>
            </a:r>
            <a:r>
              <a:rPr lang="ru-RU" altLang="ru-RU" sz="13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cs typeface="Arial" pitchFamily="34" charset="0"/>
              </a:rPr>
              <a:t>2010-2021 годы</a:t>
            </a:r>
          </a:p>
          <a:p>
            <a:r>
              <a:rPr lang="ru-RU" altLang="ru-RU" sz="13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Бюджет </a:t>
            </a:r>
            <a:r>
              <a:rPr lang="ru-RU" altLang="ru-RU" sz="13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</a:t>
            </a:r>
            <a:r>
              <a:rPr lang="en-US" altLang="ru-RU" sz="13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8</a:t>
            </a:r>
            <a:r>
              <a:rPr lang="ru-RU" altLang="ru-RU" sz="13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altLang="ru-RU" sz="13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года</a:t>
            </a:r>
            <a:r>
              <a:rPr lang="ru-RU" altLang="ru-RU" sz="1300" dirty="0">
                <a:solidFill>
                  <a:srgbClr val="008000"/>
                </a:solidFill>
                <a:latin typeface="Impact" pitchFamily="34" charset="0"/>
                <a:cs typeface="Arial" pitchFamily="34" charset="0"/>
              </a:rPr>
              <a:t> </a:t>
            </a:r>
            <a:r>
              <a:rPr lang="ru-RU" altLang="ru-RU" sz="13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cs typeface="Arial" pitchFamily="34" charset="0"/>
              </a:rPr>
              <a:t>– 33,6 млрд. тенге</a:t>
            </a:r>
            <a:endParaRPr lang="ru-RU" altLang="ru-RU" sz="1300" dirty="0">
              <a:solidFill>
                <a:schemeClr val="tx2">
                  <a:lumMod val="7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78" name="Line 45"/>
          <p:cNvSpPr>
            <a:spLocks noChangeShapeType="1"/>
          </p:cNvSpPr>
          <p:nvPr/>
        </p:nvSpPr>
        <p:spPr bwMode="auto">
          <a:xfrm>
            <a:off x="6426311" y="6405106"/>
            <a:ext cx="574110" cy="0"/>
          </a:xfrm>
          <a:prstGeom prst="line">
            <a:avLst/>
          </a:prstGeom>
          <a:noFill/>
          <a:ln w="63500">
            <a:solidFill>
              <a:srgbClr val="0070C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79" name="Line 45"/>
          <p:cNvSpPr>
            <a:spLocks noChangeShapeType="1"/>
          </p:cNvSpPr>
          <p:nvPr/>
        </p:nvSpPr>
        <p:spPr bwMode="auto">
          <a:xfrm>
            <a:off x="6417737" y="6223399"/>
            <a:ext cx="574110" cy="0"/>
          </a:xfrm>
          <a:prstGeom prst="line">
            <a:avLst/>
          </a:prstGeom>
          <a:noFill/>
          <a:ln w="63500">
            <a:solidFill>
              <a:srgbClr val="00B05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80" name="Line 45"/>
          <p:cNvSpPr>
            <a:spLocks noChangeShapeType="1"/>
          </p:cNvSpPr>
          <p:nvPr/>
        </p:nvSpPr>
        <p:spPr bwMode="auto">
          <a:xfrm>
            <a:off x="6426149" y="6594139"/>
            <a:ext cx="574109" cy="0"/>
          </a:xfrm>
          <a:prstGeom prst="line">
            <a:avLst/>
          </a:prstGeom>
          <a:noFill/>
          <a:ln w="63500">
            <a:solidFill>
              <a:srgbClr val="7030A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81" name="Rectangle 44"/>
          <p:cNvSpPr>
            <a:spLocks noChangeArrowheads="1"/>
          </p:cNvSpPr>
          <p:nvPr/>
        </p:nvSpPr>
        <p:spPr bwMode="auto">
          <a:xfrm>
            <a:off x="7008280" y="5851773"/>
            <a:ext cx="1476000" cy="900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72000" tIns="36000" rIns="72000" bIns="36000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452438" indent="-1270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200" dirty="0" smtClean="0">
                <a:latin typeface="Franklin Gothic Medium Cond" pitchFamily="34" charset="0"/>
                <a:cs typeface="Arial" charset="0"/>
              </a:rPr>
              <a:t>Условные обозначения</a:t>
            </a:r>
            <a:endParaRPr lang="ru-RU" altLang="ru-RU" sz="1200" dirty="0">
              <a:latin typeface="Franklin Gothic Medium Cond" pitchFamily="34" charset="0"/>
              <a:cs typeface="Arial" charset="0"/>
            </a:endParaRPr>
          </a:p>
          <a:p>
            <a:pPr eaLnBrk="1" hangingPunct="1">
              <a:spcBef>
                <a:spcPct val="0"/>
              </a:spcBef>
              <a:buNone/>
              <a:defRPr/>
            </a:pPr>
            <a:r>
              <a:rPr lang="ru-RU" alt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Medium Cond" pitchFamily="34" charset="0"/>
                <a:cs typeface="Arial" charset="0"/>
              </a:rPr>
              <a:t>завершено до 2018 года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Medium Cond" pitchFamily="34" charset="0"/>
                <a:cs typeface="Arial" charset="0"/>
              </a:rPr>
              <a:t>реконструкция за счет займа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Medium Cond" pitchFamily="34" charset="0"/>
                <a:cs typeface="Arial" charset="0"/>
              </a:rPr>
              <a:t>реконструкция </a:t>
            </a:r>
            <a:r>
              <a:rPr lang="ru-RU" alt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Medium Cond" pitchFamily="34" charset="0"/>
                <a:cs typeface="Arial" charset="0"/>
              </a:rPr>
              <a:t>за </a:t>
            </a:r>
            <a:r>
              <a:rPr lang="ru-RU" alt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Medium Cond" pitchFamily="34" charset="0"/>
                <a:cs typeface="Arial" charset="0"/>
              </a:rPr>
              <a:t>счет РБ</a:t>
            </a:r>
          </a:p>
        </p:txBody>
      </p:sp>
      <p:sp>
        <p:nvSpPr>
          <p:cNvPr id="3" name="Полилиния 2"/>
          <p:cNvSpPr/>
          <p:nvPr/>
        </p:nvSpPr>
        <p:spPr>
          <a:xfrm rot="19979454">
            <a:off x="2173798" y="3099073"/>
            <a:ext cx="134863" cy="45719"/>
          </a:xfrm>
          <a:custGeom>
            <a:avLst/>
            <a:gdLst>
              <a:gd name="connsiteX0" fmla="*/ 61912 w 61912"/>
              <a:gd name="connsiteY0" fmla="*/ 0 h 57150"/>
              <a:gd name="connsiteX1" fmla="*/ 0 w 61912"/>
              <a:gd name="connsiteY1" fmla="*/ 57150 h 5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1912" h="57150">
                <a:moveTo>
                  <a:pt x="61912" y="0"/>
                </a:moveTo>
                <a:lnTo>
                  <a:pt x="0" y="57150"/>
                </a:lnTo>
              </a:path>
            </a:pathLst>
          </a:custGeom>
          <a:ln w="762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Полилиния 102"/>
          <p:cNvSpPr/>
          <p:nvPr/>
        </p:nvSpPr>
        <p:spPr>
          <a:xfrm>
            <a:off x="1533525" y="2980531"/>
            <a:ext cx="990600" cy="463550"/>
          </a:xfrm>
          <a:custGeom>
            <a:avLst/>
            <a:gdLst>
              <a:gd name="connsiteX0" fmla="*/ 990600 w 990600"/>
              <a:gd name="connsiteY0" fmla="*/ 0 h 463550"/>
              <a:gd name="connsiteX1" fmla="*/ 930275 w 990600"/>
              <a:gd name="connsiteY1" fmla="*/ 28575 h 463550"/>
              <a:gd name="connsiteX2" fmla="*/ 911225 w 990600"/>
              <a:gd name="connsiteY2" fmla="*/ 41275 h 463550"/>
              <a:gd name="connsiteX3" fmla="*/ 882650 w 990600"/>
              <a:gd name="connsiteY3" fmla="*/ 63500 h 463550"/>
              <a:gd name="connsiteX4" fmla="*/ 863600 w 990600"/>
              <a:gd name="connsiteY4" fmla="*/ 69850 h 463550"/>
              <a:gd name="connsiteX5" fmla="*/ 819150 w 990600"/>
              <a:gd name="connsiteY5" fmla="*/ 66675 h 463550"/>
              <a:gd name="connsiteX6" fmla="*/ 787400 w 990600"/>
              <a:gd name="connsiteY6" fmla="*/ 73025 h 463550"/>
              <a:gd name="connsiteX7" fmla="*/ 762000 w 990600"/>
              <a:gd name="connsiteY7" fmla="*/ 82550 h 463550"/>
              <a:gd name="connsiteX8" fmla="*/ 736600 w 990600"/>
              <a:gd name="connsiteY8" fmla="*/ 114300 h 463550"/>
              <a:gd name="connsiteX9" fmla="*/ 673100 w 990600"/>
              <a:gd name="connsiteY9" fmla="*/ 171450 h 463550"/>
              <a:gd name="connsiteX10" fmla="*/ 650875 w 990600"/>
              <a:gd name="connsiteY10" fmla="*/ 187325 h 463550"/>
              <a:gd name="connsiteX11" fmla="*/ 619125 w 990600"/>
              <a:gd name="connsiteY11" fmla="*/ 228600 h 463550"/>
              <a:gd name="connsiteX12" fmla="*/ 577850 w 990600"/>
              <a:gd name="connsiteY12" fmla="*/ 260350 h 463550"/>
              <a:gd name="connsiteX13" fmla="*/ 533400 w 990600"/>
              <a:gd name="connsiteY13" fmla="*/ 282575 h 463550"/>
              <a:gd name="connsiteX14" fmla="*/ 476250 w 990600"/>
              <a:gd name="connsiteY14" fmla="*/ 288925 h 463550"/>
              <a:gd name="connsiteX15" fmla="*/ 450850 w 990600"/>
              <a:gd name="connsiteY15" fmla="*/ 295275 h 463550"/>
              <a:gd name="connsiteX16" fmla="*/ 425450 w 990600"/>
              <a:gd name="connsiteY16" fmla="*/ 323850 h 463550"/>
              <a:gd name="connsiteX17" fmla="*/ 387350 w 990600"/>
              <a:gd name="connsiteY17" fmla="*/ 327025 h 463550"/>
              <a:gd name="connsiteX18" fmla="*/ 346075 w 990600"/>
              <a:gd name="connsiteY18" fmla="*/ 342900 h 463550"/>
              <a:gd name="connsiteX19" fmla="*/ 323850 w 990600"/>
              <a:gd name="connsiteY19" fmla="*/ 355600 h 463550"/>
              <a:gd name="connsiteX20" fmla="*/ 301625 w 990600"/>
              <a:gd name="connsiteY20" fmla="*/ 368300 h 463550"/>
              <a:gd name="connsiteX21" fmla="*/ 266700 w 990600"/>
              <a:gd name="connsiteY21" fmla="*/ 371475 h 463550"/>
              <a:gd name="connsiteX22" fmla="*/ 228600 w 990600"/>
              <a:gd name="connsiteY22" fmla="*/ 387350 h 463550"/>
              <a:gd name="connsiteX23" fmla="*/ 187325 w 990600"/>
              <a:gd name="connsiteY23" fmla="*/ 400050 h 463550"/>
              <a:gd name="connsiteX24" fmla="*/ 142875 w 990600"/>
              <a:gd name="connsiteY24" fmla="*/ 412750 h 463550"/>
              <a:gd name="connsiteX25" fmla="*/ 111125 w 990600"/>
              <a:gd name="connsiteY25" fmla="*/ 425450 h 463550"/>
              <a:gd name="connsiteX26" fmla="*/ 82550 w 990600"/>
              <a:gd name="connsiteY26" fmla="*/ 428625 h 463550"/>
              <a:gd name="connsiteX27" fmla="*/ 60325 w 990600"/>
              <a:gd name="connsiteY27" fmla="*/ 434975 h 463550"/>
              <a:gd name="connsiteX28" fmla="*/ 34925 w 990600"/>
              <a:gd name="connsiteY28" fmla="*/ 438150 h 463550"/>
              <a:gd name="connsiteX29" fmla="*/ 9525 w 990600"/>
              <a:gd name="connsiteY29" fmla="*/ 454025 h 463550"/>
              <a:gd name="connsiteX30" fmla="*/ 0 w 990600"/>
              <a:gd name="connsiteY30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990600" h="463550">
                <a:moveTo>
                  <a:pt x="990600" y="0"/>
                </a:moveTo>
                <a:cubicBezTo>
                  <a:pt x="967052" y="10848"/>
                  <a:pt x="943504" y="21696"/>
                  <a:pt x="930275" y="28575"/>
                </a:cubicBezTo>
                <a:cubicBezTo>
                  <a:pt x="917046" y="35454"/>
                  <a:pt x="919162" y="35454"/>
                  <a:pt x="911225" y="41275"/>
                </a:cubicBezTo>
                <a:cubicBezTo>
                  <a:pt x="903288" y="47096"/>
                  <a:pt x="890587" y="58738"/>
                  <a:pt x="882650" y="63500"/>
                </a:cubicBezTo>
                <a:cubicBezTo>
                  <a:pt x="874712" y="68263"/>
                  <a:pt x="874183" y="69321"/>
                  <a:pt x="863600" y="69850"/>
                </a:cubicBezTo>
                <a:cubicBezTo>
                  <a:pt x="853017" y="70379"/>
                  <a:pt x="831850" y="66146"/>
                  <a:pt x="819150" y="66675"/>
                </a:cubicBezTo>
                <a:cubicBezTo>
                  <a:pt x="806450" y="67204"/>
                  <a:pt x="796925" y="70379"/>
                  <a:pt x="787400" y="73025"/>
                </a:cubicBezTo>
                <a:cubicBezTo>
                  <a:pt x="777875" y="75671"/>
                  <a:pt x="770467" y="75671"/>
                  <a:pt x="762000" y="82550"/>
                </a:cubicBezTo>
                <a:cubicBezTo>
                  <a:pt x="753533" y="89429"/>
                  <a:pt x="751417" y="99483"/>
                  <a:pt x="736600" y="114300"/>
                </a:cubicBezTo>
                <a:cubicBezTo>
                  <a:pt x="721783" y="129117"/>
                  <a:pt x="687387" y="159279"/>
                  <a:pt x="673100" y="171450"/>
                </a:cubicBezTo>
                <a:cubicBezTo>
                  <a:pt x="658813" y="183621"/>
                  <a:pt x="659871" y="177800"/>
                  <a:pt x="650875" y="187325"/>
                </a:cubicBezTo>
                <a:cubicBezTo>
                  <a:pt x="641879" y="196850"/>
                  <a:pt x="631296" y="216429"/>
                  <a:pt x="619125" y="228600"/>
                </a:cubicBezTo>
                <a:cubicBezTo>
                  <a:pt x="606954" y="240771"/>
                  <a:pt x="592137" y="251354"/>
                  <a:pt x="577850" y="260350"/>
                </a:cubicBezTo>
                <a:cubicBezTo>
                  <a:pt x="563563" y="269346"/>
                  <a:pt x="550333" y="277813"/>
                  <a:pt x="533400" y="282575"/>
                </a:cubicBezTo>
                <a:cubicBezTo>
                  <a:pt x="516467" y="287337"/>
                  <a:pt x="490008" y="286808"/>
                  <a:pt x="476250" y="288925"/>
                </a:cubicBezTo>
                <a:cubicBezTo>
                  <a:pt x="462492" y="291042"/>
                  <a:pt x="459317" y="289454"/>
                  <a:pt x="450850" y="295275"/>
                </a:cubicBezTo>
                <a:cubicBezTo>
                  <a:pt x="442383" y="301096"/>
                  <a:pt x="436033" y="318558"/>
                  <a:pt x="425450" y="323850"/>
                </a:cubicBezTo>
                <a:cubicBezTo>
                  <a:pt x="414867" y="329142"/>
                  <a:pt x="400579" y="323850"/>
                  <a:pt x="387350" y="327025"/>
                </a:cubicBezTo>
                <a:cubicBezTo>
                  <a:pt x="374121" y="330200"/>
                  <a:pt x="356658" y="338138"/>
                  <a:pt x="346075" y="342900"/>
                </a:cubicBezTo>
                <a:cubicBezTo>
                  <a:pt x="335492" y="347663"/>
                  <a:pt x="323850" y="355600"/>
                  <a:pt x="323850" y="355600"/>
                </a:cubicBezTo>
                <a:cubicBezTo>
                  <a:pt x="316442" y="359833"/>
                  <a:pt x="311150" y="365654"/>
                  <a:pt x="301625" y="368300"/>
                </a:cubicBezTo>
                <a:cubicBezTo>
                  <a:pt x="292100" y="370946"/>
                  <a:pt x="278871" y="368300"/>
                  <a:pt x="266700" y="371475"/>
                </a:cubicBezTo>
                <a:cubicBezTo>
                  <a:pt x="254529" y="374650"/>
                  <a:pt x="241829" y="382588"/>
                  <a:pt x="228600" y="387350"/>
                </a:cubicBezTo>
                <a:cubicBezTo>
                  <a:pt x="215371" y="392112"/>
                  <a:pt x="201612" y="395817"/>
                  <a:pt x="187325" y="400050"/>
                </a:cubicBezTo>
                <a:cubicBezTo>
                  <a:pt x="173038" y="404283"/>
                  <a:pt x="155575" y="408517"/>
                  <a:pt x="142875" y="412750"/>
                </a:cubicBezTo>
                <a:cubicBezTo>
                  <a:pt x="130175" y="416983"/>
                  <a:pt x="121179" y="422804"/>
                  <a:pt x="111125" y="425450"/>
                </a:cubicBezTo>
                <a:cubicBezTo>
                  <a:pt x="101071" y="428096"/>
                  <a:pt x="91017" y="427038"/>
                  <a:pt x="82550" y="428625"/>
                </a:cubicBezTo>
                <a:cubicBezTo>
                  <a:pt x="74083" y="430212"/>
                  <a:pt x="68263" y="433387"/>
                  <a:pt x="60325" y="434975"/>
                </a:cubicBezTo>
                <a:cubicBezTo>
                  <a:pt x="52387" y="436563"/>
                  <a:pt x="43392" y="434975"/>
                  <a:pt x="34925" y="438150"/>
                </a:cubicBezTo>
                <a:cubicBezTo>
                  <a:pt x="26458" y="441325"/>
                  <a:pt x="9525" y="454025"/>
                  <a:pt x="9525" y="454025"/>
                </a:cubicBezTo>
                <a:cubicBezTo>
                  <a:pt x="3704" y="458258"/>
                  <a:pt x="1852" y="460904"/>
                  <a:pt x="0" y="463550"/>
                </a:cubicBezTo>
              </a:path>
            </a:pathLst>
          </a:custGeom>
          <a:noFill/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олилиния 23"/>
          <p:cNvSpPr/>
          <p:nvPr/>
        </p:nvSpPr>
        <p:spPr>
          <a:xfrm>
            <a:off x="1221581" y="3443248"/>
            <a:ext cx="302419" cy="54808"/>
          </a:xfrm>
          <a:custGeom>
            <a:avLst/>
            <a:gdLst>
              <a:gd name="connsiteX0" fmla="*/ 0 w 302419"/>
              <a:gd name="connsiteY0" fmla="*/ 54808 h 54808"/>
              <a:gd name="connsiteX1" fmla="*/ 64294 w 302419"/>
              <a:gd name="connsiteY1" fmla="*/ 50046 h 54808"/>
              <a:gd name="connsiteX2" fmla="*/ 92869 w 302419"/>
              <a:gd name="connsiteY2" fmla="*/ 40521 h 54808"/>
              <a:gd name="connsiteX3" fmla="*/ 123825 w 302419"/>
              <a:gd name="connsiteY3" fmla="*/ 23852 h 54808"/>
              <a:gd name="connsiteX4" fmla="*/ 159544 w 302419"/>
              <a:gd name="connsiteY4" fmla="*/ 11946 h 54808"/>
              <a:gd name="connsiteX5" fmla="*/ 180975 w 302419"/>
              <a:gd name="connsiteY5" fmla="*/ 16708 h 54808"/>
              <a:gd name="connsiteX6" fmla="*/ 195263 w 302419"/>
              <a:gd name="connsiteY6" fmla="*/ 26233 h 54808"/>
              <a:gd name="connsiteX7" fmla="*/ 223838 w 302419"/>
              <a:gd name="connsiteY7" fmla="*/ 16708 h 54808"/>
              <a:gd name="connsiteX8" fmla="*/ 250032 w 302419"/>
              <a:gd name="connsiteY8" fmla="*/ 7183 h 54808"/>
              <a:gd name="connsiteX9" fmla="*/ 276225 w 302419"/>
              <a:gd name="connsiteY9" fmla="*/ 40 h 54808"/>
              <a:gd name="connsiteX10" fmla="*/ 302419 w 302419"/>
              <a:gd name="connsiteY10" fmla="*/ 4802 h 54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2419" h="54808">
                <a:moveTo>
                  <a:pt x="0" y="54808"/>
                </a:moveTo>
                <a:cubicBezTo>
                  <a:pt x="24408" y="53617"/>
                  <a:pt x="48816" y="52427"/>
                  <a:pt x="64294" y="50046"/>
                </a:cubicBezTo>
                <a:cubicBezTo>
                  <a:pt x="79772" y="47665"/>
                  <a:pt x="82947" y="44887"/>
                  <a:pt x="92869" y="40521"/>
                </a:cubicBezTo>
                <a:cubicBezTo>
                  <a:pt x="102791" y="36155"/>
                  <a:pt x="112713" y="28614"/>
                  <a:pt x="123825" y="23852"/>
                </a:cubicBezTo>
                <a:cubicBezTo>
                  <a:pt x="134937" y="19090"/>
                  <a:pt x="150019" y="13137"/>
                  <a:pt x="159544" y="11946"/>
                </a:cubicBezTo>
                <a:cubicBezTo>
                  <a:pt x="169069" y="10755"/>
                  <a:pt x="175022" y="14327"/>
                  <a:pt x="180975" y="16708"/>
                </a:cubicBezTo>
                <a:cubicBezTo>
                  <a:pt x="186928" y="19089"/>
                  <a:pt x="188119" y="26233"/>
                  <a:pt x="195263" y="26233"/>
                </a:cubicBezTo>
                <a:cubicBezTo>
                  <a:pt x="202407" y="26233"/>
                  <a:pt x="214710" y="19883"/>
                  <a:pt x="223838" y="16708"/>
                </a:cubicBezTo>
                <a:cubicBezTo>
                  <a:pt x="232966" y="13533"/>
                  <a:pt x="241301" y="9961"/>
                  <a:pt x="250032" y="7183"/>
                </a:cubicBezTo>
                <a:cubicBezTo>
                  <a:pt x="258763" y="4405"/>
                  <a:pt x="267494" y="437"/>
                  <a:pt x="276225" y="40"/>
                </a:cubicBezTo>
                <a:cubicBezTo>
                  <a:pt x="284956" y="-357"/>
                  <a:pt x="293687" y="2222"/>
                  <a:pt x="302419" y="4802"/>
                </a:cubicBezTo>
              </a:path>
            </a:pathLst>
          </a:cu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2" name="Полилиния 281"/>
          <p:cNvSpPr/>
          <p:nvPr/>
        </p:nvSpPr>
        <p:spPr>
          <a:xfrm>
            <a:off x="1226327" y="3443248"/>
            <a:ext cx="302419" cy="54808"/>
          </a:xfrm>
          <a:custGeom>
            <a:avLst/>
            <a:gdLst>
              <a:gd name="connsiteX0" fmla="*/ 0 w 302419"/>
              <a:gd name="connsiteY0" fmla="*/ 54808 h 54808"/>
              <a:gd name="connsiteX1" fmla="*/ 64294 w 302419"/>
              <a:gd name="connsiteY1" fmla="*/ 50046 h 54808"/>
              <a:gd name="connsiteX2" fmla="*/ 92869 w 302419"/>
              <a:gd name="connsiteY2" fmla="*/ 40521 h 54808"/>
              <a:gd name="connsiteX3" fmla="*/ 123825 w 302419"/>
              <a:gd name="connsiteY3" fmla="*/ 23852 h 54808"/>
              <a:gd name="connsiteX4" fmla="*/ 159544 w 302419"/>
              <a:gd name="connsiteY4" fmla="*/ 11946 h 54808"/>
              <a:gd name="connsiteX5" fmla="*/ 180975 w 302419"/>
              <a:gd name="connsiteY5" fmla="*/ 16708 h 54808"/>
              <a:gd name="connsiteX6" fmla="*/ 195263 w 302419"/>
              <a:gd name="connsiteY6" fmla="*/ 26233 h 54808"/>
              <a:gd name="connsiteX7" fmla="*/ 223838 w 302419"/>
              <a:gd name="connsiteY7" fmla="*/ 16708 h 54808"/>
              <a:gd name="connsiteX8" fmla="*/ 250032 w 302419"/>
              <a:gd name="connsiteY8" fmla="*/ 7183 h 54808"/>
              <a:gd name="connsiteX9" fmla="*/ 276225 w 302419"/>
              <a:gd name="connsiteY9" fmla="*/ 40 h 54808"/>
              <a:gd name="connsiteX10" fmla="*/ 302419 w 302419"/>
              <a:gd name="connsiteY10" fmla="*/ 4802 h 54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2419" h="54808">
                <a:moveTo>
                  <a:pt x="0" y="54808"/>
                </a:moveTo>
                <a:cubicBezTo>
                  <a:pt x="24408" y="53617"/>
                  <a:pt x="48816" y="52427"/>
                  <a:pt x="64294" y="50046"/>
                </a:cubicBezTo>
                <a:cubicBezTo>
                  <a:pt x="79772" y="47665"/>
                  <a:pt x="82947" y="44887"/>
                  <a:pt x="92869" y="40521"/>
                </a:cubicBezTo>
                <a:cubicBezTo>
                  <a:pt x="102791" y="36155"/>
                  <a:pt x="112713" y="28614"/>
                  <a:pt x="123825" y="23852"/>
                </a:cubicBezTo>
                <a:cubicBezTo>
                  <a:pt x="134937" y="19090"/>
                  <a:pt x="150019" y="13137"/>
                  <a:pt x="159544" y="11946"/>
                </a:cubicBezTo>
                <a:cubicBezTo>
                  <a:pt x="169069" y="10755"/>
                  <a:pt x="175022" y="14327"/>
                  <a:pt x="180975" y="16708"/>
                </a:cubicBezTo>
                <a:cubicBezTo>
                  <a:pt x="186928" y="19089"/>
                  <a:pt x="188119" y="26233"/>
                  <a:pt x="195263" y="26233"/>
                </a:cubicBezTo>
                <a:cubicBezTo>
                  <a:pt x="202407" y="26233"/>
                  <a:pt x="214710" y="19883"/>
                  <a:pt x="223838" y="16708"/>
                </a:cubicBezTo>
                <a:cubicBezTo>
                  <a:pt x="232966" y="13533"/>
                  <a:pt x="241301" y="9961"/>
                  <a:pt x="250032" y="7183"/>
                </a:cubicBezTo>
                <a:cubicBezTo>
                  <a:pt x="258763" y="4405"/>
                  <a:pt x="267494" y="437"/>
                  <a:pt x="276225" y="40"/>
                </a:cubicBezTo>
                <a:cubicBezTo>
                  <a:pt x="284956" y="-357"/>
                  <a:pt x="293687" y="2222"/>
                  <a:pt x="302419" y="4802"/>
                </a:cubicBezTo>
              </a:path>
            </a:pathLst>
          </a:cu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олилиния 26"/>
          <p:cNvSpPr/>
          <p:nvPr/>
        </p:nvSpPr>
        <p:spPr>
          <a:xfrm>
            <a:off x="752587" y="4294199"/>
            <a:ext cx="1081310" cy="423592"/>
          </a:xfrm>
          <a:custGeom>
            <a:avLst/>
            <a:gdLst>
              <a:gd name="connsiteX0" fmla="*/ 1078706 w 1081310"/>
              <a:gd name="connsiteY0" fmla="*/ 0 h 423592"/>
              <a:gd name="connsiteX1" fmla="*/ 1076325 w 1081310"/>
              <a:gd name="connsiteY1" fmla="*/ 59531 h 423592"/>
              <a:gd name="connsiteX2" fmla="*/ 1033463 w 1081310"/>
              <a:gd name="connsiteY2" fmla="*/ 71437 h 423592"/>
              <a:gd name="connsiteX3" fmla="*/ 983456 w 1081310"/>
              <a:gd name="connsiteY3" fmla="*/ 90487 h 423592"/>
              <a:gd name="connsiteX4" fmla="*/ 919163 w 1081310"/>
              <a:gd name="connsiteY4" fmla="*/ 119062 h 423592"/>
              <a:gd name="connsiteX5" fmla="*/ 835819 w 1081310"/>
              <a:gd name="connsiteY5" fmla="*/ 152400 h 423592"/>
              <a:gd name="connsiteX6" fmla="*/ 723900 w 1081310"/>
              <a:gd name="connsiteY6" fmla="*/ 197644 h 423592"/>
              <a:gd name="connsiteX7" fmla="*/ 552450 w 1081310"/>
              <a:gd name="connsiteY7" fmla="*/ 276225 h 423592"/>
              <a:gd name="connsiteX8" fmla="*/ 502444 w 1081310"/>
              <a:gd name="connsiteY8" fmla="*/ 290512 h 423592"/>
              <a:gd name="connsiteX9" fmla="*/ 469106 w 1081310"/>
              <a:gd name="connsiteY9" fmla="*/ 278606 h 423592"/>
              <a:gd name="connsiteX10" fmla="*/ 385763 w 1081310"/>
              <a:gd name="connsiteY10" fmla="*/ 238125 h 423592"/>
              <a:gd name="connsiteX11" fmla="*/ 347663 w 1081310"/>
              <a:gd name="connsiteY11" fmla="*/ 228600 h 423592"/>
              <a:gd name="connsiteX12" fmla="*/ 297656 w 1081310"/>
              <a:gd name="connsiteY12" fmla="*/ 211931 h 423592"/>
              <a:gd name="connsiteX13" fmla="*/ 261938 w 1081310"/>
              <a:gd name="connsiteY13" fmla="*/ 223837 h 423592"/>
              <a:gd name="connsiteX14" fmla="*/ 250031 w 1081310"/>
              <a:gd name="connsiteY14" fmla="*/ 266700 h 423592"/>
              <a:gd name="connsiteX15" fmla="*/ 238125 w 1081310"/>
              <a:gd name="connsiteY15" fmla="*/ 314325 h 423592"/>
              <a:gd name="connsiteX16" fmla="*/ 219075 w 1081310"/>
              <a:gd name="connsiteY16" fmla="*/ 385762 h 423592"/>
              <a:gd name="connsiteX17" fmla="*/ 202406 w 1081310"/>
              <a:gd name="connsiteY17" fmla="*/ 419100 h 423592"/>
              <a:gd name="connsiteX18" fmla="*/ 188119 w 1081310"/>
              <a:gd name="connsiteY18" fmla="*/ 421481 h 423592"/>
              <a:gd name="connsiteX19" fmla="*/ 142875 w 1081310"/>
              <a:gd name="connsiteY19" fmla="*/ 402431 h 423592"/>
              <a:gd name="connsiteX20" fmla="*/ 97631 w 1081310"/>
              <a:gd name="connsiteY20" fmla="*/ 376237 h 423592"/>
              <a:gd name="connsiteX21" fmla="*/ 64294 w 1081310"/>
              <a:gd name="connsiteY21" fmla="*/ 361950 h 423592"/>
              <a:gd name="connsiteX22" fmla="*/ 35719 w 1081310"/>
              <a:gd name="connsiteY22" fmla="*/ 347662 h 423592"/>
              <a:gd name="connsiteX23" fmla="*/ 0 w 1081310"/>
              <a:gd name="connsiteY23" fmla="*/ 330994 h 423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081310" h="423592">
                <a:moveTo>
                  <a:pt x="1078706" y="0"/>
                </a:moveTo>
                <a:cubicBezTo>
                  <a:pt x="1081285" y="23812"/>
                  <a:pt x="1083865" y="47625"/>
                  <a:pt x="1076325" y="59531"/>
                </a:cubicBezTo>
                <a:cubicBezTo>
                  <a:pt x="1068785" y="71437"/>
                  <a:pt x="1048941" y="66278"/>
                  <a:pt x="1033463" y="71437"/>
                </a:cubicBezTo>
                <a:cubicBezTo>
                  <a:pt x="1017985" y="76596"/>
                  <a:pt x="1002506" y="82550"/>
                  <a:pt x="983456" y="90487"/>
                </a:cubicBezTo>
                <a:cubicBezTo>
                  <a:pt x="964406" y="98424"/>
                  <a:pt x="943769" y="108743"/>
                  <a:pt x="919163" y="119062"/>
                </a:cubicBezTo>
                <a:cubicBezTo>
                  <a:pt x="894557" y="129381"/>
                  <a:pt x="835819" y="152400"/>
                  <a:pt x="835819" y="152400"/>
                </a:cubicBezTo>
                <a:cubicBezTo>
                  <a:pt x="803275" y="165497"/>
                  <a:pt x="771128" y="177007"/>
                  <a:pt x="723900" y="197644"/>
                </a:cubicBezTo>
                <a:cubicBezTo>
                  <a:pt x="676672" y="218282"/>
                  <a:pt x="589359" y="260747"/>
                  <a:pt x="552450" y="276225"/>
                </a:cubicBezTo>
                <a:cubicBezTo>
                  <a:pt x="515541" y="291703"/>
                  <a:pt x="516335" y="290115"/>
                  <a:pt x="502444" y="290512"/>
                </a:cubicBezTo>
                <a:cubicBezTo>
                  <a:pt x="488553" y="290909"/>
                  <a:pt x="488553" y="287337"/>
                  <a:pt x="469106" y="278606"/>
                </a:cubicBezTo>
                <a:cubicBezTo>
                  <a:pt x="449659" y="269875"/>
                  <a:pt x="406003" y="246459"/>
                  <a:pt x="385763" y="238125"/>
                </a:cubicBezTo>
                <a:cubicBezTo>
                  <a:pt x="365523" y="229791"/>
                  <a:pt x="362347" y="232966"/>
                  <a:pt x="347663" y="228600"/>
                </a:cubicBezTo>
                <a:cubicBezTo>
                  <a:pt x="332978" y="224234"/>
                  <a:pt x="311943" y="212725"/>
                  <a:pt x="297656" y="211931"/>
                </a:cubicBezTo>
                <a:cubicBezTo>
                  <a:pt x="283369" y="211137"/>
                  <a:pt x="269876" y="214709"/>
                  <a:pt x="261938" y="223837"/>
                </a:cubicBezTo>
                <a:cubicBezTo>
                  <a:pt x="254000" y="232965"/>
                  <a:pt x="254000" y="251619"/>
                  <a:pt x="250031" y="266700"/>
                </a:cubicBezTo>
                <a:cubicBezTo>
                  <a:pt x="246062" y="281781"/>
                  <a:pt x="243284" y="294481"/>
                  <a:pt x="238125" y="314325"/>
                </a:cubicBezTo>
                <a:cubicBezTo>
                  <a:pt x="232966" y="334169"/>
                  <a:pt x="225028" y="368300"/>
                  <a:pt x="219075" y="385762"/>
                </a:cubicBezTo>
                <a:cubicBezTo>
                  <a:pt x="213122" y="403225"/>
                  <a:pt x="207565" y="413147"/>
                  <a:pt x="202406" y="419100"/>
                </a:cubicBezTo>
                <a:cubicBezTo>
                  <a:pt x="197247" y="425053"/>
                  <a:pt x="198041" y="424259"/>
                  <a:pt x="188119" y="421481"/>
                </a:cubicBezTo>
                <a:cubicBezTo>
                  <a:pt x="178197" y="418703"/>
                  <a:pt x="157956" y="409972"/>
                  <a:pt x="142875" y="402431"/>
                </a:cubicBezTo>
                <a:cubicBezTo>
                  <a:pt x="127794" y="394890"/>
                  <a:pt x="110728" y="382984"/>
                  <a:pt x="97631" y="376237"/>
                </a:cubicBezTo>
                <a:cubicBezTo>
                  <a:pt x="84534" y="369490"/>
                  <a:pt x="74613" y="366712"/>
                  <a:pt x="64294" y="361950"/>
                </a:cubicBezTo>
                <a:cubicBezTo>
                  <a:pt x="53975" y="357188"/>
                  <a:pt x="46435" y="352821"/>
                  <a:pt x="35719" y="347662"/>
                </a:cubicBezTo>
                <a:cubicBezTo>
                  <a:pt x="25003" y="342503"/>
                  <a:pt x="12501" y="336748"/>
                  <a:pt x="0" y="330994"/>
                </a:cubicBezTo>
              </a:path>
            </a:pathLst>
          </a:cu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3" name="Полилиния 282"/>
          <p:cNvSpPr/>
          <p:nvPr/>
        </p:nvSpPr>
        <p:spPr>
          <a:xfrm>
            <a:off x="752587" y="4294907"/>
            <a:ext cx="1081310" cy="423592"/>
          </a:xfrm>
          <a:custGeom>
            <a:avLst/>
            <a:gdLst>
              <a:gd name="connsiteX0" fmla="*/ 1078706 w 1081310"/>
              <a:gd name="connsiteY0" fmla="*/ 0 h 423592"/>
              <a:gd name="connsiteX1" fmla="*/ 1076325 w 1081310"/>
              <a:gd name="connsiteY1" fmla="*/ 59531 h 423592"/>
              <a:gd name="connsiteX2" fmla="*/ 1033463 w 1081310"/>
              <a:gd name="connsiteY2" fmla="*/ 71437 h 423592"/>
              <a:gd name="connsiteX3" fmla="*/ 983456 w 1081310"/>
              <a:gd name="connsiteY3" fmla="*/ 90487 h 423592"/>
              <a:gd name="connsiteX4" fmla="*/ 919163 w 1081310"/>
              <a:gd name="connsiteY4" fmla="*/ 119062 h 423592"/>
              <a:gd name="connsiteX5" fmla="*/ 835819 w 1081310"/>
              <a:gd name="connsiteY5" fmla="*/ 152400 h 423592"/>
              <a:gd name="connsiteX6" fmla="*/ 723900 w 1081310"/>
              <a:gd name="connsiteY6" fmla="*/ 197644 h 423592"/>
              <a:gd name="connsiteX7" fmla="*/ 552450 w 1081310"/>
              <a:gd name="connsiteY7" fmla="*/ 276225 h 423592"/>
              <a:gd name="connsiteX8" fmla="*/ 502444 w 1081310"/>
              <a:gd name="connsiteY8" fmla="*/ 290512 h 423592"/>
              <a:gd name="connsiteX9" fmla="*/ 469106 w 1081310"/>
              <a:gd name="connsiteY9" fmla="*/ 278606 h 423592"/>
              <a:gd name="connsiteX10" fmla="*/ 385763 w 1081310"/>
              <a:gd name="connsiteY10" fmla="*/ 238125 h 423592"/>
              <a:gd name="connsiteX11" fmla="*/ 347663 w 1081310"/>
              <a:gd name="connsiteY11" fmla="*/ 228600 h 423592"/>
              <a:gd name="connsiteX12" fmla="*/ 297656 w 1081310"/>
              <a:gd name="connsiteY12" fmla="*/ 211931 h 423592"/>
              <a:gd name="connsiteX13" fmla="*/ 261938 w 1081310"/>
              <a:gd name="connsiteY13" fmla="*/ 223837 h 423592"/>
              <a:gd name="connsiteX14" fmla="*/ 250031 w 1081310"/>
              <a:gd name="connsiteY14" fmla="*/ 266700 h 423592"/>
              <a:gd name="connsiteX15" fmla="*/ 238125 w 1081310"/>
              <a:gd name="connsiteY15" fmla="*/ 314325 h 423592"/>
              <a:gd name="connsiteX16" fmla="*/ 219075 w 1081310"/>
              <a:gd name="connsiteY16" fmla="*/ 385762 h 423592"/>
              <a:gd name="connsiteX17" fmla="*/ 202406 w 1081310"/>
              <a:gd name="connsiteY17" fmla="*/ 419100 h 423592"/>
              <a:gd name="connsiteX18" fmla="*/ 188119 w 1081310"/>
              <a:gd name="connsiteY18" fmla="*/ 421481 h 423592"/>
              <a:gd name="connsiteX19" fmla="*/ 142875 w 1081310"/>
              <a:gd name="connsiteY19" fmla="*/ 402431 h 423592"/>
              <a:gd name="connsiteX20" fmla="*/ 97631 w 1081310"/>
              <a:gd name="connsiteY20" fmla="*/ 376237 h 423592"/>
              <a:gd name="connsiteX21" fmla="*/ 64294 w 1081310"/>
              <a:gd name="connsiteY21" fmla="*/ 361950 h 423592"/>
              <a:gd name="connsiteX22" fmla="*/ 35719 w 1081310"/>
              <a:gd name="connsiteY22" fmla="*/ 347662 h 423592"/>
              <a:gd name="connsiteX23" fmla="*/ 0 w 1081310"/>
              <a:gd name="connsiteY23" fmla="*/ 330994 h 423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081310" h="423592">
                <a:moveTo>
                  <a:pt x="1078706" y="0"/>
                </a:moveTo>
                <a:cubicBezTo>
                  <a:pt x="1081285" y="23812"/>
                  <a:pt x="1083865" y="47625"/>
                  <a:pt x="1076325" y="59531"/>
                </a:cubicBezTo>
                <a:cubicBezTo>
                  <a:pt x="1068785" y="71437"/>
                  <a:pt x="1048941" y="66278"/>
                  <a:pt x="1033463" y="71437"/>
                </a:cubicBezTo>
                <a:cubicBezTo>
                  <a:pt x="1017985" y="76596"/>
                  <a:pt x="1002506" y="82550"/>
                  <a:pt x="983456" y="90487"/>
                </a:cubicBezTo>
                <a:cubicBezTo>
                  <a:pt x="964406" y="98424"/>
                  <a:pt x="943769" y="108743"/>
                  <a:pt x="919163" y="119062"/>
                </a:cubicBezTo>
                <a:cubicBezTo>
                  <a:pt x="894557" y="129381"/>
                  <a:pt x="835819" y="152400"/>
                  <a:pt x="835819" y="152400"/>
                </a:cubicBezTo>
                <a:cubicBezTo>
                  <a:pt x="803275" y="165497"/>
                  <a:pt x="771128" y="177007"/>
                  <a:pt x="723900" y="197644"/>
                </a:cubicBezTo>
                <a:cubicBezTo>
                  <a:pt x="676672" y="218282"/>
                  <a:pt x="589359" y="260747"/>
                  <a:pt x="552450" y="276225"/>
                </a:cubicBezTo>
                <a:cubicBezTo>
                  <a:pt x="515541" y="291703"/>
                  <a:pt x="516335" y="290115"/>
                  <a:pt x="502444" y="290512"/>
                </a:cubicBezTo>
                <a:cubicBezTo>
                  <a:pt x="488553" y="290909"/>
                  <a:pt x="488553" y="287337"/>
                  <a:pt x="469106" y="278606"/>
                </a:cubicBezTo>
                <a:cubicBezTo>
                  <a:pt x="449659" y="269875"/>
                  <a:pt x="406003" y="246459"/>
                  <a:pt x="385763" y="238125"/>
                </a:cubicBezTo>
                <a:cubicBezTo>
                  <a:pt x="365523" y="229791"/>
                  <a:pt x="362347" y="232966"/>
                  <a:pt x="347663" y="228600"/>
                </a:cubicBezTo>
                <a:cubicBezTo>
                  <a:pt x="332978" y="224234"/>
                  <a:pt x="311943" y="212725"/>
                  <a:pt x="297656" y="211931"/>
                </a:cubicBezTo>
                <a:cubicBezTo>
                  <a:pt x="283369" y="211137"/>
                  <a:pt x="269876" y="214709"/>
                  <a:pt x="261938" y="223837"/>
                </a:cubicBezTo>
                <a:cubicBezTo>
                  <a:pt x="254000" y="232965"/>
                  <a:pt x="254000" y="251619"/>
                  <a:pt x="250031" y="266700"/>
                </a:cubicBezTo>
                <a:cubicBezTo>
                  <a:pt x="246062" y="281781"/>
                  <a:pt x="243284" y="294481"/>
                  <a:pt x="238125" y="314325"/>
                </a:cubicBezTo>
                <a:cubicBezTo>
                  <a:pt x="232966" y="334169"/>
                  <a:pt x="225028" y="368300"/>
                  <a:pt x="219075" y="385762"/>
                </a:cubicBezTo>
                <a:cubicBezTo>
                  <a:pt x="213122" y="403225"/>
                  <a:pt x="207565" y="413147"/>
                  <a:pt x="202406" y="419100"/>
                </a:cubicBezTo>
                <a:cubicBezTo>
                  <a:pt x="197247" y="425053"/>
                  <a:pt x="198041" y="424259"/>
                  <a:pt x="188119" y="421481"/>
                </a:cubicBezTo>
                <a:cubicBezTo>
                  <a:pt x="178197" y="418703"/>
                  <a:pt x="157956" y="409972"/>
                  <a:pt x="142875" y="402431"/>
                </a:cubicBezTo>
                <a:cubicBezTo>
                  <a:pt x="127794" y="394890"/>
                  <a:pt x="110728" y="382984"/>
                  <a:pt x="97631" y="376237"/>
                </a:cubicBezTo>
                <a:cubicBezTo>
                  <a:pt x="84534" y="369490"/>
                  <a:pt x="74613" y="366712"/>
                  <a:pt x="64294" y="361950"/>
                </a:cubicBezTo>
                <a:cubicBezTo>
                  <a:pt x="53975" y="357188"/>
                  <a:pt x="46435" y="352821"/>
                  <a:pt x="35719" y="347662"/>
                </a:cubicBezTo>
                <a:cubicBezTo>
                  <a:pt x="25003" y="342503"/>
                  <a:pt x="12501" y="336748"/>
                  <a:pt x="0" y="330994"/>
                </a:cubicBezTo>
              </a:path>
            </a:pathLst>
          </a:cu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7" name="Скругленный прямоугольник 286"/>
          <p:cNvSpPr/>
          <p:nvPr/>
        </p:nvSpPr>
        <p:spPr>
          <a:xfrm>
            <a:off x="1297054" y="5500043"/>
            <a:ext cx="2293428" cy="81216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000" dirty="0" smtClean="0">
                <a:solidFill>
                  <a:srgbClr val="00206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Жетыбай-Жанаозен - км</a:t>
            </a:r>
          </a:p>
          <a:p>
            <a:r>
              <a:rPr lang="ru-RU" altLang="ru-RU" sz="10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реализации</a:t>
            </a:r>
            <a:r>
              <a:rPr lang="ru-RU" altLang="ru-RU" sz="10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: </a:t>
            </a:r>
            <a:r>
              <a:rPr lang="ru-RU" altLang="ru-RU" sz="10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7-2020</a:t>
            </a:r>
            <a:r>
              <a:rPr lang="ru-RU" altLang="ru-RU" sz="10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altLang="ru-RU" sz="10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годы</a:t>
            </a:r>
          </a:p>
          <a:p>
            <a:r>
              <a:rPr lang="ru-RU" altLang="ru-RU" sz="10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</a:t>
            </a:r>
            <a:r>
              <a:rPr lang="ru-RU" altLang="ru-RU" sz="10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– </a:t>
            </a:r>
            <a:r>
              <a:rPr lang="ru-RU" altLang="ru-RU" sz="100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займ</a:t>
            </a:r>
            <a:r>
              <a:rPr lang="ru-RU" altLang="ru-RU" sz="10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 ы АБР</a:t>
            </a:r>
          </a:p>
          <a:p>
            <a:r>
              <a:rPr lang="ru-RU" altLang="ru-RU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Impact" pitchFamily="34" charset="0"/>
                <a:ea typeface="MS PGothic"/>
                <a:cs typeface="MS PGothic"/>
              </a:rPr>
              <a:t>Стоимость </a:t>
            </a:r>
            <a:r>
              <a:rPr lang="ru-RU" altLang="ru-RU" sz="10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Impact" pitchFamily="34" charset="0"/>
                <a:ea typeface="MS PGothic"/>
                <a:cs typeface="MS PGothic"/>
              </a:rPr>
              <a:t>– </a:t>
            </a:r>
            <a:r>
              <a:rPr lang="ru-RU" altLang="ru-RU" sz="100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MS PGothic"/>
              </a:rPr>
              <a:t>30 млрд. тенге</a:t>
            </a:r>
          </a:p>
          <a:p>
            <a:r>
              <a:rPr lang="ru-RU" altLang="ru-RU" sz="100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План </a:t>
            </a:r>
            <a:r>
              <a:rPr lang="ru-RU" altLang="ru-RU" sz="100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на </a:t>
            </a:r>
            <a:r>
              <a:rPr lang="ru-RU" altLang="ru-RU" sz="100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2018 </a:t>
            </a:r>
            <a:r>
              <a:rPr lang="ru-RU" altLang="ru-RU" sz="100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год </a:t>
            </a:r>
            <a:r>
              <a:rPr lang="ru-RU" altLang="ru-RU" sz="100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– </a:t>
            </a:r>
            <a:r>
              <a:rPr lang="ru-RU" altLang="ru-RU" sz="100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MS PGothic"/>
              </a:rPr>
              <a:t>12,2</a:t>
            </a:r>
            <a:r>
              <a:rPr lang="ru-RU" altLang="ru-RU" sz="100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 </a:t>
            </a:r>
            <a:r>
              <a:rPr lang="ru-RU" altLang="ru-RU" sz="100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MS PGothic"/>
              </a:rPr>
              <a:t>млрд</a:t>
            </a:r>
            <a:r>
              <a:rPr lang="ru-RU" altLang="ru-RU" sz="1000" dirty="0">
                <a:solidFill>
                  <a:srgbClr val="002060"/>
                </a:solidFill>
                <a:latin typeface="Impact" pitchFamily="34" charset="0"/>
                <a:ea typeface="MS PGothic"/>
                <a:cs typeface="MS PGothic"/>
              </a:rPr>
              <a:t>. </a:t>
            </a:r>
            <a:r>
              <a:rPr lang="ru-RU" altLang="ru-RU" sz="100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MS PGothic"/>
              </a:rPr>
              <a:t>тенге</a:t>
            </a:r>
            <a:endParaRPr lang="ru-RU" altLang="ru-RU" sz="1000" dirty="0" smtClean="0">
              <a:solidFill>
                <a:srgbClr val="595959"/>
              </a:solidFill>
              <a:latin typeface="Impact" pitchFamily="34" charset="0"/>
              <a:ea typeface="MS PGothic"/>
              <a:cs typeface="MS PGothic"/>
            </a:endParaRPr>
          </a:p>
        </p:txBody>
      </p:sp>
      <p:sp>
        <p:nvSpPr>
          <p:cNvPr id="292" name="Скругленный прямоугольник 291"/>
          <p:cNvSpPr/>
          <p:nvPr/>
        </p:nvSpPr>
        <p:spPr bwMode="auto">
          <a:xfrm>
            <a:off x="2263057" y="872883"/>
            <a:ext cx="2020912" cy="864096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Атырау - Астрахань </a:t>
            </a: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км 616-833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(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17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км)</a:t>
            </a: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</a:t>
            </a:r>
            <a:r>
              <a:rPr lang="ru-RU" altLang="ru-RU" sz="1050" dirty="0">
                <a:solidFill>
                  <a:srgbClr val="008000"/>
                </a:solidFill>
                <a:latin typeface="Impact" pitchFamily="34" charset="0"/>
              </a:rPr>
              <a:t>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</a:rPr>
              <a:t>займ 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ЕБРР</a:t>
            </a:r>
            <a:endParaRPr lang="ru-RU" altLang="ru-RU" sz="1050" dirty="0">
              <a:solidFill>
                <a:srgbClr val="002060"/>
              </a:solidFill>
              <a:latin typeface="Impact" pitchFamily="34" charset="0"/>
            </a:endParaRP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–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105 млрд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 </a:t>
            </a: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тг</a:t>
            </a:r>
            <a:endParaRPr lang="ru-RU" altLang="ru-RU" sz="1050" dirty="0">
              <a:solidFill>
                <a:srgbClr val="002060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</a:t>
            </a: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реализации: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9-2021 г</a:t>
            </a:r>
            <a:endParaRPr lang="ru-RU" altLang="ru-RU" sz="1050" dirty="0">
              <a:solidFill>
                <a:srgbClr val="002060"/>
              </a:solidFill>
              <a:latin typeface="Impact" pitchFamily="34" charset="0"/>
            </a:endParaRPr>
          </a:p>
        </p:txBody>
      </p:sp>
      <p:sp>
        <p:nvSpPr>
          <p:cNvPr id="293" name="Скругленный прямоугольник 292"/>
          <p:cNvSpPr/>
          <p:nvPr/>
        </p:nvSpPr>
        <p:spPr bwMode="auto">
          <a:xfrm>
            <a:off x="3636604" y="2753253"/>
            <a:ext cx="1989940" cy="10404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</a:rPr>
              <a:t>Кандыагаш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 - </a:t>
            </a: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</a:rPr>
              <a:t>Макат</a:t>
            </a:r>
            <a:endParaRPr lang="ru-RU" altLang="ru-RU" sz="1050" dirty="0" smtClean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км 220-236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</a:rPr>
              <a:t>(16 км)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РБ</a:t>
            </a:r>
            <a:endParaRPr lang="ru-RU" altLang="ru-RU" sz="105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</a:t>
            </a: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–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3,7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млрд. </a:t>
            </a: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тг</a:t>
            </a:r>
            <a:endParaRPr lang="ru-RU" altLang="ru-RU" sz="1050" dirty="0">
              <a:solidFill>
                <a:srgbClr val="002060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План </a:t>
            </a: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на </a:t>
            </a: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2018 год </a:t>
            </a: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–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MS PGothic"/>
              </a:rPr>
              <a:t>0,6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</a:rPr>
              <a:t>млрд. </a:t>
            </a: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</a:rPr>
              <a:t>тг</a:t>
            </a:r>
            <a:endParaRPr lang="ru-RU" altLang="ru-RU" sz="105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реализации: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5-2018 г</a:t>
            </a:r>
            <a:endParaRPr lang="ru-RU" altLang="ru-RU" sz="1050" dirty="0" smtClean="0">
              <a:solidFill>
                <a:srgbClr val="595959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94" name="Скругленный прямоугольник 293"/>
          <p:cNvSpPr/>
          <p:nvPr/>
        </p:nvSpPr>
        <p:spPr bwMode="auto">
          <a:xfrm>
            <a:off x="2536776" y="4028114"/>
            <a:ext cx="2246275" cy="1000067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</a:rPr>
              <a:t>Каныдагаш-Макат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 </a:t>
            </a: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км 160-220, 236-468, 487-504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</a:rPr>
              <a:t>(299 км)</a:t>
            </a: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</a:t>
            </a:r>
            <a:r>
              <a:rPr lang="ru-RU" altLang="ru-RU" sz="1050" dirty="0" smtClean="0">
                <a:solidFill>
                  <a:srgbClr val="008000"/>
                </a:solidFill>
                <a:latin typeface="Impact" pitchFamily="34" charset="0"/>
              </a:rPr>
              <a:t> </a:t>
            </a: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</a:rPr>
              <a:t>займ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  АБР</a:t>
            </a: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–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81 млрд. тенге</a:t>
            </a: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План на </a:t>
            </a: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2018 год </a:t>
            </a: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–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MS PGothic"/>
              </a:rPr>
              <a:t>19,9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 млрд. </a:t>
            </a: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</a:rPr>
              <a:t>тг</a:t>
            </a:r>
            <a:endParaRPr lang="ru-RU" altLang="ru-RU" sz="1050" dirty="0" smtClean="0">
              <a:solidFill>
                <a:srgbClr val="002060"/>
              </a:solidFill>
              <a:latin typeface="Impact" pitchFamily="34" charset="0"/>
            </a:endParaRP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</a:t>
            </a: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реализации: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7-2020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г</a:t>
            </a:r>
            <a:endParaRPr lang="ru-RU" altLang="ru-RU" sz="1050" dirty="0">
              <a:solidFill>
                <a:srgbClr val="002060"/>
              </a:solidFill>
              <a:latin typeface="Impact" pitchFamily="34" charset="0"/>
            </a:endParaRPr>
          </a:p>
        </p:txBody>
      </p:sp>
      <p:sp>
        <p:nvSpPr>
          <p:cNvPr id="295" name="Скругленный прямоугольник 294"/>
          <p:cNvSpPr/>
          <p:nvPr/>
        </p:nvSpPr>
        <p:spPr bwMode="auto">
          <a:xfrm>
            <a:off x="4406849" y="1700148"/>
            <a:ext cx="2046510" cy="86281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</a:rPr>
              <a:t>Актобе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 - </a:t>
            </a: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</a:rPr>
              <a:t>Каныдагаш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  </a:t>
            </a:r>
            <a:endParaRPr lang="ru-RU" altLang="ru-RU" sz="1050" dirty="0" smtClean="0">
              <a:solidFill>
                <a:srgbClr val="595959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к</a:t>
            </a: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м 11-160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(149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</a:rPr>
              <a:t>км)</a:t>
            </a: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</a:t>
            </a:r>
            <a:r>
              <a:rPr lang="ru-RU" altLang="ru-RU" sz="1050" dirty="0" smtClean="0">
                <a:solidFill>
                  <a:srgbClr val="008000"/>
                </a:solidFill>
                <a:latin typeface="Impact" pitchFamily="34" charset="0"/>
              </a:rPr>
              <a:t> </a:t>
            </a: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</a:rPr>
              <a:t>займ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 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</a:rPr>
              <a:t>А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БР</a:t>
            </a: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–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81</a:t>
            </a: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млрд. </a:t>
            </a: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тг</a:t>
            </a:r>
            <a:endParaRPr lang="ru-RU" altLang="ru-RU" sz="1050" dirty="0" smtClean="0">
              <a:solidFill>
                <a:srgbClr val="002060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  <a:p>
            <a:pPr algn="just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</a:t>
            </a: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реализации: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9-2021 г</a:t>
            </a:r>
            <a:endParaRPr lang="ru-RU" altLang="ru-RU" sz="1050" dirty="0">
              <a:solidFill>
                <a:srgbClr val="002060"/>
              </a:solidFill>
              <a:latin typeface="Impact" pitchFamily="34" charset="0"/>
            </a:endParaRPr>
          </a:p>
        </p:txBody>
      </p:sp>
      <p:sp>
        <p:nvSpPr>
          <p:cNvPr id="302" name="Полилиния 301"/>
          <p:cNvSpPr/>
          <p:nvPr/>
        </p:nvSpPr>
        <p:spPr>
          <a:xfrm>
            <a:off x="371492" y="3490137"/>
            <a:ext cx="155575" cy="28575"/>
          </a:xfrm>
          <a:custGeom>
            <a:avLst/>
            <a:gdLst>
              <a:gd name="connsiteX0" fmla="*/ 155575 w 155575"/>
              <a:gd name="connsiteY0" fmla="*/ 28575 h 28575"/>
              <a:gd name="connsiteX1" fmla="*/ 92075 w 155575"/>
              <a:gd name="connsiteY1" fmla="*/ 22225 h 28575"/>
              <a:gd name="connsiteX2" fmla="*/ 73025 w 155575"/>
              <a:gd name="connsiteY2" fmla="*/ 19050 h 28575"/>
              <a:gd name="connsiteX3" fmla="*/ 41275 w 155575"/>
              <a:gd name="connsiteY3" fmla="*/ 15875 h 28575"/>
              <a:gd name="connsiteX4" fmla="*/ 25400 w 155575"/>
              <a:gd name="connsiteY4" fmla="*/ 9525 h 28575"/>
              <a:gd name="connsiteX5" fmla="*/ 12700 w 155575"/>
              <a:gd name="connsiteY5" fmla="*/ 6350 h 28575"/>
              <a:gd name="connsiteX6" fmla="*/ 0 w 155575"/>
              <a:gd name="connsiteY6" fmla="*/ 0 h 2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5575" h="28575">
                <a:moveTo>
                  <a:pt x="155575" y="28575"/>
                </a:moveTo>
                <a:lnTo>
                  <a:pt x="92075" y="22225"/>
                </a:lnTo>
                <a:cubicBezTo>
                  <a:pt x="78317" y="20638"/>
                  <a:pt x="81492" y="20108"/>
                  <a:pt x="73025" y="19050"/>
                </a:cubicBezTo>
                <a:cubicBezTo>
                  <a:pt x="64558" y="17992"/>
                  <a:pt x="49213" y="17463"/>
                  <a:pt x="41275" y="15875"/>
                </a:cubicBezTo>
                <a:cubicBezTo>
                  <a:pt x="33337" y="14287"/>
                  <a:pt x="25400" y="9525"/>
                  <a:pt x="25400" y="9525"/>
                </a:cubicBezTo>
                <a:cubicBezTo>
                  <a:pt x="20638" y="7938"/>
                  <a:pt x="12700" y="6350"/>
                  <a:pt x="12700" y="6350"/>
                </a:cubicBezTo>
                <a:cubicBezTo>
                  <a:pt x="8467" y="4763"/>
                  <a:pt x="4233" y="2381"/>
                  <a:pt x="0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3" name="Полилиния 302"/>
          <p:cNvSpPr/>
          <p:nvPr/>
        </p:nvSpPr>
        <p:spPr>
          <a:xfrm>
            <a:off x="558817" y="3397414"/>
            <a:ext cx="587375" cy="153913"/>
          </a:xfrm>
          <a:custGeom>
            <a:avLst/>
            <a:gdLst>
              <a:gd name="connsiteX0" fmla="*/ 0 w 587375"/>
              <a:gd name="connsiteY0" fmla="*/ 121298 h 153913"/>
              <a:gd name="connsiteX1" fmla="*/ 63500 w 587375"/>
              <a:gd name="connsiteY1" fmla="*/ 133998 h 153913"/>
              <a:gd name="connsiteX2" fmla="*/ 136525 w 587375"/>
              <a:gd name="connsiteY2" fmla="*/ 146698 h 153913"/>
              <a:gd name="connsiteX3" fmla="*/ 174625 w 587375"/>
              <a:gd name="connsiteY3" fmla="*/ 153048 h 153913"/>
              <a:gd name="connsiteX4" fmla="*/ 209550 w 587375"/>
              <a:gd name="connsiteY4" fmla="*/ 127648 h 153913"/>
              <a:gd name="connsiteX5" fmla="*/ 260350 w 587375"/>
              <a:gd name="connsiteY5" fmla="*/ 99073 h 153913"/>
              <a:gd name="connsiteX6" fmla="*/ 323850 w 587375"/>
              <a:gd name="connsiteY6" fmla="*/ 86373 h 153913"/>
              <a:gd name="connsiteX7" fmla="*/ 390525 w 587375"/>
              <a:gd name="connsiteY7" fmla="*/ 67323 h 153913"/>
              <a:gd name="connsiteX8" fmla="*/ 419100 w 587375"/>
              <a:gd name="connsiteY8" fmla="*/ 57798 h 153913"/>
              <a:gd name="connsiteX9" fmla="*/ 434975 w 587375"/>
              <a:gd name="connsiteY9" fmla="*/ 35573 h 153913"/>
              <a:gd name="connsiteX10" fmla="*/ 457200 w 587375"/>
              <a:gd name="connsiteY10" fmla="*/ 648 h 153913"/>
              <a:gd name="connsiteX11" fmla="*/ 495300 w 587375"/>
              <a:gd name="connsiteY11" fmla="*/ 13348 h 153913"/>
              <a:gd name="connsiteX12" fmla="*/ 520700 w 587375"/>
              <a:gd name="connsiteY12" fmla="*/ 19698 h 153913"/>
              <a:gd name="connsiteX13" fmla="*/ 558800 w 587375"/>
              <a:gd name="connsiteY13" fmla="*/ 38748 h 153913"/>
              <a:gd name="connsiteX14" fmla="*/ 581025 w 587375"/>
              <a:gd name="connsiteY14" fmla="*/ 51448 h 153913"/>
              <a:gd name="connsiteX15" fmla="*/ 587375 w 587375"/>
              <a:gd name="connsiteY15" fmla="*/ 57798 h 1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87375" h="153913">
                <a:moveTo>
                  <a:pt x="0" y="121298"/>
                </a:moveTo>
                <a:lnTo>
                  <a:pt x="63500" y="133998"/>
                </a:lnTo>
                <a:cubicBezTo>
                  <a:pt x="86254" y="138231"/>
                  <a:pt x="136525" y="146698"/>
                  <a:pt x="136525" y="146698"/>
                </a:cubicBezTo>
                <a:cubicBezTo>
                  <a:pt x="155046" y="149873"/>
                  <a:pt x="162454" y="156223"/>
                  <a:pt x="174625" y="153048"/>
                </a:cubicBezTo>
                <a:cubicBezTo>
                  <a:pt x="186796" y="149873"/>
                  <a:pt x="195263" y="136644"/>
                  <a:pt x="209550" y="127648"/>
                </a:cubicBezTo>
                <a:cubicBezTo>
                  <a:pt x="223837" y="118652"/>
                  <a:pt x="241300" y="105952"/>
                  <a:pt x="260350" y="99073"/>
                </a:cubicBezTo>
                <a:cubicBezTo>
                  <a:pt x="279400" y="92194"/>
                  <a:pt x="302154" y="91665"/>
                  <a:pt x="323850" y="86373"/>
                </a:cubicBezTo>
                <a:cubicBezTo>
                  <a:pt x="345546" y="81081"/>
                  <a:pt x="374650" y="72085"/>
                  <a:pt x="390525" y="67323"/>
                </a:cubicBezTo>
                <a:cubicBezTo>
                  <a:pt x="406400" y="62561"/>
                  <a:pt x="411692" y="63090"/>
                  <a:pt x="419100" y="57798"/>
                </a:cubicBezTo>
                <a:cubicBezTo>
                  <a:pt x="426508" y="52506"/>
                  <a:pt x="428625" y="45098"/>
                  <a:pt x="434975" y="35573"/>
                </a:cubicBezTo>
                <a:cubicBezTo>
                  <a:pt x="441325" y="26048"/>
                  <a:pt x="447146" y="4352"/>
                  <a:pt x="457200" y="648"/>
                </a:cubicBezTo>
                <a:cubicBezTo>
                  <a:pt x="467254" y="-3056"/>
                  <a:pt x="484717" y="10173"/>
                  <a:pt x="495300" y="13348"/>
                </a:cubicBezTo>
                <a:cubicBezTo>
                  <a:pt x="505883" y="16523"/>
                  <a:pt x="510117" y="15465"/>
                  <a:pt x="520700" y="19698"/>
                </a:cubicBezTo>
                <a:cubicBezTo>
                  <a:pt x="531283" y="23931"/>
                  <a:pt x="548746" y="33456"/>
                  <a:pt x="558800" y="38748"/>
                </a:cubicBezTo>
                <a:cubicBezTo>
                  <a:pt x="568854" y="44040"/>
                  <a:pt x="581025" y="51448"/>
                  <a:pt x="581025" y="51448"/>
                </a:cubicBezTo>
                <a:cubicBezTo>
                  <a:pt x="585787" y="54623"/>
                  <a:pt x="586581" y="56210"/>
                  <a:pt x="587375" y="57798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4" name="Полилиния 303"/>
          <p:cNvSpPr/>
          <p:nvPr/>
        </p:nvSpPr>
        <p:spPr>
          <a:xfrm>
            <a:off x="404185" y="3537655"/>
            <a:ext cx="155575" cy="28575"/>
          </a:xfrm>
          <a:custGeom>
            <a:avLst/>
            <a:gdLst>
              <a:gd name="connsiteX0" fmla="*/ 155575 w 155575"/>
              <a:gd name="connsiteY0" fmla="*/ 28575 h 28575"/>
              <a:gd name="connsiteX1" fmla="*/ 92075 w 155575"/>
              <a:gd name="connsiteY1" fmla="*/ 22225 h 28575"/>
              <a:gd name="connsiteX2" fmla="*/ 73025 w 155575"/>
              <a:gd name="connsiteY2" fmla="*/ 19050 h 28575"/>
              <a:gd name="connsiteX3" fmla="*/ 41275 w 155575"/>
              <a:gd name="connsiteY3" fmla="*/ 15875 h 28575"/>
              <a:gd name="connsiteX4" fmla="*/ 25400 w 155575"/>
              <a:gd name="connsiteY4" fmla="*/ 9525 h 28575"/>
              <a:gd name="connsiteX5" fmla="*/ 12700 w 155575"/>
              <a:gd name="connsiteY5" fmla="*/ 6350 h 28575"/>
              <a:gd name="connsiteX6" fmla="*/ 0 w 155575"/>
              <a:gd name="connsiteY6" fmla="*/ 0 h 2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5575" h="28575">
                <a:moveTo>
                  <a:pt x="155575" y="28575"/>
                </a:moveTo>
                <a:lnTo>
                  <a:pt x="92075" y="22225"/>
                </a:lnTo>
                <a:cubicBezTo>
                  <a:pt x="78317" y="20638"/>
                  <a:pt x="81492" y="20108"/>
                  <a:pt x="73025" y="19050"/>
                </a:cubicBezTo>
                <a:cubicBezTo>
                  <a:pt x="64558" y="17992"/>
                  <a:pt x="49213" y="17463"/>
                  <a:pt x="41275" y="15875"/>
                </a:cubicBezTo>
                <a:cubicBezTo>
                  <a:pt x="33337" y="14287"/>
                  <a:pt x="25400" y="9525"/>
                  <a:pt x="25400" y="9525"/>
                </a:cubicBezTo>
                <a:cubicBezTo>
                  <a:pt x="20638" y="7938"/>
                  <a:pt x="12700" y="6350"/>
                  <a:pt x="12700" y="6350"/>
                </a:cubicBezTo>
                <a:cubicBezTo>
                  <a:pt x="8467" y="4763"/>
                  <a:pt x="4233" y="2381"/>
                  <a:pt x="0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5" name="Полилиния 304"/>
          <p:cNvSpPr/>
          <p:nvPr/>
        </p:nvSpPr>
        <p:spPr>
          <a:xfrm>
            <a:off x="577850" y="3444875"/>
            <a:ext cx="587375" cy="153913"/>
          </a:xfrm>
          <a:custGeom>
            <a:avLst/>
            <a:gdLst>
              <a:gd name="connsiteX0" fmla="*/ 0 w 587375"/>
              <a:gd name="connsiteY0" fmla="*/ 121298 h 153913"/>
              <a:gd name="connsiteX1" fmla="*/ 63500 w 587375"/>
              <a:gd name="connsiteY1" fmla="*/ 133998 h 153913"/>
              <a:gd name="connsiteX2" fmla="*/ 136525 w 587375"/>
              <a:gd name="connsiteY2" fmla="*/ 146698 h 153913"/>
              <a:gd name="connsiteX3" fmla="*/ 174625 w 587375"/>
              <a:gd name="connsiteY3" fmla="*/ 153048 h 153913"/>
              <a:gd name="connsiteX4" fmla="*/ 209550 w 587375"/>
              <a:gd name="connsiteY4" fmla="*/ 127648 h 153913"/>
              <a:gd name="connsiteX5" fmla="*/ 260350 w 587375"/>
              <a:gd name="connsiteY5" fmla="*/ 99073 h 153913"/>
              <a:gd name="connsiteX6" fmla="*/ 323850 w 587375"/>
              <a:gd name="connsiteY6" fmla="*/ 86373 h 153913"/>
              <a:gd name="connsiteX7" fmla="*/ 390525 w 587375"/>
              <a:gd name="connsiteY7" fmla="*/ 67323 h 153913"/>
              <a:gd name="connsiteX8" fmla="*/ 419100 w 587375"/>
              <a:gd name="connsiteY8" fmla="*/ 57798 h 153913"/>
              <a:gd name="connsiteX9" fmla="*/ 434975 w 587375"/>
              <a:gd name="connsiteY9" fmla="*/ 35573 h 153913"/>
              <a:gd name="connsiteX10" fmla="*/ 457200 w 587375"/>
              <a:gd name="connsiteY10" fmla="*/ 648 h 153913"/>
              <a:gd name="connsiteX11" fmla="*/ 495300 w 587375"/>
              <a:gd name="connsiteY11" fmla="*/ 13348 h 153913"/>
              <a:gd name="connsiteX12" fmla="*/ 520700 w 587375"/>
              <a:gd name="connsiteY12" fmla="*/ 19698 h 153913"/>
              <a:gd name="connsiteX13" fmla="*/ 558800 w 587375"/>
              <a:gd name="connsiteY13" fmla="*/ 38748 h 153913"/>
              <a:gd name="connsiteX14" fmla="*/ 581025 w 587375"/>
              <a:gd name="connsiteY14" fmla="*/ 51448 h 153913"/>
              <a:gd name="connsiteX15" fmla="*/ 587375 w 587375"/>
              <a:gd name="connsiteY15" fmla="*/ 57798 h 1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87375" h="153913">
                <a:moveTo>
                  <a:pt x="0" y="121298"/>
                </a:moveTo>
                <a:lnTo>
                  <a:pt x="63500" y="133998"/>
                </a:lnTo>
                <a:cubicBezTo>
                  <a:pt x="86254" y="138231"/>
                  <a:pt x="136525" y="146698"/>
                  <a:pt x="136525" y="146698"/>
                </a:cubicBezTo>
                <a:cubicBezTo>
                  <a:pt x="155046" y="149873"/>
                  <a:pt x="162454" y="156223"/>
                  <a:pt x="174625" y="153048"/>
                </a:cubicBezTo>
                <a:cubicBezTo>
                  <a:pt x="186796" y="149873"/>
                  <a:pt x="195263" y="136644"/>
                  <a:pt x="209550" y="127648"/>
                </a:cubicBezTo>
                <a:cubicBezTo>
                  <a:pt x="223837" y="118652"/>
                  <a:pt x="241300" y="105952"/>
                  <a:pt x="260350" y="99073"/>
                </a:cubicBezTo>
                <a:cubicBezTo>
                  <a:pt x="279400" y="92194"/>
                  <a:pt x="302154" y="91665"/>
                  <a:pt x="323850" y="86373"/>
                </a:cubicBezTo>
                <a:cubicBezTo>
                  <a:pt x="345546" y="81081"/>
                  <a:pt x="374650" y="72085"/>
                  <a:pt x="390525" y="67323"/>
                </a:cubicBezTo>
                <a:cubicBezTo>
                  <a:pt x="406400" y="62561"/>
                  <a:pt x="411692" y="63090"/>
                  <a:pt x="419100" y="57798"/>
                </a:cubicBezTo>
                <a:cubicBezTo>
                  <a:pt x="426508" y="52506"/>
                  <a:pt x="428625" y="45098"/>
                  <a:pt x="434975" y="35573"/>
                </a:cubicBezTo>
                <a:cubicBezTo>
                  <a:pt x="441325" y="26048"/>
                  <a:pt x="447146" y="4352"/>
                  <a:pt x="457200" y="648"/>
                </a:cubicBezTo>
                <a:cubicBezTo>
                  <a:pt x="467254" y="-3056"/>
                  <a:pt x="484717" y="10173"/>
                  <a:pt x="495300" y="13348"/>
                </a:cubicBezTo>
                <a:cubicBezTo>
                  <a:pt x="505883" y="16523"/>
                  <a:pt x="510117" y="15465"/>
                  <a:pt x="520700" y="19698"/>
                </a:cubicBezTo>
                <a:cubicBezTo>
                  <a:pt x="531283" y="23931"/>
                  <a:pt x="548746" y="33456"/>
                  <a:pt x="558800" y="38748"/>
                </a:cubicBezTo>
                <a:cubicBezTo>
                  <a:pt x="568854" y="44040"/>
                  <a:pt x="581025" y="51448"/>
                  <a:pt x="581025" y="51448"/>
                </a:cubicBezTo>
                <a:cubicBezTo>
                  <a:pt x="585787" y="54623"/>
                  <a:pt x="586581" y="56210"/>
                  <a:pt x="587375" y="57798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Блок-схема: узел 161"/>
          <p:cNvSpPr/>
          <p:nvPr/>
        </p:nvSpPr>
        <p:spPr>
          <a:xfrm>
            <a:off x="321129" y="3469470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90" name="Прямая со стрелкой 289"/>
          <p:cNvCxnSpPr>
            <a:stCxn id="289" idx="2"/>
            <a:endCxn id="96" idx="1"/>
          </p:cNvCxnSpPr>
          <p:nvPr/>
        </p:nvCxnSpPr>
        <p:spPr>
          <a:xfrm flipH="1">
            <a:off x="502754" y="2369713"/>
            <a:ext cx="585542" cy="1174221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6" name="Полилиния 305"/>
          <p:cNvSpPr/>
          <p:nvPr/>
        </p:nvSpPr>
        <p:spPr>
          <a:xfrm>
            <a:off x="1224525" y="3470092"/>
            <a:ext cx="302419" cy="54808"/>
          </a:xfrm>
          <a:custGeom>
            <a:avLst/>
            <a:gdLst>
              <a:gd name="connsiteX0" fmla="*/ 0 w 302419"/>
              <a:gd name="connsiteY0" fmla="*/ 54808 h 54808"/>
              <a:gd name="connsiteX1" fmla="*/ 64294 w 302419"/>
              <a:gd name="connsiteY1" fmla="*/ 50046 h 54808"/>
              <a:gd name="connsiteX2" fmla="*/ 92869 w 302419"/>
              <a:gd name="connsiteY2" fmla="*/ 40521 h 54808"/>
              <a:gd name="connsiteX3" fmla="*/ 123825 w 302419"/>
              <a:gd name="connsiteY3" fmla="*/ 23852 h 54808"/>
              <a:gd name="connsiteX4" fmla="*/ 159544 w 302419"/>
              <a:gd name="connsiteY4" fmla="*/ 11946 h 54808"/>
              <a:gd name="connsiteX5" fmla="*/ 180975 w 302419"/>
              <a:gd name="connsiteY5" fmla="*/ 16708 h 54808"/>
              <a:gd name="connsiteX6" fmla="*/ 195263 w 302419"/>
              <a:gd name="connsiteY6" fmla="*/ 26233 h 54808"/>
              <a:gd name="connsiteX7" fmla="*/ 223838 w 302419"/>
              <a:gd name="connsiteY7" fmla="*/ 16708 h 54808"/>
              <a:gd name="connsiteX8" fmla="*/ 250032 w 302419"/>
              <a:gd name="connsiteY8" fmla="*/ 7183 h 54808"/>
              <a:gd name="connsiteX9" fmla="*/ 276225 w 302419"/>
              <a:gd name="connsiteY9" fmla="*/ 40 h 54808"/>
              <a:gd name="connsiteX10" fmla="*/ 302419 w 302419"/>
              <a:gd name="connsiteY10" fmla="*/ 4802 h 54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2419" h="54808">
                <a:moveTo>
                  <a:pt x="0" y="54808"/>
                </a:moveTo>
                <a:cubicBezTo>
                  <a:pt x="24408" y="53617"/>
                  <a:pt x="48816" y="52427"/>
                  <a:pt x="64294" y="50046"/>
                </a:cubicBezTo>
                <a:cubicBezTo>
                  <a:pt x="79772" y="47665"/>
                  <a:pt x="82947" y="44887"/>
                  <a:pt x="92869" y="40521"/>
                </a:cubicBezTo>
                <a:cubicBezTo>
                  <a:pt x="102791" y="36155"/>
                  <a:pt x="112713" y="28614"/>
                  <a:pt x="123825" y="23852"/>
                </a:cubicBezTo>
                <a:cubicBezTo>
                  <a:pt x="134937" y="19090"/>
                  <a:pt x="150019" y="13137"/>
                  <a:pt x="159544" y="11946"/>
                </a:cubicBezTo>
                <a:cubicBezTo>
                  <a:pt x="169069" y="10755"/>
                  <a:pt x="175022" y="14327"/>
                  <a:pt x="180975" y="16708"/>
                </a:cubicBezTo>
                <a:cubicBezTo>
                  <a:pt x="186928" y="19089"/>
                  <a:pt x="188119" y="26233"/>
                  <a:pt x="195263" y="26233"/>
                </a:cubicBezTo>
                <a:cubicBezTo>
                  <a:pt x="202407" y="26233"/>
                  <a:pt x="214710" y="19883"/>
                  <a:pt x="223838" y="16708"/>
                </a:cubicBezTo>
                <a:cubicBezTo>
                  <a:pt x="232966" y="13533"/>
                  <a:pt x="241301" y="9961"/>
                  <a:pt x="250032" y="7183"/>
                </a:cubicBezTo>
                <a:cubicBezTo>
                  <a:pt x="258763" y="4405"/>
                  <a:pt x="267494" y="437"/>
                  <a:pt x="276225" y="40"/>
                </a:cubicBezTo>
                <a:cubicBezTo>
                  <a:pt x="284956" y="-357"/>
                  <a:pt x="293687" y="2222"/>
                  <a:pt x="302419" y="4802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8" name="Полилиния 307"/>
          <p:cNvSpPr/>
          <p:nvPr/>
        </p:nvSpPr>
        <p:spPr>
          <a:xfrm>
            <a:off x="1223962" y="3417073"/>
            <a:ext cx="302419" cy="54808"/>
          </a:xfrm>
          <a:custGeom>
            <a:avLst/>
            <a:gdLst>
              <a:gd name="connsiteX0" fmla="*/ 0 w 302419"/>
              <a:gd name="connsiteY0" fmla="*/ 54808 h 54808"/>
              <a:gd name="connsiteX1" fmla="*/ 64294 w 302419"/>
              <a:gd name="connsiteY1" fmla="*/ 50046 h 54808"/>
              <a:gd name="connsiteX2" fmla="*/ 92869 w 302419"/>
              <a:gd name="connsiteY2" fmla="*/ 40521 h 54808"/>
              <a:gd name="connsiteX3" fmla="*/ 123825 w 302419"/>
              <a:gd name="connsiteY3" fmla="*/ 23852 h 54808"/>
              <a:gd name="connsiteX4" fmla="*/ 159544 w 302419"/>
              <a:gd name="connsiteY4" fmla="*/ 11946 h 54808"/>
              <a:gd name="connsiteX5" fmla="*/ 180975 w 302419"/>
              <a:gd name="connsiteY5" fmla="*/ 16708 h 54808"/>
              <a:gd name="connsiteX6" fmla="*/ 195263 w 302419"/>
              <a:gd name="connsiteY6" fmla="*/ 26233 h 54808"/>
              <a:gd name="connsiteX7" fmla="*/ 223838 w 302419"/>
              <a:gd name="connsiteY7" fmla="*/ 16708 h 54808"/>
              <a:gd name="connsiteX8" fmla="*/ 250032 w 302419"/>
              <a:gd name="connsiteY8" fmla="*/ 7183 h 54808"/>
              <a:gd name="connsiteX9" fmla="*/ 276225 w 302419"/>
              <a:gd name="connsiteY9" fmla="*/ 40 h 54808"/>
              <a:gd name="connsiteX10" fmla="*/ 302419 w 302419"/>
              <a:gd name="connsiteY10" fmla="*/ 4802 h 54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2419" h="54808">
                <a:moveTo>
                  <a:pt x="0" y="54808"/>
                </a:moveTo>
                <a:cubicBezTo>
                  <a:pt x="24408" y="53617"/>
                  <a:pt x="48816" y="52427"/>
                  <a:pt x="64294" y="50046"/>
                </a:cubicBezTo>
                <a:cubicBezTo>
                  <a:pt x="79772" y="47665"/>
                  <a:pt x="82947" y="44887"/>
                  <a:pt x="92869" y="40521"/>
                </a:cubicBezTo>
                <a:cubicBezTo>
                  <a:pt x="102791" y="36155"/>
                  <a:pt x="112713" y="28614"/>
                  <a:pt x="123825" y="23852"/>
                </a:cubicBezTo>
                <a:cubicBezTo>
                  <a:pt x="134937" y="19090"/>
                  <a:pt x="150019" y="13137"/>
                  <a:pt x="159544" y="11946"/>
                </a:cubicBezTo>
                <a:cubicBezTo>
                  <a:pt x="169069" y="10755"/>
                  <a:pt x="175022" y="14327"/>
                  <a:pt x="180975" y="16708"/>
                </a:cubicBezTo>
                <a:cubicBezTo>
                  <a:pt x="186928" y="19089"/>
                  <a:pt x="188119" y="26233"/>
                  <a:pt x="195263" y="26233"/>
                </a:cubicBezTo>
                <a:cubicBezTo>
                  <a:pt x="202407" y="26233"/>
                  <a:pt x="214710" y="19883"/>
                  <a:pt x="223838" y="16708"/>
                </a:cubicBezTo>
                <a:cubicBezTo>
                  <a:pt x="232966" y="13533"/>
                  <a:pt x="241301" y="9961"/>
                  <a:pt x="250032" y="7183"/>
                </a:cubicBezTo>
                <a:cubicBezTo>
                  <a:pt x="258763" y="4405"/>
                  <a:pt x="267494" y="437"/>
                  <a:pt x="276225" y="40"/>
                </a:cubicBezTo>
                <a:cubicBezTo>
                  <a:pt x="284956" y="-357"/>
                  <a:pt x="293687" y="2222"/>
                  <a:pt x="302419" y="4802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9" name="Полилиния 308"/>
          <p:cNvSpPr/>
          <p:nvPr/>
        </p:nvSpPr>
        <p:spPr>
          <a:xfrm>
            <a:off x="1524000" y="2959081"/>
            <a:ext cx="990600" cy="463550"/>
          </a:xfrm>
          <a:custGeom>
            <a:avLst/>
            <a:gdLst>
              <a:gd name="connsiteX0" fmla="*/ 990600 w 990600"/>
              <a:gd name="connsiteY0" fmla="*/ 0 h 463550"/>
              <a:gd name="connsiteX1" fmla="*/ 930275 w 990600"/>
              <a:gd name="connsiteY1" fmla="*/ 28575 h 463550"/>
              <a:gd name="connsiteX2" fmla="*/ 911225 w 990600"/>
              <a:gd name="connsiteY2" fmla="*/ 41275 h 463550"/>
              <a:gd name="connsiteX3" fmla="*/ 882650 w 990600"/>
              <a:gd name="connsiteY3" fmla="*/ 63500 h 463550"/>
              <a:gd name="connsiteX4" fmla="*/ 863600 w 990600"/>
              <a:gd name="connsiteY4" fmla="*/ 69850 h 463550"/>
              <a:gd name="connsiteX5" fmla="*/ 819150 w 990600"/>
              <a:gd name="connsiteY5" fmla="*/ 66675 h 463550"/>
              <a:gd name="connsiteX6" fmla="*/ 787400 w 990600"/>
              <a:gd name="connsiteY6" fmla="*/ 73025 h 463550"/>
              <a:gd name="connsiteX7" fmla="*/ 762000 w 990600"/>
              <a:gd name="connsiteY7" fmla="*/ 82550 h 463550"/>
              <a:gd name="connsiteX8" fmla="*/ 736600 w 990600"/>
              <a:gd name="connsiteY8" fmla="*/ 114300 h 463550"/>
              <a:gd name="connsiteX9" fmla="*/ 673100 w 990600"/>
              <a:gd name="connsiteY9" fmla="*/ 171450 h 463550"/>
              <a:gd name="connsiteX10" fmla="*/ 650875 w 990600"/>
              <a:gd name="connsiteY10" fmla="*/ 187325 h 463550"/>
              <a:gd name="connsiteX11" fmla="*/ 619125 w 990600"/>
              <a:gd name="connsiteY11" fmla="*/ 228600 h 463550"/>
              <a:gd name="connsiteX12" fmla="*/ 577850 w 990600"/>
              <a:gd name="connsiteY12" fmla="*/ 260350 h 463550"/>
              <a:gd name="connsiteX13" fmla="*/ 533400 w 990600"/>
              <a:gd name="connsiteY13" fmla="*/ 282575 h 463550"/>
              <a:gd name="connsiteX14" fmla="*/ 476250 w 990600"/>
              <a:gd name="connsiteY14" fmla="*/ 288925 h 463550"/>
              <a:gd name="connsiteX15" fmla="*/ 450850 w 990600"/>
              <a:gd name="connsiteY15" fmla="*/ 295275 h 463550"/>
              <a:gd name="connsiteX16" fmla="*/ 425450 w 990600"/>
              <a:gd name="connsiteY16" fmla="*/ 323850 h 463550"/>
              <a:gd name="connsiteX17" fmla="*/ 387350 w 990600"/>
              <a:gd name="connsiteY17" fmla="*/ 327025 h 463550"/>
              <a:gd name="connsiteX18" fmla="*/ 346075 w 990600"/>
              <a:gd name="connsiteY18" fmla="*/ 342900 h 463550"/>
              <a:gd name="connsiteX19" fmla="*/ 323850 w 990600"/>
              <a:gd name="connsiteY19" fmla="*/ 355600 h 463550"/>
              <a:gd name="connsiteX20" fmla="*/ 301625 w 990600"/>
              <a:gd name="connsiteY20" fmla="*/ 368300 h 463550"/>
              <a:gd name="connsiteX21" fmla="*/ 266700 w 990600"/>
              <a:gd name="connsiteY21" fmla="*/ 371475 h 463550"/>
              <a:gd name="connsiteX22" fmla="*/ 228600 w 990600"/>
              <a:gd name="connsiteY22" fmla="*/ 387350 h 463550"/>
              <a:gd name="connsiteX23" fmla="*/ 187325 w 990600"/>
              <a:gd name="connsiteY23" fmla="*/ 400050 h 463550"/>
              <a:gd name="connsiteX24" fmla="*/ 142875 w 990600"/>
              <a:gd name="connsiteY24" fmla="*/ 412750 h 463550"/>
              <a:gd name="connsiteX25" fmla="*/ 111125 w 990600"/>
              <a:gd name="connsiteY25" fmla="*/ 425450 h 463550"/>
              <a:gd name="connsiteX26" fmla="*/ 82550 w 990600"/>
              <a:gd name="connsiteY26" fmla="*/ 428625 h 463550"/>
              <a:gd name="connsiteX27" fmla="*/ 60325 w 990600"/>
              <a:gd name="connsiteY27" fmla="*/ 434975 h 463550"/>
              <a:gd name="connsiteX28" fmla="*/ 34925 w 990600"/>
              <a:gd name="connsiteY28" fmla="*/ 438150 h 463550"/>
              <a:gd name="connsiteX29" fmla="*/ 9525 w 990600"/>
              <a:gd name="connsiteY29" fmla="*/ 454025 h 463550"/>
              <a:gd name="connsiteX30" fmla="*/ 0 w 990600"/>
              <a:gd name="connsiteY30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990600" h="463550">
                <a:moveTo>
                  <a:pt x="990600" y="0"/>
                </a:moveTo>
                <a:cubicBezTo>
                  <a:pt x="967052" y="10848"/>
                  <a:pt x="943504" y="21696"/>
                  <a:pt x="930275" y="28575"/>
                </a:cubicBezTo>
                <a:cubicBezTo>
                  <a:pt x="917046" y="35454"/>
                  <a:pt x="919162" y="35454"/>
                  <a:pt x="911225" y="41275"/>
                </a:cubicBezTo>
                <a:cubicBezTo>
                  <a:pt x="903288" y="47096"/>
                  <a:pt x="890587" y="58738"/>
                  <a:pt x="882650" y="63500"/>
                </a:cubicBezTo>
                <a:cubicBezTo>
                  <a:pt x="874712" y="68263"/>
                  <a:pt x="874183" y="69321"/>
                  <a:pt x="863600" y="69850"/>
                </a:cubicBezTo>
                <a:cubicBezTo>
                  <a:pt x="853017" y="70379"/>
                  <a:pt x="831850" y="66146"/>
                  <a:pt x="819150" y="66675"/>
                </a:cubicBezTo>
                <a:cubicBezTo>
                  <a:pt x="806450" y="67204"/>
                  <a:pt x="796925" y="70379"/>
                  <a:pt x="787400" y="73025"/>
                </a:cubicBezTo>
                <a:cubicBezTo>
                  <a:pt x="777875" y="75671"/>
                  <a:pt x="770467" y="75671"/>
                  <a:pt x="762000" y="82550"/>
                </a:cubicBezTo>
                <a:cubicBezTo>
                  <a:pt x="753533" y="89429"/>
                  <a:pt x="751417" y="99483"/>
                  <a:pt x="736600" y="114300"/>
                </a:cubicBezTo>
                <a:cubicBezTo>
                  <a:pt x="721783" y="129117"/>
                  <a:pt x="687387" y="159279"/>
                  <a:pt x="673100" y="171450"/>
                </a:cubicBezTo>
                <a:cubicBezTo>
                  <a:pt x="658813" y="183621"/>
                  <a:pt x="659871" y="177800"/>
                  <a:pt x="650875" y="187325"/>
                </a:cubicBezTo>
                <a:cubicBezTo>
                  <a:pt x="641879" y="196850"/>
                  <a:pt x="631296" y="216429"/>
                  <a:pt x="619125" y="228600"/>
                </a:cubicBezTo>
                <a:cubicBezTo>
                  <a:pt x="606954" y="240771"/>
                  <a:pt x="592137" y="251354"/>
                  <a:pt x="577850" y="260350"/>
                </a:cubicBezTo>
                <a:cubicBezTo>
                  <a:pt x="563563" y="269346"/>
                  <a:pt x="550333" y="277813"/>
                  <a:pt x="533400" y="282575"/>
                </a:cubicBezTo>
                <a:cubicBezTo>
                  <a:pt x="516467" y="287337"/>
                  <a:pt x="490008" y="286808"/>
                  <a:pt x="476250" y="288925"/>
                </a:cubicBezTo>
                <a:cubicBezTo>
                  <a:pt x="462492" y="291042"/>
                  <a:pt x="459317" y="289454"/>
                  <a:pt x="450850" y="295275"/>
                </a:cubicBezTo>
                <a:cubicBezTo>
                  <a:pt x="442383" y="301096"/>
                  <a:pt x="436033" y="318558"/>
                  <a:pt x="425450" y="323850"/>
                </a:cubicBezTo>
                <a:cubicBezTo>
                  <a:pt x="414867" y="329142"/>
                  <a:pt x="400579" y="323850"/>
                  <a:pt x="387350" y="327025"/>
                </a:cubicBezTo>
                <a:cubicBezTo>
                  <a:pt x="374121" y="330200"/>
                  <a:pt x="356658" y="338138"/>
                  <a:pt x="346075" y="342900"/>
                </a:cubicBezTo>
                <a:cubicBezTo>
                  <a:pt x="335492" y="347663"/>
                  <a:pt x="323850" y="355600"/>
                  <a:pt x="323850" y="355600"/>
                </a:cubicBezTo>
                <a:cubicBezTo>
                  <a:pt x="316442" y="359833"/>
                  <a:pt x="311150" y="365654"/>
                  <a:pt x="301625" y="368300"/>
                </a:cubicBezTo>
                <a:cubicBezTo>
                  <a:pt x="292100" y="370946"/>
                  <a:pt x="278871" y="368300"/>
                  <a:pt x="266700" y="371475"/>
                </a:cubicBezTo>
                <a:cubicBezTo>
                  <a:pt x="254529" y="374650"/>
                  <a:pt x="241829" y="382588"/>
                  <a:pt x="228600" y="387350"/>
                </a:cubicBezTo>
                <a:cubicBezTo>
                  <a:pt x="215371" y="392112"/>
                  <a:pt x="201612" y="395817"/>
                  <a:pt x="187325" y="400050"/>
                </a:cubicBezTo>
                <a:cubicBezTo>
                  <a:pt x="173038" y="404283"/>
                  <a:pt x="155575" y="408517"/>
                  <a:pt x="142875" y="412750"/>
                </a:cubicBezTo>
                <a:cubicBezTo>
                  <a:pt x="130175" y="416983"/>
                  <a:pt x="121179" y="422804"/>
                  <a:pt x="111125" y="425450"/>
                </a:cubicBezTo>
                <a:cubicBezTo>
                  <a:pt x="101071" y="428096"/>
                  <a:pt x="91017" y="427038"/>
                  <a:pt x="82550" y="428625"/>
                </a:cubicBezTo>
                <a:cubicBezTo>
                  <a:pt x="74083" y="430212"/>
                  <a:pt x="68263" y="433387"/>
                  <a:pt x="60325" y="434975"/>
                </a:cubicBezTo>
                <a:cubicBezTo>
                  <a:pt x="52387" y="436563"/>
                  <a:pt x="43392" y="434975"/>
                  <a:pt x="34925" y="438150"/>
                </a:cubicBezTo>
                <a:cubicBezTo>
                  <a:pt x="26458" y="441325"/>
                  <a:pt x="9525" y="454025"/>
                  <a:pt x="9525" y="454025"/>
                </a:cubicBezTo>
                <a:cubicBezTo>
                  <a:pt x="3704" y="458258"/>
                  <a:pt x="1852" y="460904"/>
                  <a:pt x="0" y="46355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0" name="Полилиния 309"/>
          <p:cNvSpPr/>
          <p:nvPr/>
        </p:nvSpPr>
        <p:spPr>
          <a:xfrm>
            <a:off x="1540456" y="3005920"/>
            <a:ext cx="990600" cy="463550"/>
          </a:xfrm>
          <a:custGeom>
            <a:avLst/>
            <a:gdLst>
              <a:gd name="connsiteX0" fmla="*/ 990600 w 990600"/>
              <a:gd name="connsiteY0" fmla="*/ 0 h 463550"/>
              <a:gd name="connsiteX1" fmla="*/ 930275 w 990600"/>
              <a:gd name="connsiteY1" fmla="*/ 28575 h 463550"/>
              <a:gd name="connsiteX2" fmla="*/ 911225 w 990600"/>
              <a:gd name="connsiteY2" fmla="*/ 41275 h 463550"/>
              <a:gd name="connsiteX3" fmla="*/ 882650 w 990600"/>
              <a:gd name="connsiteY3" fmla="*/ 63500 h 463550"/>
              <a:gd name="connsiteX4" fmla="*/ 863600 w 990600"/>
              <a:gd name="connsiteY4" fmla="*/ 69850 h 463550"/>
              <a:gd name="connsiteX5" fmla="*/ 819150 w 990600"/>
              <a:gd name="connsiteY5" fmla="*/ 66675 h 463550"/>
              <a:gd name="connsiteX6" fmla="*/ 787400 w 990600"/>
              <a:gd name="connsiteY6" fmla="*/ 73025 h 463550"/>
              <a:gd name="connsiteX7" fmla="*/ 762000 w 990600"/>
              <a:gd name="connsiteY7" fmla="*/ 82550 h 463550"/>
              <a:gd name="connsiteX8" fmla="*/ 736600 w 990600"/>
              <a:gd name="connsiteY8" fmla="*/ 114300 h 463550"/>
              <a:gd name="connsiteX9" fmla="*/ 673100 w 990600"/>
              <a:gd name="connsiteY9" fmla="*/ 171450 h 463550"/>
              <a:gd name="connsiteX10" fmla="*/ 650875 w 990600"/>
              <a:gd name="connsiteY10" fmla="*/ 187325 h 463550"/>
              <a:gd name="connsiteX11" fmla="*/ 619125 w 990600"/>
              <a:gd name="connsiteY11" fmla="*/ 228600 h 463550"/>
              <a:gd name="connsiteX12" fmla="*/ 577850 w 990600"/>
              <a:gd name="connsiteY12" fmla="*/ 260350 h 463550"/>
              <a:gd name="connsiteX13" fmla="*/ 533400 w 990600"/>
              <a:gd name="connsiteY13" fmla="*/ 282575 h 463550"/>
              <a:gd name="connsiteX14" fmla="*/ 476250 w 990600"/>
              <a:gd name="connsiteY14" fmla="*/ 288925 h 463550"/>
              <a:gd name="connsiteX15" fmla="*/ 450850 w 990600"/>
              <a:gd name="connsiteY15" fmla="*/ 295275 h 463550"/>
              <a:gd name="connsiteX16" fmla="*/ 425450 w 990600"/>
              <a:gd name="connsiteY16" fmla="*/ 323850 h 463550"/>
              <a:gd name="connsiteX17" fmla="*/ 387350 w 990600"/>
              <a:gd name="connsiteY17" fmla="*/ 327025 h 463550"/>
              <a:gd name="connsiteX18" fmla="*/ 346075 w 990600"/>
              <a:gd name="connsiteY18" fmla="*/ 342900 h 463550"/>
              <a:gd name="connsiteX19" fmla="*/ 323850 w 990600"/>
              <a:gd name="connsiteY19" fmla="*/ 355600 h 463550"/>
              <a:gd name="connsiteX20" fmla="*/ 301625 w 990600"/>
              <a:gd name="connsiteY20" fmla="*/ 368300 h 463550"/>
              <a:gd name="connsiteX21" fmla="*/ 266700 w 990600"/>
              <a:gd name="connsiteY21" fmla="*/ 371475 h 463550"/>
              <a:gd name="connsiteX22" fmla="*/ 228600 w 990600"/>
              <a:gd name="connsiteY22" fmla="*/ 387350 h 463550"/>
              <a:gd name="connsiteX23" fmla="*/ 187325 w 990600"/>
              <a:gd name="connsiteY23" fmla="*/ 400050 h 463550"/>
              <a:gd name="connsiteX24" fmla="*/ 142875 w 990600"/>
              <a:gd name="connsiteY24" fmla="*/ 412750 h 463550"/>
              <a:gd name="connsiteX25" fmla="*/ 111125 w 990600"/>
              <a:gd name="connsiteY25" fmla="*/ 425450 h 463550"/>
              <a:gd name="connsiteX26" fmla="*/ 82550 w 990600"/>
              <a:gd name="connsiteY26" fmla="*/ 428625 h 463550"/>
              <a:gd name="connsiteX27" fmla="*/ 60325 w 990600"/>
              <a:gd name="connsiteY27" fmla="*/ 434975 h 463550"/>
              <a:gd name="connsiteX28" fmla="*/ 34925 w 990600"/>
              <a:gd name="connsiteY28" fmla="*/ 438150 h 463550"/>
              <a:gd name="connsiteX29" fmla="*/ 9525 w 990600"/>
              <a:gd name="connsiteY29" fmla="*/ 454025 h 463550"/>
              <a:gd name="connsiteX30" fmla="*/ 0 w 990600"/>
              <a:gd name="connsiteY30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990600" h="463550">
                <a:moveTo>
                  <a:pt x="990600" y="0"/>
                </a:moveTo>
                <a:cubicBezTo>
                  <a:pt x="967052" y="10848"/>
                  <a:pt x="943504" y="21696"/>
                  <a:pt x="930275" y="28575"/>
                </a:cubicBezTo>
                <a:cubicBezTo>
                  <a:pt x="917046" y="35454"/>
                  <a:pt x="919162" y="35454"/>
                  <a:pt x="911225" y="41275"/>
                </a:cubicBezTo>
                <a:cubicBezTo>
                  <a:pt x="903288" y="47096"/>
                  <a:pt x="890587" y="58738"/>
                  <a:pt x="882650" y="63500"/>
                </a:cubicBezTo>
                <a:cubicBezTo>
                  <a:pt x="874712" y="68263"/>
                  <a:pt x="874183" y="69321"/>
                  <a:pt x="863600" y="69850"/>
                </a:cubicBezTo>
                <a:cubicBezTo>
                  <a:pt x="853017" y="70379"/>
                  <a:pt x="831850" y="66146"/>
                  <a:pt x="819150" y="66675"/>
                </a:cubicBezTo>
                <a:cubicBezTo>
                  <a:pt x="806450" y="67204"/>
                  <a:pt x="796925" y="70379"/>
                  <a:pt x="787400" y="73025"/>
                </a:cubicBezTo>
                <a:cubicBezTo>
                  <a:pt x="777875" y="75671"/>
                  <a:pt x="770467" y="75671"/>
                  <a:pt x="762000" y="82550"/>
                </a:cubicBezTo>
                <a:cubicBezTo>
                  <a:pt x="753533" y="89429"/>
                  <a:pt x="751417" y="99483"/>
                  <a:pt x="736600" y="114300"/>
                </a:cubicBezTo>
                <a:cubicBezTo>
                  <a:pt x="721783" y="129117"/>
                  <a:pt x="687387" y="159279"/>
                  <a:pt x="673100" y="171450"/>
                </a:cubicBezTo>
                <a:cubicBezTo>
                  <a:pt x="658813" y="183621"/>
                  <a:pt x="659871" y="177800"/>
                  <a:pt x="650875" y="187325"/>
                </a:cubicBezTo>
                <a:cubicBezTo>
                  <a:pt x="641879" y="196850"/>
                  <a:pt x="631296" y="216429"/>
                  <a:pt x="619125" y="228600"/>
                </a:cubicBezTo>
                <a:cubicBezTo>
                  <a:pt x="606954" y="240771"/>
                  <a:pt x="592137" y="251354"/>
                  <a:pt x="577850" y="260350"/>
                </a:cubicBezTo>
                <a:cubicBezTo>
                  <a:pt x="563563" y="269346"/>
                  <a:pt x="550333" y="277813"/>
                  <a:pt x="533400" y="282575"/>
                </a:cubicBezTo>
                <a:cubicBezTo>
                  <a:pt x="516467" y="287337"/>
                  <a:pt x="490008" y="286808"/>
                  <a:pt x="476250" y="288925"/>
                </a:cubicBezTo>
                <a:cubicBezTo>
                  <a:pt x="462492" y="291042"/>
                  <a:pt x="459317" y="289454"/>
                  <a:pt x="450850" y="295275"/>
                </a:cubicBezTo>
                <a:cubicBezTo>
                  <a:pt x="442383" y="301096"/>
                  <a:pt x="436033" y="318558"/>
                  <a:pt x="425450" y="323850"/>
                </a:cubicBezTo>
                <a:cubicBezTo>
                  <a:pt x="414867" y="329142"/>
                  <a:pt x="400579" y="323850"/>
                  <a:pt x="387350" y="327025"/>
                </a:cubicBezTo>
                <a:cubicBezTo>
                  <a:pt x="374121" y="330200"/>
                  <a:pt x="356658" y="338138"/>
                  <a:pt x="346075" y="342900"/>
                </a:cubicBezTo>
                <a:cubicBezTo>
                  <a:pt x="335492" y="347663"/>
                  <a:pt x="323850" y="355600"/>
                  <a:pt x="323850" y="355600"/>
                </a:cubicBezTo>
                <a:cubicBezTo>
                  <a:pt x="316442" y="359833"/>
                  <a:pt x="311150" y="365654"/>
                  <a:pt x="301625" y="368300"/>
                </a:cubicBezTo>
                <a:cubicBezTo>
                  <a:pt x="292100" y="370946"/>
                  <a:pt x="278871" y="368300"/>
                  <a:pt x="266700" y="371475"/>
                </a:cubicBezTo>
                <a:cubicBezTo>
                  <a:pt x="254529" y="374650"/>
                  <a:pt x="241829" y="382588"/>
                  <a:pt x="228600" y="387350"/>
                </a:cubicBezTo>
                <a:cubicBezTo>
                  <a:pt x="215371" y="392112"/>
                  <a:pt x="201612" y="395817"/>
                  <a:pt x="187325" y="400050"/>
                </a:cubicBezTo>
                <a:cubicBezTo>
                  <a:pt x="173038" y="404283"/>
                  <a:pt x="155575" y="408517"/>
                  <a:pt x="142875" y="412750"/>
                </a:cubicBezTo>
                <a:cubicBezTo>
                  <a:pt x="130175" y="416983"/>
                  <a:pt x="121179" y="422804"/>
                  <a:pt x="111125" y="425450"/>
                </a:cubicBezTo>
                <a:cubicBezTo>
                  <a:pt x="101071" y="428096"/>
                  <a:pt x="91017" y="427038"/>
                  <a:pt x="82550" y="428625"/>
                </a:cubicBezTo>
                <a:cubicBezTo>
                  <a:pt x="74083" y="430212"/>
                  <a:pt x="68263" y="433387"/>
                  <a:pt x="60325" y="434975"/>
                </a:cubicBezTo>
                <a:cubicBezTo>
                  <a:pt x="52387" y="436563"/>
                  <a:pt x="43392" y="434975"/>
                  <a:pt x="34925" y="438150"/>
                </a:cubicBezTo>
                <a:cubicBezTo>
                  <a:pt x="26458" y="441325"/>
                  <a:pt x="9525" y="454025"/>
                  <a:pt x="9525" y="454025"/>
                </a:cubicBezTo>
                <a:cubicBezTo>
                  <a:pt x="3704" y="458258"/>
                  <a:pt x="1852" y="460904"/>
                  <a:pt x="0" y="46355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1" name="Полилиния 310"/>
          <p:cNvSpPr/>
          <p:nvPr/>
        </p:nvSpPr>
        <p:spPr>
          <a:xfrm>
            <a:off x="2483479" y="2867041"/>
            <a:ext cx="14105" cy="130175"/>
          </a:xfrm>
          <a:custGeom>
            <a:avLst/>
            <a:gdLst>
              <a:gd name="connsiteX0" fmla="*/ 6533 w 14105"/>
              <a:gd name="connsiteY0" fmla="*/ 0 h 130175"/>
              <a:gd name="connsiteX1" fmla="*/ 183 w 14105"/>
              <a:gd name="connsiteY1" fmla="*/ 76200 h 130175"/>
              <a:gd name="connsiteX2" fmla="*/ 12883 w 14105"/>
              <a:gd name="connsiteY2" fmla="*/ 92075 h 130175"/>
              <a:gd name="connsiteX3" fmla="*/ 12883 w 14105"/>
              <a:gd name="connsiteY3" fmla="*/ 130175 h 1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05" h="130175">
                <a:moveTo>
                  <a:pt x="6533" y="0"/>
                </a:moveTo>
                <a:cubicBezTo>
                  <a:pt x="2829" y="30427"/>
                  <a:pt x="-875" y="60854"/>
                  <a:pt x="183" y="76200"/>
                </a:cubicBezTo>
                <a:cubicBezTo>
                  <a:pt x="1241" y="91546"/>
                  <a:pt x="10766" y="83079"/>
                  <a:pt x="12883" y="92075"/>
                </a:cubicBezTo>
                <a:cubicBezTo>
                  <a:pt x="15000" y="101071"/>
                  <a:pt x="13941" y="115623"/>
                  <a:pt x="12883" y="13017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2" name="Полилиния 311"/>
          <p:cNvSpPr/>
          <p:nvPr/>
        </p:nvSpPr>
        <p:spPr>
          <a:xfrm>
            <a:off x="2494109" y="2724166"/>
            <a:ext cx="42667" cy="123825"/>
          </a:xfrm>
          <a:custGeom>
            <a:avLst/>
            <a:gdLst>
              <a:gd name="connsiteX0" fmla="*/ 0 w 42667"/>
              <a:gd name="connsiteY0" fmla="*/ 123825 h 123825"/>
              <a:gd name="connsiteX1" fmla="*/ 38100 w 42667"/>
              <a:gd name="connsiteY1" fmla="*/ 73025 h 123825"/>
              <a:gd name="connsiteX2" fmla="*/ 41275 w 42667"/>
              <a:gd name="connsiteY2" fmla="*/ 44450 h 123825"/>
              <a:gd name="connsiteX3" fmla="*/ 31750 w 42667"/>
              <a:gd name="connsiteY3" fmla="*/ 28575 h 123825"/>
              <a:gd name="connsiteX4" fmla="*/ 28575 w 42667"/>
              <a:gd name="connsiteY4" fmla="*/ 0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667" h="123825">
                <a:moveTo>
                  <a:pt x="0" y="123825"/>
                </a:moveTo>
                <a:cubicBezTo>
                  <a:pt x="15610" y="105039"/>
                  <a:pt x="31221" y="86254"/>
                  <a:pt x="38100" y="73025"/>
                </a:cubicBezTo>
                <a:cubicBezTo>
                  <a:pt x="44979" y="59796"/>
                  <a:pt x="42333" y="51858"/>
                  <a:pt x="41275" y="44450"/>
                </a:cubicBezTo>
                <a:cubicBezTo>
                  <a:pt x="40217" y="37042"/>
                  <a:pt x="33867" y="35983"/>
                  <a:pt x="31750" y="28575"/>
                </a:cubicBezTo>
                <a:cubicBezTo>
                  <a:pt x="29633" y="21167"/>
                  <a:pt x="29104" y="10583"/>
                  <a:pt x="28575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3" name="Полилиния 312"/>
          <p:cNvSpPr/>
          <p:nvPr/>
        </p:nvSpPr>
        <p:spPr>
          <a:xfrm>
            <a:off x="2541688" y="2729736"/>
            <a:ext cx="42667" cy="123825"/>
          </a:xfrm>
          <a:custGeom>
            <a:avLst/>
            <a:gdLst>
              <a:gd name="connsiteX0" fmla="*/ 0 w 42667"/>
              <a:gd name="connsiteY0" fmla="*/ 123825 h 123825"/>
              <a:gd name="connsiteX1" fmla="*/ 38100 w 42667"/>
              <a:gd name="connsiteY1" fmla="*/ 73025 h 123825"/>
              <a:gd name="connsiteX2" fmla="*/ 41275 w 42667"/>
              <a:gd name="connsiteY2" fmla="*/ 44450 h 123825"/>
              <a:gd name="connsiteX3" fmla="*/ 31750 w 42667"/>
              <a:gd name="connsiteY3" fmla="*/ 28575 h 123825"/>
              <a:gd name="connsiteX4" fmla="*/ 28575 w 42667"/>
              <a:gd name="connsiteY4" fmla="*/ 0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667" h="123825">
                <a:moveTo>
                  <a:pt x="0" y="123825"/>
                </a:moveTo>
                <a:cubicBezTo>
                  <a:pt x="15610" y="105039"/>
                  <a:pt x="31221" y="86254"/>
                  <a:pt x="38100" y="73025"/>
                </a:cubicBezTo>
                <a:cubicBezTo>
                  <a:pt x="44979" y="59796"/>
                  <a:pt x="42333" y="51858"/>
                  <a:pt x="41275" y="44450"/>
                </a:cubicBezTo>
                <a:cubicBezTo>
                  <a:pt x="40217" y="37042"/>
                  <a:pt x="33867" y="35983"/>
                  <a:pt x="31750" y="28575"/>
                </a:cubicBezTo>
                <a:cubicBezTo>
                  <a:pt x="29633" y="21167"/>
                  <a:pt x="29104" y="10583"/>
                  <a:pt x="28575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8" name="Полилиния 317"/>
          <p:cNvSpPr/>
          <p:nvPr/>
        </p:nvSpPr>
        <p:spPr>
          <a:xfrm>
            <a:off x="2528734" y="2869438"/>
            <a:ext cx="14105" cy="130175"/>
          </a:xfrm>
          <a:custGeom>
            <a:avLst/>
            <a:gdLst>
              <a:gd name="connsiteX0" fmla="*/ 6533 w 14105"/>
              <a:gd name="connsiteY0" fmla="*/ 0 h 130175"/>
              <a:gd name="connsiteX1" fmla="*/ 183 w 14105"/>
              <a:gd name="connsiteY1" fmla="*/ 76200 h 130175"/>
              <a:gd name="connsiteX2" fmla="*/ 12883 w 14105"/>
              <a:gd name="connsiteY2" fmla="*/ 92075 h 130175"/>
              <a:gd name="connsiteX3" fmla="*/ 12883 w 14105"/>
              <a:gd name="connsiteY3" fmla="*/ 130175 h 1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05" h="130175">
                <a:moveTo>
                  <a:pt x="6533" y="0"/>
                </a:moveTo>
                <a:cubicBezTo>
                  <a:pt x="2829" y="30427"/>
                  <a:pt x="-875" y="60854"/>
                  <a:pt x="183" y="76200"/>
                </a:cubicBezTo>
                <a:cubicBezTo>
                  <a:pt x="1241" y="91546"/>
                  <a:pt x="10766" y="83079"/>
                  <a:pt x="12883" y="92075"/>
                </a:cubicBezTo>
                <a:cubicBezTo>
                  <a:pt x="15000" y="101071"/>
                  <a:pt x="13941" y="115623"/>
                  <a:pt x="12883" y="13017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9" name="Блок-схема: узел 168"/>
          <p:cNvSpPr/>
          <p:nvPr/>
        </p:nvSpPr>
        <p:spPr>
          <a:xfrm>
            <a:off x="2474777" y="2944297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Блок-схема: узел 21"/>
          <p:cNvSpPr/>
          <p:nvPr/>
        </p:nvSpPr>
        <p:spPr>
          <a:xfrm>
            <a:off x="2493608" y="2657598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9" name="Полилиния 318"/>
          <p:cNvSpPr/>
          <p:nvPr/>
        </p:nvSpPr>
        <p:spPr>
          <a:xfrm>
            <a:off x="764508" y="4316352"/>
            <a:ext cx="1081310" cy="423592"/>
          </a:xfrm>
          <a:custGeom>
            <a:avLst/>
            <a:gdLst>
              <a:gd name="connsiteX0" fmla="*/ 1078706 w 1081310"/>
              <a:gd name="connsiteY0" fmla="*/ 0 h 423592"/>
              <a:gd name="connsiteX1" fmla="*/ 1076325 w 1081310"/>
              <a:gd name="connsiteY1" fmla="*/ 59531 h 423592"/>
              <a:gd name="connsiteX2" fmla="*/ 1033463 w 1081310"/>
              <a:gd name="connsiteY2" fmla="*/ 71437 h 423592"/>
              <a:gd name="connsiteX3" fmla="*/ 983456 w 1081310"/>
              <a:gd name="connsiteY3" fmla="*/ 90487 h 423592"/>
              <a:gd name="connsiteX4" fmla="*/ 919163 w 1081310"/>
              <a:gd name="connsiteY4" fmla="*/ 119062 h 423592"/>
              <a:gd name="connsiteX5" fmla="*/ 835819 w 1081310"/>
              <a:gd name="connsiteY5" fmla="*/ 152400 h 423592"/>
              <a:gd name="connsiteX6" fmla="*/ 723900 w 1081310"/>
              <a:gd name="connsiteY6" fmla="*/ 197644 h 423592"/>
              <a:gd name="connsiteX7" fmla="*/ 552450 w 1081310"/>
              <a:gd name="connsiteY7" fmla="*/ 276225 h 423592"/>
              <a:gd name="connsiteX8" fmla="*/ 502444 w 1081310"/>
              <a:gd name="connsiteY8" fmla="*/ 290512 h 423592"/>
              <a:gd name="connsiteX9" fmla="*/ 469106 w 1081310"/>
              <a:gd name="connsiteY9" fmla="*/ 278606 h 423592"/>
              <a:gd name="connsiteX10" fmla="*/ 385763 w 1081310"/>
              <a:gd name="connsiteY10" fmla="*/ 238125 h 423592"/>
              <a:gd name="connsiteX11" fmla="*/ 347663 w 1081310"/>
              <a:gd name="connsiteY11" fmla="*/ 228600 h 423592"/>
              <a:gd name="connsiteX12" fmla="*/ 297656 w 1081310"/>
              <a:gd name="connsiteY12" fmla="*/ 211931 h 423592"/>
              <a:gd name="connsiteX13" fmla="*/ 261938 w 1081310"/>
              <a:gd name="connsiteY13" fmla="*/ 223837 h 423592"/>
              <a:gd name="connsiteX14" fmla="*/ 250031 w 1081310"/>
              <a:gd name="connsiteY14" fmla="*/ 266700 h 423592"/>
              <a:gd name="connsiteX15" fmla="*/ 238125 w 1081310"/>
              <a:gd name="connsiteY15" fmla="*/ 314325 h 423592"/>
              <a:gd name="connsiteX16" fmla="*/ 219075 w 1081310"/>
              <a:gd name="connsiteY16" fmla="*/ 385762 h 423592"/>
              <a:gd name="connsiteX17" fmla="*/ 202406 w 1081310"/>
              <a:gd name="connsiteY17" fmla="*/ 419100 h 423592"/>
              <a:gd name="connsiteX18" fmla="*/ 188119 w 1081310"/>
              <a:gd name="connsiteY18" fmla="*/ 421481 h 423592"/>
              <a:gd name="connsiteX19" fmla="*/ 142875 w 1081310"/>
              <a:gd name="connsiteY19" fmla="*/ 402431 h 423592"/>
              <a:gd name="connsiteX20" fmla="*/ 97631 w 1081310"/>
              <a:gd name="connsiteY20" fmla="*/ 376237 h 423592"/>
              <a:gd name="connsiteX21" fmla="*/ 64294 w 1081310"/>
              <a:gd name="connsiteY21" fmla="*/ 361950 h 423592"/>
              <a:gd name="connsiteX22" fmla="*/ 35719 w 1081310"/>
              <a:gd name="connsiteY22" fmla="*/ 347662 h 423592"/>
              <a:gd name="connsiteX23" fmla="*/ 0 w 1081310"/>
              <a:gd name="connsiteY23" fmla="*/ 330994 h 423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081310" h="423592">
                <a:moveTo>
                  <a:pt x="1078706" y="0"/>
                </a:moveTo>
                <a:cubicBezTo>
                  <a:pt x="1081285" y="23812"/>
                  <a:pt x="1083865" y="47625"/>
                  <a:pt x="1076325" y="59531"/>
                </a:cubicBezTo>
                <a:cubicBezTo>
                  <a:pt x="1068785" y="71437"/>
                  <a:pt x="1048941" y="66278"/>
                  <a:pt x="1033463" y="71437"/>
                </a:cubicBezTo>
                <a:cubicBezTo>
                  <a:pt x="1017985" y="76596"/>
                  <a:pt x="1002506" y="82550"/>
                  <a:pt x="983456" y="90487"/>
                </a:cubicBezTo>
                <a:cubicBezTo>
                  <a:pt x="964406" y="98424"/>
                  <a:pt x="943769" y="108743"/>
                  <a:pt x="919163" y="119062"/>
                </a:cubicBezTo>
                <a:cubicBezTo>
                  <a:pt x="894557" y="129381"/>
                  <a:pt x="835819" y="152400"/>
                  <a:pt x="835819" y="152400"/>
                </a:cubicBezTo>
                <a:cubicBezTo>
                  <a:pt x="803275" y="165497"/>
                  <a:pt x="771128" y="177007"/>
                  <a:pt x="723900" y="197644"/>
                </a:cubicBezTo>
                <a:cubicBezTo>
                  <a:pt x="676672" y="218282"/>
                  <a:pt x="589359" y="260747"/>
                  <a:pt x="552450" y="276225"/>
                </a:cubicBezTo>
                <a:cubicBezTo>
                  <a:pt x="515541" y="291703"/>
                  <a:pt x="516335" y="290115"/>
                  <a:pt x="502444" y="290512"/>
                </a:cubicBezTo>
                <a:cubicBezTo>
                  <a:pt x="488553" y="290909"/>
                  <a:pt x="488553" y="287337"/>
                  <a:pt x="469106" y="278606"/>
                </a:cubicBezTo>
                <a:cubicBezTo>
                  <a:pt x="449659" y="269875"/>
                  <a:pt x="406003" y="246459"/>
                  <a:pt x="385763" y="238125"/>
                </a:cubicBezTo>
                <a:cubicBezTo>
                  <a:pt x="365523" y="229791"/>
                  <a:pt x="362347" y="232966"/>
                  <a:pt x="347663" y="228600"/>
                </a:cubicBezTo>
                <a:cubicBezTo>
                  <a:pt x="332978" y="224234"/>
                  <a:pt x="311943" y="212725"/>
                  <a:pt x="297656" y="211931"/>
                </a:cubicBezTo>
                <a:cubicBezTo>
                  <a:pt x="283369" y="211137"/>
                  <a:pt x="269876" y="214709"/>
                  <a:pt x="261938" y="223837"/>
                </a:cubicBezTo>
                <a:cubicBezTo>
                  <a:pt x="254000" y="232965"/>
                  <a:pt x="254000" y="251619"/>
                  <a:pt x="250031" y="266700"/>
                </a:cubicBezTo>
                <a:cubicBezTo>
                  <a:pt x="246062" y="281781"/>
                  <a:pt x="243284" y="294481"/>
                  <a:pt x="238125" y="314325"/>
                </a:cubicBezTo>
                <a:cubicBezTo>
                  <a:pt x="232966" y="334169"/>
                  <a:pt x="225028" y="368300"/>
                  <a:pt x="219075" y="385762"/>
                </a:cubicBezTo>
                <a:cubicBezTo>
                  <a:pt x="213122" y="403225"/>
                  <a:pt x="207565" y="413147"/>
                  <a:pt x="202406" y="419100"/>
                </a:cubicBezTo>
                <a:cubicBezTo>
                  <a:pt x="197247" y="425053"/>
                  <a:pt x="198041" y="424259"/>
                  <a:pt x="188119" y="421481"/>
                </a:cubicBezTo>
                <a:cubicBezTo>
                  <a:pt x="178197" y="418703"/>
                  <a:pt x="157956" y="409972"/>
                  <a:pt x="142875" y="402431"/>
                </a:cubicBezTo>
                <a:cubicBezTo>
                  <a:pt x="127794" y="394890"/>
                  <a:pt x="110728" y="382984"/>
                  <a:pt x="97631" y="376237"/>
                </a:cubicBezTo>
                <a:cubicBezTo>
                  <a:pt x="84534" y="369490"/>
                  <a:pt x="74613" y="366712"/>
                  <a:pt x="64294" y="361950"/>
                </a:cubicBezTo>
                <a:cubicBezTo>
                  <a:pt x="53975" y="357188"/>
                  <a:pt x="46435" y="352821"/>
                  <a:pt x="35719" y="347662"/>
                </a:cubicBezTo>
                <a:cubicBezTo>
                  <a:pt x="25003" y="342503"/>
                  <a:pt x="12501" y="336748"/>
                  <a:pt x="0" y="330994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0" name="Полилиния 319"/>
          <p:cNvSpPr/>
          <p:nvPr/>
        </p:nvSpPr>
        <p:spPr>
          <a:xfrm>
            <a:off x="743819" y="4271755"/>
            <a:ext cx="1081310" cy="423592"/>
          </a:xfrm>
          <a:custGeom>
            <a:avLst/>
            <a:gdLst>
              <a:gd name="connsiteX0" fmla="*/ 1078706 w 1081310"/>
              <a:gd name="connsiteY0" fmla="*/ 0 h 423592"/>
              <a:gd name="connsiteX1" fmla="*/ 1076325 w 1081310"/>
              <a:gd name="connsiteY1" fmla="*/ 59531 h 423592"/>
              <a:gd name="connsiteX2" fmla="*/ 1033463 w 1081310"/>
              <a:gd name="connsiteY2" fmla="*/ 71437 h 423592"/>
              <a:gd name="connsiteX3" fmla="*/ 983456 w 1081310"/>
              <a:gd name="connsiteY3" fmla="*/ 90487 h 423592"/>
              <a:gd name="connsiteX4" fmla="*/ 919163 w 1081310"/>
              <a:gd name="connsiteY4" fmla="*/ 119062 h 423592"/>
              <a:gd name="connsiteX5" fmla="*/ 835819 w 1081310"/>
              <a:gd name="connsiteY5" fmla="*/ 152400 h 423592"/>
              <a:gd name="connsiteX6" fmla="*/ 723900 w 1081310"/>
              <a:gd name="connsiteY6" fmla="*/ 197644 h 423592"/>
              <a:gd name="connsiteX7" fmla="*/ 552450 w 1081310"/>
              <a:gd name="connsiteY7" fmla="*/ 276225 h 423592"/>
              <a:gd name="connsiteX8" fmla="*/ 502444 w 1081310"/>
              <a:gd name="connsiteY8" fmla="*/ 290512 h 423592"/>
              <a:gd name="connsiteX9" fmla="*/ 469106 w 1081310"/>
              <a:gd name="connsiteY9" fmla="*/ 278606 h 423592"/>
              <a:gd name="connsiteX10" fmla="*/ 385763 w 1081310"/>
              <a:gd name="connsiteY10" fmla="*/ 238125 h 423592"/>
              <a:gd name="connsiteX11" fmla="*/ 347663 w 1081310"/>
              <a:gd name="connsiteY11" fmla="*/ 228600 h 423592"/>
              <a:gd name="connsiteX12" fmla="*/ 297656 w 1081310"/>
              <a:gd name="connsiteY12" fmla="*/ 211931 h 423592"/>
              <a:gd name="connsiteX13" fmla="*/ 261938 w 1081310"/>
              <a:gd name="connsiteY13" fmla="*/ 223837 h 423592"/>
              <a:gd name="connsiteX14" fmla="*/ 250031 w 1081310"/>
              <a:gd name="connsiteY14" fmla="*/ 266700 h 423592"/>
              <a:gd name="connsiteX15" fmla="*/ 238125 w 1081310"/>
              <a:gd name="connsiteY15" fmla="*/ 314325 h 423592"/>
              <a:gd name="connsiteX16" fmla="*/ 219075 w 1081310"/>
              <a:gd name="connsiteY16" fmla="*/ 385762 h 423592"/>
              <a:gd name="connsiteX17" fmla="*/ 202406 w 1081310"/>
              <a:gd name="connsiteY17" fmla="*/ 419100 h 423592"/>
              <a:gd name="connsiteX18" fmla="*/ 188119 w 1081310"/>
              <a:gd name="connsiteY18" fmla="*/ 421481 h 423592"/>
              <a:gd name="connsiteX19" fmla="*/ 142875 w 1081310"/>
              <a:gd name="connsiteY19" fmla="*/ 402431 h 423592"/>
              <a:gd name="connsiteX20" fmla="*/ 97631 w 1081310"/>
              <a:gd name="connsiteY20" fmla="*/ 376237 h 423592"/>
              <a:gd name="connsiteX21" fmla="*/ 64294 w 1081310"/>
              <a:gd name="connsiteY21" fmla="*/ 361950 h 423592"/>
              <a:gd name="connsiteX22" fmla="*/ 35719 w 1081310"/>
              <a:gd name="connsiteY22" fmla="*/ 347662 h 423592"/>
              <a:gd name="connsiteX23" fmla="*/ 0 w 1081310"/>
              <a:gd name="connsiteY23" fmla="*/ 330994 h 423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081310" h="423592">
                <a:moveTo>
                  <a:pt x="1078706" y="0"/>
                </a:moveTo>
                <a:cubicBezTo>
                  <a:pt x="1081285" y="23812"/>
                  <a:pt x="1083865" y="47625"/>
                  <a:pt x="1076325" y="59531"/>
                </a:cubicBezTo>
                <a:cubicBezTo>
                  <a:pt x="1068785" y="71437"/>
                  <a:pt x="1048941" y="66278"/>
                  <a:pt x="1033463" y="71437"/>
                </a:cubicBezTo>
                <a:cubicBezTo>
                  <a:pt x="1017985" y="76596"/>
                  <a:pt x="1002506" y="82550"/>
                  <a:pt x="983456" y="90487"/>
                </a:cubicBezTo>
                <a:cubicBezTo>
                  <a:pt x="964406" y="98424"/>
                  <a:pt x="943769" y="108743"/>
                  <a:pt x="919163" y="119062"/>
                </a:cubicBezTo>
                <a:cubicBezTo>
                  <a:pt x="894557" y="129381"/>
                  <a:pt x="835819" y="152400"/>
                  <a:pt x="835819" y="152400"/>
                </a:cubicBezTo>
                <a:cubicBezTo>
                  <a:pt x="803275" y="165497"/>
                  <a:pt x="771128" y="177007"/>
                  <a:pt x="723900" y="197644"/>
                </a:cubicBezTo>
                <a:cubicBezTo>
                  <a:pt x="676672" y="218282"/>
                  <a:pt x="589359" y="260747"/>
                  <a:pt x="552450" y="276225"/>
                </a:cubicBezTo>
                <a:cubicBezTo>
                  <a:pt x="515541" y="291703"/>
                  <a:pt x="516335" y="290115"/>
                  <a:pt x="502444" y="290512"/>
                </a:cubicBezTo>
                <a:cubicBezTo>
                  <a:pt x="488553" y="290909"/>
                  <a:pt x="488553" y="287337"/>
                  <a:pt x="469106" y="278606"/>
                </a:cubicBezTo>
                <a:cubicBezTo>
                  <a:pt x="449659" y="269875"/>
                  <a:pt x="406003" y="246459"/>
                  <a:pt x="385763" y="238125"/>
                </a:cubicBezTo>
                <a:cubicBezTo>
                  <a:pt x="365523" y="229791"/>
                  <a:pt x="362347" y="232966"/>
                  <a:pt x="347663" y="228600"/>
                </a:cubicBezTo>
                <a:cubicBezTo>
                  <a:pt x="332978" y="224234"/>
                  <a:pt x="311943" y="212725"/>
                  <a:pt x="297656" y="211931"/>
                </a:cubicBezTo>
                <a:cubicBezTo>
                  <a:pt x="283369" y="211137"/>
                  <a:pt x="269876" y="214709"/>
                  <a:pt x="261938" y="223837"/>
                </a:cubicBezTo>
                <a:cubicBezTo>
                  <a:pt x="254000" y="232965"/>
                  <a:pt x="254000" y="251619"/>
                  <a:pt x="250031" y="266700"/>
                </a:cubicBezTo>
                <a:cubicBezTo>
                  <a:pt x="246062" y="281781"/>
                  <a:pt x="243284" y="294481"/>
                  <a:pt x="238125" y="314325"/>
                </a:cubicBezTo>
                <a:cubicBezTo>
                  <a:pt x="232966" y="334169"/>
                  <a:pt x="225028" y="368300"/>
                  <a:pt x="219075" y="385762"/>
                </a:cubicBezTo>
                <a:cubicBezTo>
                  <a:pt x="213122" y="403225"/>
                  <a:pt x="207565" y="413147"/>
                  <a:pt x="202406" y="419100"/>
                </a:cubicBezTo>
                <a:cubicBezTo>
                  <a:pt x="197247" y="425053"/>
                  <a:pt x="198041" y="424259"/>
                  <a:pt x="188119" y="421481"/>
                </a:cubicBezTo>
                <a:cubicBezTo>
                  <a:pt x="178197" y="418703"/>
                  <a:pt x="157956" y="409972"/>
                  <a:pt x="142875" y="402431"/>
                </a:cubicBezTo>
                <a:cubicBezTo>
                  <a:pt x="127794" y="394890"/>
                  <a:pt x="110728" y="382984"/>
                  <a:pt x="97631" y="376237"/>
                </a:cubicBezTo>
                <a:cubicBezTo>
                  <a:pt x="84534" y="369490"/>
                  <a:pt x="74613" y="366712"/>
                  <a:pt x="64294" y="361950"/>
                </a:cubicBezTo>
                <a:cubicBezTo>
                  <a:pt x="53975" y="357188"/>
                  <a:pt x="46435" y="352821"/>
                  <a:pt x="35719" y="347662"/>
                </a:cubicBezTo>
                <a:cubicBezTo>
                  <a:pt x="25003" y="342503"/>
                  <a:pt x="12501" y="336748"/>
                  <a:pt x="0" y="330994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1" name="Полилиния 320"/>
          <p:cNvSpPr/>
          <p:nvPr/>
        </p:nvSpPr>
        <p:spPr>
          <a:xfrm>
            <a:off x="960348" y="4750994"/>
            <a:ext cx="160361" cy="92123"/>
          </a:xfrm>
          <a:custGeom>
            <a:avLst/>
            <a:gdLst>
              <a:gd name="connsiteX0" fmla="*/ 0 w 160361"/>
              <a:gd name="connsiteY0" fmla="*/ 0 h 92123"/>
              <a:gd name="connsiteX1" fmla="*/ 61415 w 160361"/>
              <a:gd name="connsiteY1" fmla="*/ 47767 h 92123"/>
              <a:gd name="connsiteX2" fmla="*/ 102358 w 160361"/>
              <a:gd name="connsiteY2" fmla="*/ 58003 h 92123"/>
              <a:gd name="connsiteX3" fmla="*/ 129654 w 160361"/>
              <a:gd name="connsiteY3" fmla="*/ 71651 h 92123"/>
              <a:gd name="connsiteX4" fmla="*/ 153537 w 160361"/>
              <a:gd name="connsiteY4" fmla="*/ 81887 h 92123"/>
              <a:gd name="connsiteX5" fmla="*/ 160361 w 160361"/>
              <a:gd name="connsiteY5" fmla="*/ 92123 h 9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361" h="92123">
                <a:moveTo>
                  <a:pt x="0" y="0"/>
                </a:moveTo>
                <a:cubicBezTo>
                  <a:pt x="22177" y="19050"/>
                  <a:pt x="44355" y="38100"/>
                  <a:pt x="61415" y="47767"/>
                </a:cubicBezTo>
                <a:cubicBezTo>
                  <a:pt x="78475" y="57434"/>
                  <a:pt x="90985" y="54022"/>
                  <a:pt x="102358" y="58003"/>
                </a:cubicBezTo>
                <a:cubicBezTo>
                  <a:pt x="113731" y="61984"/>
                  <a:pt x="121124" y="67670"/>
                  <a:pt x="129654" y="71651"/>
                </a:cubicBezTo>
                <a:cubicBezTo>
                  <a:pt x="138184" y="75632"/>
                  <a:pt x="153537" y="81887"/>
                  <a:pt x="153537" y="81887"/>
                </a:cubicBezTo>
                <a:cubicBezTo>
                  <a:pt x="158655" y="85299"/>
                  <a:pt x="159508" y="88711"/>
                  <a:pt x="160361" y="92123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2" name="Полилиния 321"/>
          <p:cNvSpPr/>
          <p:nvPr/>
        </p:nvSpPr>
        <p:spPr>
          <a:xfrm>
            <a:off x="970320" y="4710736"/>
            <a:ext cx="160361" cy="92123"/>
          </a:xfrm>
          <a:custGeom>
            <a:avLst/>
            <a:gdLst>
              <a:gd name="connsiteX0" fmla="*/ 0 w 160361"/>
              <a:gd name="connsiteY0" fmla="*/ 0 h 92123"/>
              <a:gd name="connsiteX1" fmla="*/ 61415 w 160361"/>
              <a:gd name="connsiteY1" fmla="*/ 47767 h 92123"/>
              <a:gd name="connsiteX2" fmla="*/ 102358 w 160361"/>
              <a:gd name="connsiteY2" fmla="*/ 58003 h 92123"/>
              <a:gd name="connsiteX3" fmla="*/ 129654 w 160361"/>
              <a:gd name="connsiteY3" fmla="*/ 71651 h 92123"/>
              <a:gd name="connsiteX4" fmla="*/ 153537 w 160361"/>
              <a:gd name="connsiteY4" fmla="*/ 81887 h 92123"/>
              <a:gd name="connsiteX5" fmla="*/ 160361 w 160361"/>
              <a:gd name="connsiteY5" fmla="*/ 92123 h 9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361" h="92123">
                <a:moveTo>
                  <a:pt x="0" y="0"/>
                </a:moveTo>
                <a:cubicBezTo>
                  <a:pt x="22177" y="19050"/>
                  <a:pt x="44355" y="38100"/>
                  <a:pt x="61415" y="47767"/>
                </a:cubicBezTo>
                <a:cubicBezTo>
                  <a:pt x="78475" y="57434"/>
                  <a:pt x="90985" y="54022"/>
                  <a:pt x="102358" y="58003"/>
                </a:cubicBezTo>
                <a:cubicBezTo>
                  <a:pt x="113731" y="61984"/>
                  <a:pt x="121124" y="67670"/>
                  <a:pt x="129654" y="71651"/>
                </a:cubicBezTo>
                <a:cubicBezTo>
                  <a:pt x="138184" y="75632"/>
                  <a:pt x="153537" y="81887"/>
                  <a:pt x="153537" y="81887"/>
                </a:cubicBezTo>
                <a:cubicBezTo>
                  <a:pt x="158655" y="85299"/>
                  <a:pt x="159508" y="88711"/>
                  <a:pt x="160361" y="92123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Блок-схема: узел 164"/>
          <p:cNvSpPr/>
          <p:nvPr/>
        </p:nvSpPr>
        <p:spPr>
          <a:xfrm>
            <a:off x="1088296" y="4795666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3" name="Блок-схема: узел 162"/>
          <p:cNvSpPr/>
          <p:nvPr/>
        </p:nvSpPr>
        <p:spPr>
          <a:xfrm>
            <a:off x="976168" y="4481395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4" name="Блок-схема: узел 163"/>
          <p:cNvSpPr/>
          <p:nvPr/>
        </p:nvSpPr>
        <p:spPr>
          <a:xfrm>
            <a:off x="911793" y="4683409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Блок-схема: узел 29"/>
          <p:cNvSpPr/>
          <p:nvPr/>
        </p:nvSpPr>
        <p:spPr>
          <a:xfrm>
            <a:off x="691055" y="4579741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96" name="Прямая со стрелкой 295"/>
          <p:cNvCxnSpPr>
            <a:endCxn id="108" idx="0"/>
          </p:cNvCxnSpPr>
          <p:nvPr/>
        </p:nvCxnSpPr>
        <p:spPr>
          <a:xfrm flipH="1">
            <a:off x="2514426" y="2137290"/>
            <a:ext cx="1892424" cy="711415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Прямая со стрелкой 287"/>
          <p:cNvCxnSpPr>
            <a:stCxn id="287" idx="1"/>
            <a:endCxn id="55" idx="1"/>
          </p:cNvCxnSpPr>
          <p:nvPr/>
        </p:nvCxnSpPr>
        <p:spPr>
          <a:xfrm flipH="1" flipV="1">
            <a:off x="1032678" y="4782400"/>
            <a:ext cx="264376" cy="1123723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69" descr="E:\! WORK\For prezentations\Build\highway_construction_25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21638" y="5762023"/>
            <a:ext cx="108108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34887" y="5557175"/>
            <a:ext cx="540000" cy="5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298" name="Прямая со стрелкой 297"/>
          <p:cNvCxnSpPr>
            <a:stCxn id="293" idx="1"/>
          </p:cNvCxnSpPr>
          <p:nvPr/>
        </p:nvCxnSpPr>
        <p:spPr>
          <a:xfrm flipH="1" flipV="1">
            <a:off x="2241230" y="3133766"/>
            <a:ext cx="1395374" cy="139713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Прямая со стрелкой 296"/>
          <p:cNvCxnSpPr>
            <a:stCxn id="294" idx="1"/>
            <a:endCxn id="103" idx="14"/>
          </p:cNvCxnSpPr>
          <p:nvPr/>
        </p:nvCxnSpPr>
        <p:spPr>
          <a:xfrm flipH="1" flipV="1">
            <a:off x="2009775" y="3269456"/>
            <a:ext cx="527001" cy="1258692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олилиния 1"/>
          <p:cNvSpPr/>
          <p:nvPr/>
        </p:nvSpPr>
        <p:spPr>
          <a:xfrm>
            <a:off x="1549217" y="3456958"/>
            <a:ext cx="263137" cy="809146"/>
          </a:xfrm>
          <a:custGeom>
            <a:avLst/>
            <a:gdLst>
              <a:gd name="connsiteX0" fmla="*/ 0 w 263137"/>
              <a:gd name="connsiteY0" fmla="*/ 0 h 809146"/>
              <a:gd name="connsiteX1" fmla="*/ 59206 w 263137"/>
              <a:gd name="connsiteY1" fmla="*/ 42760 h 809146"/>
              <a:gd name="connsiteX2" fmla="*/ 92098 w 263137"/>
              <a:gd name="connsiteY2" fmla="*/ 92098 h 809146"/>
              <a:gd name="connsiteX3" fmla="*/ 111833 w 263137"/>
              <a:gd name="connsiteY3" fmla="*/ 138147 h 809146"/>
              <a:gd name="connsiteX4" fmla="*/ 111833 w 263137"/>
              <a:gd name="connsiteY4" fmla="*/ 157882 h 809146"/>
              <a:gd name="connsiteX5" fmla="*/ 105255 w 263137"/>
              <a:gd name="connsiteY5" fmla="*/ 194064 h 809146"/>
              <a:gd name="connsiteX6" fmla="*/ 105255 w 263137"/>
              <a:gd name="connsiteY6" fmla="*/ 213799 h 809146"/>
              <a:gd name="connsiteX7" fmla="*/ 118412 w 263137"/>
              <a:gd name="connsiteY7" fmla="*/ 243402 h 809146"/>
              <a:gd name="connsiteX8" fmla="*/ 118412 w 263137"/>
              <a:gd name="connsiteY8" fmla="*/ 299318 h 809146"/>
              <a:gd name="connsiteX9" fmla="*/ 134858 w 263137"/>
              <a:gd name="connsiteY9" fmla="*/ 345367 h 809146"/>
              <a:gd name="connsiteX10" fmla="*/ 148015 w 263137"/>
              <a:gd name="connsiteY10" fmla="*/ 407862 h 809146"/>
              <a:gd name="connsiteX11" fmla="*/ 164461 w 263137"/>
              <a:gd name="connsiteY11" fmla="*/ 486803 h 809146"/>
              <a:gd name="connsiteX12" fmla="*/ 164461 w 263137"/>
              <a:gd name="connsiteY12" fmla="*/ 513117 h 809146"/>
              <a:gd name="connsiteX13" fmla="*/ 157882 w 263137"/>
              <a:gd name="connsiteY13" fmla="*/ 536141 h 809146"/>
              <a:gd name="connsiteX14" fmla="*/ 174328 w 263137"/>
              <a:gd name="connsiteY14" fmla="*/ 575612 h 809146"/>
              <a:gd name="connsiteX15" fmla="*/ 180907 w 263137"/>
              <a:gd name="connsiteY15" fmla="*/ 615082 h 809146"/>
              <a:gd name="connsiteX16" fmla="*/ 207220 w 263137"/>
              <a:gd name="connsiteY16" fmla="*/ 661131 h 809146"/>
              <a:gd name="connsiteX17" fmla="*/ 223666 w 263137"/>
              <a:gd name="connsiteY17" fmla="*/ 677577 h 809146"/>
              <a:gd name="connsiteX18" fmla="*/ 233534 w 263137"/>
              <a:gd name="connsiteY18" fmla="*/ 717048 h 809146"/>
              <a:gd name="connsiteX19" fmla="*/ 253269 w 263137"/>
              <a:gd name="connsiteY19" fmla="*/ 766386 h 809146"/>
              <a:gd name="connsiteX20" fmla="*/ 263137 w 263137"/>
              <a:gd name="connsiteY20" fmla="*/ 809146 h 809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137" h="809146">
                <a:moveTo>
                  <a:pt x="0" y="0"/>
                </a:moveTo>
                <a:cubicBezTo>
                  <a:pt x="21928" y="13705"/>
                  <a:pt x="43856" y="27410"/>
                  <a:pt x="59206" y="42760"/>
                </a:cubicBezTo>
                <a:cubicBezTo>
                  <a:pt x="74556" y="58110"/>
                  <a:pt x="83327" y="76200"/>
                  <a:pt x="92098" y="92098"/>
                </a:cubicBezTo>
                <a:cubicBezTo>
                  <a:pt x="100869" y="107996"/>
                  <a:pt x="108544" y="127183"/>
                  <a:pt x="111833" y="138147"/>
                </a:cubicBezTo>
                <a:cubicBezTo>
                  <a:pt x="115122" y="149111"/>
                  <a:pt x="112929" y="148563"/>
                  <a:pt x="111833" y="157882"/>
                </a:cubicBezTo>
                <a:cubicBezTo>
                  <a:pt x="110737" y="167202"/>
                  <a:pt x="106351" y="184745"/>
                  <a:pt x="105255" y="194064"/>
                </a:cubicBezTo>
                <a:cubicBezTo>
                  <a:pt x="104159" y="203384"/>
                  <a:pt x="103062" y="205576"/>
                  <a:pt x="105255" y="213799"/>
                </a:cubicBezTo>
                <a:cubicBezTo>
                  <a:pt x="107448" y="222022"/>
                  <a:pt x="116219" y="229149"/>
                  <a:pt x="118412" y="243402"/>
                </a:cubicBezTo>
                <a:cubicBezTo>
                  <a:pt x="120605" y="257655"/>
                  <a:pt x="115671" y="282324"/>
                  <a:pt x="118412" y="299318"/>
                </a:cubicBezTo>
                <a:cubicBezTo>
                  <a:pt x="121153" y="316312"/>
                  <a:pt x="129924" y="327276"/>
                  <a:pt x="134858" y="345367"/>
                </a:cubicBezTo>
                <a:cubicBezTo>
                  <a:pt x="139792" y="363458"/>
                  <a:pt x="143081" y="384289"/>
                  <a:pt x="148015" y="407862"/>
                </a:cubicBezTo>
                <a:cubicBezTo>
                  <a:pt x="152949" y="431435"/>
                  <a:pt x="161720" y="469261"/>
                  <a:pt x="164461" y="486803"/>
                </a:cubicBezTo>
                <a:cubicBezTo>
                  <a:pt x="167202" y="504345"/>
                  <a:pt x="165558" y="504894"/>
                  <a:pt x="164461" y="513117"/>
                </a:cubicBezTo>
                <a:cubicBezTo>
                  <a:pt x="163364" y="521340"/>
                  <a:pt x="156238" y="525725"/>
                  <a:pt x="157882" y="536141"/>
                </a:cubicBezTo>
                <a:cubicBezTo>
                  <a:pt x="159526" y="546557"/>
                  <a:pt x="170491" y="562455"/>
                  <a:pt x="174328" y="575612"/>
                </a:cubicBezTo>
                <a:cubicBezTo>
                  <a:pt x="178165" y="588769"/>
                  <a:pt x="175425" y="600829"/>
                  <a:pt x="180907" y="615082"/>
                </a:cubicBezTo>
                <a:cubicBezTo>
                  <a:pt x="186389" y="629335"/>
                  <a:pt x="200094" y="650715"/>
                  <a:pt x="207220" y="661131"/>
                </a:cubicBezTo>
                <a:cubicBezTo>
                  <a:pt x="214346" y="671547"/>
                  <a:pt x="219280" y="668258"/>
                  <a:pt x="223666" y="677577"/>
                </a:cubicBezTo>
                <a:cubicBezTo>
                  <a:pt x="228052" y="686897"/>
                  <a:pt x="228600" y="702246"/>
                  <a:pt x="233534" y="717048"/>
                </a:cubicBezTo>
                <a:cubicBezTo>
                  <a:pt x="238468" y="731850"/>
                  <a:pt x="248335" y="751036"/>
                  <a:pt x="253269" y="766386"/>
                </a:cubicBezTo>
                <a:cubicBezTo>
                  <a:pt x="258203" y="781736"/>
                  <a:pt x="260670" y="795441"/>
                  <a:pt x="263137" y="809146"/>
                </a:cubicBezTo>
              </a:path>
            </a:pathLst>
          </a:cu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Полилиния 79"/>
          <p:cNvSpPr/>
          <p:nvPr/>
        </p:nvSpPr>
        <p:spPr>
          <a:xfrm>
            <a:off x="1549217" y="3456958"/>
            <a:ext cx="263137" cy="809146"/>
          </a:xfrm>
          <a:custGeom>
            <a:avLst/>
            <a:gdLst>
              <a:gd name="connsiteX0" fmla="*/ 0 w 263137"/>
              <a:gd name="connsiteY0" fmla="*/ 0 h 809146"/>
              <a:gd name="connsiteX1" fmla="*/ 59206 w 263137"/>
              <a:gd name="connsiteY1" fmla="*/ 42760 h 809146"/>
              <a:gd name="connsiteX2" fmla="*/ 92098 w 263137"/>
              <a:gd name="connsiteY2" fmla="*/ 92098 h 809146"/>
              <a:gd name="connsiteX3" fmla="*/ 111833 w 263137"/>
              <a:gd name="connsiteY3" fmla="*/ 138147 h 809146"/>
              <a:gd name="connsiteX4" fmla="*/ 111833 w 263137"/>
              <a:gd name="connsiteY4" fmla="*/ 157882 h 809146"/>
              <a:gd name="connsiteX5" fmla="*/ 105255 w 263137"/>
              <a:gd name="connsiteY5" fmla="*/ 194064 h 809146"/>
              <a:gd name="connsiteX6" fmla="*/ 105255 w 263137"/>
              <a:gd name="connsiteY6" fmla="*/ 213799 h 809146"/>
              <a:gd name="connsiteX7" fmla="*/ 118412 w 263137"/>
              <a:gd name="connsiteY7" fmla="*/ 243402 h 809146"/>
              <a:gd name="connsiteX8" fmla="*/ 118412 w 263137"/>
              <a:gd name="connsiteY8" fmla="*/ 299318 h 809146"/>
              <a:gd name="connsiteX9" fmla="*/ 134858 w 263137"/>
              <a:gd name="connsiteY9" fmla="*/ 345367 h 809146"/>
              <a:gd name="connsiteX10" fmla="*/ 148015 w 263137"/>
              <a:gd name="connsiteY10" fmla="*/ 407862 h 809146"/>
              <a:gd name="connsiteX11" fmla="*/ 164461 w 263137"/>
              <a:gd name="connsiteY11" fmla="*/ 486803 h 809146"/>
              <a:gd name="connsiteX12" fmla="*/ 164461 w 263137"/>
              <a:gd name="connsiteY12" fmla="*/ 513117 h 809146"/>
              <a:gd name="connsiteX13" fmla="*/ 157882 w 263137"/>
              <a:gd name="connsiteY13" fmla="*/ 536141 h 809146"/>
              <a:gd name="connsiteX14" fmla="*/ 174328 w 263137"/>
              <a:gd name="connsiteY14" fmla="*/ 575612 h 809146"/>
              <a:gd name="connsiteX15" fmla="*/ 180907 w 263137"/>
              <a:gd name="connsiteY15" fmla="*/ 615082 h 809146"/>
              <a:gd name="connsiteX16" fmla="*/ 207220 w 263137"/>
              <a:gd name="connsiteY16" fmla="*/ 661131 h 809146"/>
              <a:gd name="connsiteX17" fmla="*/ 223666 w 263137"/>
              <a:gd name="connsiteY17" fmla="*/ 677577 h 809146"/>
              <a:gd name="connsiteX18" fmla="*/ 233534 w 263137"/>
              <a:gd name="connsiteY18" fmla="*/ 717048 h 809146"/>
              <a:gd name="connsiteX19" fmla="*/ 253269 w 263137"/>
              <a:gd name="connsiteY19" fmla="*/ 766386 h 809146"/>
              <a:gd name="connsiteX20" fmla="*/ 263137 w 263137"/>
              <a:gd name="connsiteY20" fmla="*/ 809146 h 809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137" h="809146">
                <a:moveTo>
                  <a:pt x="0" y="0"/>
                </a:moveTo>
                <a:cubicBezTo>
                  <a:pt x="21928" y="13705"/>
                  <a:pt x="43856" y="27410"/>
                  <a:pt x="59206" y="42760"/>
                </a:cubicBezTo>
                <a:cubicBezTo>
                  <a:pt x="74556" y="58110"/>
                  <a:pt x="83327" y="76200"/>
                  <a:pt x="92098" y="92098"/>
                </a:cubicBezTo>
                <a:cubicBezTo>
                  <a:pt x="100869" y="107996"/>
                  <a:pt x="108544" y="127183"/>
                  <a:pt x="111833" y="138147"/>
                </a:cubicBezTo>
                <a:cubicBezTo>
                  <a:pt x="115122" y="149111"/>
                  <a:pt x="112929" y="148563"/>
                  <a:pt x="111833" y="157882"/>
                </a:cubicBezTo>
                <a:cubicBezTo>
                  <a:pt x="110737" y="167202"/>
                  <a:pt x="106351" y="184745"/>
                  <a:pt x="105255" y="194064"/>
                </a:cubicBezTo>
                <a:cubicBezTo>
                  <a:pt x="104159" y="203384"/>
                  <a:pt x="103062" y="205576"/>
                  <a:pt x="105255" y="213799"/>
                </a:cubicBezTo>
                <a:cubicBezTo>
                  <a:pt x="107448" y="222022"/>
                  <a:pt x="116219" y="229149"/>
                  <a:pt x="118412" y="243402"/>
                </a:cubicBezTo>
                <a:cubicBezTo>
                  <a:pt x="120605" y="257655"/>
                  <a:pt x="115671" y="282324"/>
                  <a:pt x="118412" y="299318"/>
                </a:cubicBezTo>
                <a:cubicBezTo>
                  <a:pt x="121153" y="316312"/>
                  <a:pt x="129924" y="327276"/>
                  <a:pt x="134858" y="345367"/>
                </a:cubicBezTo>
                <a:cubicBezTo>
                  <a:pt x="139792" y="363458"/>
                  <a:pt x="143081" y="384289"/>
                  <a:pt x="148015" y="407862"/>
                </a:cubicBezTo>
                <a:cubicBezTo>
                  <a:pt x="152949" y="431435"/>
                  <a:pt x="161720" y="469261"/>
                  <a:pt x="164461" y="486803"/>
                </a:cubicBezTo>
                <a:cubicBezTo>
                  <a:pt x="167202" y="504345"/>
                  <a:pt x="165558" y="504894"/>
                  <a:pt x="164461" y="513117"/>
                </a:cubicBezTo>
                <a:cubicBezTo>
                  <a:pt x="163364" y="521340"/>
                  <a:pt x="156238" y="525725"/>
                  <a:pt x="157882" y="536141"/>
                </a:cubicBezTo>
                <a:cubicBezTo>
                  <a:pt x="159526" y="546557"/>
                  <a:pt x="170491" y="562455"/>
                  <a:pt x="174328" y="575612"/>
                </a:cubicBezTo>
                <a:cubicBezTo>
                  <a:pt x="178165" y="588769"/>
                  <a:pt x="175425" y="600829"/>
                  <a:pt x="180907" y="615082"/>
                </a:cubicBezTo>
                <a:cubicBezTo>
                  <a:pt x="186389" y="629335"/>
                  <a:pt x="200094" y="650715"/>
                  <a:pt x="207220" y="661131"/>
                </a:cubicBezTo>
                <a:cubicBezTo>
                  <a:pt x="214346" y="671547"/>
                  <a:pt x="219280" y="668258"/>
                  <a:pt x="223666" y="677577"/>
                </a:cubicBezTo>
                <a:cubicBezTo>
                  <a:pt x="228052" y="686897"/>
                  <a:pt x="228600" y="702246"/>
                  <a:pt x="233534" y="717048"/>
                </a:cubicBezTo>
                <a:cubicBezTo>
                  <a:pt x="238468" y="731850"/>
                  <a:pt x="248335" y="751036"/>
                  <a:pt x="253269" y="766386"/>
                </a:cubicBezTo>
                <a:cubicBezTo>
                  <a:pt x="258203" y="781736"/>
                  <a:pt x="260670" y="795441"/>
                  <a:pt x="263137" y="809146"/>
                </a:cubicBezTo>
              </a:path>
            </a:pathLst>
          </a:cu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олилиния 80"/>
          <p:cNvSpPr/>
          <p:nvPr/>
        </p:nvSpPr>
        <p:spPr>
          <a:xfrm>
            <a:off x="1570135" y="3444875"/>
            <a:ext cx="263137" cy="809146"/>
          </a:xfrm>
          <a:custGeom>
            <a:avLst/>
            <a:gdLst>
              <a:gd name="connsiteX0" fmla="*/ 0 w 263137"/>
              <a:gd name="connsiteY0" fmla="*/ 0 h 809146"/>
              <a:gd name="connsiteX1" fmla="*/ 59206 w 263137"/>
              <a:gd name="connsiteY1" fmla="*/ 42760 h 809146"/>
              <a:gd name="connsiteX2" fmla="*/ 92098 w 263137"/>
              <a:gd name="connsiteY2" fmla="*/ 92098 h 809146"/>
              <a:gd name="connsiteX3" fmla="*/ 111833 w 263137"/>
              <a:gd name="connsiteY3" fmla="*/ 138147 h 809146"/>
              <a:gd name="connsiteX4" fmla="*/ 111833 w 263137"/>
              <a:gd name="connsiteY4" fmla="*/ 157882 h 809146"/>
              <a:gd name="connsiteX5" fmla="*/ 105255 w 263137"/>
              <a:gd name="connsiteY5" fmla="*/ 194064 h 809146"/>
              <a:gd name="connsiteX6" fmla="*/ 105255 w 263137"/>
              <a:gd name="connsiteY6" fmla="*/ 213799 h 809146"/>
              <a:gd name="connsiteX7" fmla="*/ 118412 w 263137"/>
              <a:gd name="connsiteY7" fmla="*/ 243402 h 809146"/>
              <a:gd name="connsiteX8" fmla="*/ 118412 w 263137"/>
              <a:gd name="connsiteY8" fmla="*/ 299318 h 809146"/>
              <a:gd name="connsiteX9" fmla="*/ 134858 w 263137"/>
              <a:gd name="connsiteY9" fmla="*/ 345367 h 809146"/>
              <a:gd name="connsiteX10" fmla="*/ 148015 w 263137"/>
              <a:gd name="connsiteY10" fmla="*/ 407862 h 809146"/>
              <a:gd name="connsiteX11" fmla="*/ 164461 w 263137"/>
              <a:gd name="connsiteY11" fmla="*/ 486803 h 809146"/>
              <a:gd name="connsiteX12" fmla="*/ 164461 w 263137"/>
              <a:gd name="connsiteY12" fmla="*/ 513117 h 809146"/>
              <a:gd name="connsiteX13" fmla="*/ 157882 w 263137"/>
              <a:gd name="connsiteY13" fmla="*/ 536141 h 809146"/>
              <a:gd name="connsiteX14" fmla="*/ 174328 w 263137"/>
              <a:gd name="connsiteY14" fmla="*/ 575612 h 809146"/>
              <a:gd name="connsiteX15" fmla="*/ 180907 w 263137"/>
              <a:gd name="connsiteY15" fmla="*/ 615082 h 809146"/>
              <a:gd name="connsiteX16" fmla="*/ 207220 w 263137"/>
              <a:gd name="connsiteY16" fmla="*/ 661131 h 809146"/>
              <a:gd name="connsiteX17" fmla="*/ 223666 w 263137"/>
              <a:gd name="connsiteY17" fmla="*/ 677577 h 809146"/>
              <a:gd name="connsiteX18" fmla="*/ 233534 w 263137"/>
              <a:gd name="connsiteY18" fmla="*/ 717048 h 809146"/>
              <a:gd name="connsiteX19" fmla="*/ 253269 w 263137"/>
              <a:gd name="connsiteY19" fmla="*/ 766386 h 809146"/>
              <a:gd name="connsiteX20" fmla="*/ 263137 w 263137"/>
              <a:gd name="connsiteY20" fmla="*/ 809146 h 809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137" h="809146">
                <a:moveTo>
                  <a:pt x="0" y="0"/>
                </a:moveTo>
                <a:cubicBezTo>
                  <a:pt x="21928" y="13705"/>
                  <a:pt x="43856" y="27410"/>
                  <a:pt x="59206" y="42760"/>
                </a:cubicBezTo>
                <a:cubicBezTo>
                  <a:pt x="74556" y="58110"/>
                  <a:pt x="83327" y="76200"/>
                  <a:pt x="92098" y="92098"/>
                </a:cubicBezTo>
                <a:cubicBezTo>
                  <a:pt x="100869" y="107996"/>
                  <a:pt x="108544" y="127183"/>
                  <a:pt x="111833" y="138147"/>
                </a:cubicBezTo>
                <a:cubicBezTo>
                  <a:pt x="115122" y="149111"/>
                  <a:pt x="112929" y="148563"/>
                  <a:pt x="111833" y="157882"/>
                </a:cubicBezTo>
                <a:cubicBezTo>
                  <a:pt x="110737" y="167202"/>
                  <a:pt x="106351" y="184745"/>
                  <a:pt x="105255" y="194064"/>
                </a:cubicBezTo>
                <a:cubicBezTo>
                  <a:pt x="104159" y="203384"/>
                  <a:pt x="103062" y="205576"/>
                  <a:pt x="105255" y="213799"/>
                </a:cubicBezTo>
                <a:cubicBezTo>
                  <a:pt x="107448" y="222022"/>
                  <a:pt x="116219" y="229149"/>
                  <a:pt x="118412" y="243402"/>
                </a:cubicBezTo>
                <a:cubicBezTo>
                  <a:pt x="120605" y="257655"/>
                  <a:pt x="115671" y="282324"/>
                  <a:pt x="118412" y="299318"/>
                </a:cubicBezTo>
                <a:cubicBezTo>
                  <a:pt x="121153" y="316312"/>
                  <a:pt x="129924" y="327276"/>
                  <a:pt x="134858" y="345367"/>
                </a:cubicBezTo>
                <a:cubicBezTo>
                  <a:pt x="139792" y="363458"/>
                  <a:pt x="143081" y="384289"/>
                  <a:pt x="148015" y="407862"/>
                </a:cubicBezTo>
                <a:cubicBezTo>
                  <a:pt x="152949" y="431435"/>
                  <a:pt x="161720" y="469261"/>
                  <a:pt x="164461" y="486803"/>
                </a:cubicBezTo>
                <a:cubicBezTo>
                  <a:pt x="167202" y="504345"/>
                  <a:pt x="165558" y="504894"/>
                  <a:pt x="164461" y="513117"/>
                </a:cubicBezTo>
                <a:cubicBezTo>
                  <a:pt x="163364" y="521340"/>
                  <a:pt x="156238" y="525725"/>
                  <a:pt x="157882" y="536141"/>
                </a:cubicBezTo>
                <a:cubicBezTo>
                  <a:pt x="159526" y="546557"/>
                  <a:pt x="170491" y="562455"/>
                  <a:pt x="174328" y="575612"/>
                </a:cubicBezTo>
                <a:cubicBezTo>
                  <a:pt x="178165" y="588769"/>
                  <a:pt x="175425" y="600829"/>
                  <a:pt x="180907" y="615082"/>
                </a:cubicBezTo>
                <a:cubicBezTo>
                  <a:pt x="186389" y="629335"/>
                  <a:pt x="200094" y="650715"/>
                  <a:pt x="207220" y="661131"/>
                </a:cubicBezTo>
                <a:cubicBezTo>
                  <a:pt x="214346" y="671547"/>
                  <a:pt x="219280" y="668258"/>
                  <a:pt x="223666" y="677577"/>
                </a:cubicBezTo>
                <a:cubicBezTo>
                  <a:pt x="228052" y="686897"/>
                  <a:pt x="228600" y="702246"/>
                  <a:pt x="233534" y="717048"/>
                </a:cubicBezTo>
                <a:cubicBezTo>
                  <a:pt x="238468" y="731850"/>
                  <a:pt x="248335" y="751036"/>
                  <a:pt x="253269" y="766386"/>
                </a:cubicBezTo>
                <a:cubicBezTo>
                  <a:pt x="258203" y="781736"/>
                  <a:pt x="260670" y="795441"/>
                  <a:pt x="263137" y="809146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Полилиния 81"/>
          <p:cNvSpPr/>
          <p:nvPr/>
        </p:nvSpPr>
        <p:spPr>
          <a:xfrm>
            <a:off x="1526625" y="3466957"/>
            <a:ext cx="263137" cy="809146"/>
          </a:xfrm>
          <a:custGeom>
            <a:avLst/>
            <a:gdLst>
              <a:gd name="connsiteX0" fmla="*/ 0 w 263137"/>
              <a:gd name="connsiteY0" fmla="*/ 0 h 809146"/>
              <a:gd name="connsiteX1" fmla="*/ 59206 w 263137"/>
              <a:gd name="connsiteY1" fmla="*/ 42760 h 809146"/>
              <a:gd name="connsiteX2" fmla="*/ 92098 w 263137"/>
              <a:gd name="connsiteY2" fmla="*/ 92098 h 809146"/>
              <a:gd name="connsiteX3" fmla="*/ 111833 w 263137"/>
              <a:gd name="connsiteY3" fmla="*/ 138147 h 809146"/>
              <a:gd name="connsiteX4" fmla="*/ 111833 w 263137"/>
              <a:gd name="connsiteY4" fmla="*/ 157882 h 809146"/>
              <a:gd name="connsiteX5" fmla="*/ 105255 w 263137"/>
              <a:gd name="connsiteY5" fmla="*/ 194064 h 809146"/>
              <a:gd name="connsiteX6" fmla="*/ 105255 w 263137"/>
              <a:gd name="connsiteY6" fmla="*/ 213799 h 809146"/>
              <a:gd name="connsiteX7" fmla="*/ 118412 w 263137"/>
              <a:gd name="connsiteY7" fmla="*/ 243402 h 809146"/>
              <a:gd name="connsiteX8" fmla="*/ 118412 w 263137"/>
              <a:gd name="connsiteY8" fmla="*/ 299318 h 809146"/>
              <a:gd name="connsiteX9" fmla="*/ 134858 w 263137"/>
              <a:gd name="connsiteY9" fmla="*/ 345367 h 809146"/>
              <a:gd name="connsiteX10" fmla="*/ 148015 w 263137"/>
              <a:gd name="connsiteY10" fmla="*/ 407862 h 809146"/>
              <a:gd name="connsiteX11" fmla="*/ 164461 w 263137"/>
              <a:gd name="connsiteY11" fmla="*/ 486803 h 809146"/>
              <a:gd name="connsiteX12" fmla="*/ 164461 w 263137"/>
              <a:gd name="connsiteY12" fmla="*/ 513117 h 809146"/>
              <a:gd name="connsiteX13" fmla="*/ 157882 w 263137"/>
              <a:gd name="connsiteY13" fmla="*/ 536141 h 809146"/>
              <a:gd name="connsiteX14" fmla="*/ 174328 w 263137"/>
              <a:gd name="connsiteY14" fmla="*/ 575612 h 809146"/>
              <a:gd name="connsiteX15" fmla="*/ 180907 w 263137"/>
              <a:gd name="connsiteY15" fmla="*/ 615082 h 809146"/>
              <a:gd name="connsiteX16" fmla="*/ 207220 w 263137"/>
              <a:gd name="connsiteY16" fmla="*/ 661131 h 809146"/>
              <a:gd name="connsiteX17" fmla="*/ 223666 w 263137"/>
              <a:gd name="connsiteY17" fmla="*/ 677577 h 809146"/>
              <a:gd name="connsiteX18" fmla="*/ 233534 w 263137"/>
              <a:gd name="connsiteY18" fmla="*/ 717048 h 809146"/>
              <a:gd name="connsiteX19" fmla="*/ 253269 w 263137"/>
              <a:gd name="connsiteY19" fmla="*/ 766386 h 809146"/>
              <a:gd name="connsiteX20" fmla="*/ 263137 w 263137"/>
              <a:gd name="connsiteY20" fmla="*/ 809146 h 809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137" h="809146">
                <a:moveTo>
                  <a:pt x="0" y="0"/>
                </a:moveTo>
                <a:cubicBezTo>
                  <a:pt x="21928" y="13705"/>
                  <a:pt x="43856" y="27410"/>
                  <a:pt x="59206" y="42760"/>
                </a:cubicBezTo>
                <a:cubicBezTo>
                  <a:pt x="74556" y="58110"/>
                  <a:pt x="83327" y="76200"/>
                  <a:pt x="92098" y="92098"/>
                </a:cubicBezTo>
                <a:cubicBezTo>
                  <a:pt x="100869" y="107996"/>
                  <a:pt x="108544" y="127183"/>
                  <a:pt x="111833" y="138147"/>
                </a:cubicBezTo>
                <a:cubicBezTo>
                  <a:pt x="115122" y="149111"/>
                  <a:pt x="112929" y="148563"/>
                  <a:pt x="111833" y="157882"/>
                </a:cubicBezTo>
                <a:cubicBezTo>
                  <a:pt x="110737" y="167202"/>
                  <a:pt x="106351" y="184745"/>
                  <a:pt x="105255" y="194064"/>
                </a:cubicBezTo>
                <a:cubicBezTo>
                  <a:pt x="104159" y="203384"/>
                  <a:pt x="103062" y="205576"/>
                  <a:pt x="105255" y="213799"/>
                </a:cubicBezTo>
                <a:cubicBezTo>
                  <a:pt x="107448" y="222022"/>
                  <a:pt x="116219" y="229149"/>
                  <a:pt x="118412" y="243402"/>
                </a:cubicBezTo>
                <a:cubicBezTo>
                  <a:pt x="120605" y="257655"/>
                  <a:pt x="115671" y="282324"/>
                  <a:pt x="118412" y="299318"/>
                </a:cubicBezTo>
                <a:cubicBezTo>
                  <a:pt x="121153" y="316312"/>
                  <a:pt x="129924" y="327276"/>
                  <a:pt x="134858" y="345367"/>
                </a:cubicBezTo>
                <a:cubicBezTo>
                  <a:pt x="139792" y="363458"/>
                  <a:pt x="143081" y="384289"/>
                  <a:pt x="148015" y="407862"/>
                </a:cubicBezTo>
                <a:cubicBezTo>
                  <a:pt x="152949" y="431435"/>
                  <a:pt x="161720" y="469261"/>
                  <a:pt x="164461" y="486803"/>
                </a:cubicBezTo>
                <a:cubicBezTo>
                  <a:pt x="167202" y="504345"/>
                  <a:pt x="165558" y="504894"/>
                  <a:pt x="164461" y="513117"/>
                </a:cubicBezTo>
                <a:cubicBezTo>
                  <a:pt x="163364" y="521340"/>
                  <a:pt x="156238" y="525725"/>
                  <a:pt x="157882" y="536141"/>
                </a:cubicBezTo>
                <a:cubicBezTo>
                  <a:pt x="159526" y="546557"/>
                  <a:pt x="170491" y="562455"/>
                  <a:pt x="174328" y="575612"/>
                </a:cubicBezTo>
                <a:cubicBezTo>
                  <a:pt x="178165" y="588769"/>
                  <a:pt x="175425" y="600829"/>
                  <a:pt x="180907" y="615082"/>
                </a:cubicBezTo>
                <a:cubicBezTo>
                  <a:pt x="186389" y="629335"/>
                  <a:pt x="200094" y="650715"/>
                  <a:pt x="207220" y="661131"/>
                </a:cubicBezTo>
                <a:cubicBezTo>
                  <a:pt x="214346" y="671547"/>
                  <a:pt x="219280" y="668258"/>
                  <a:pt x="223666" y="677577"/>
                </a:cubicBezTo>
                <a:cubicBezTo>
                  <a:pt x="228052" y="686897"/>
                  <a:pt x="228600" y="702246"/>
                  <a:pt x="233534" y="717048"/>
                </a:cubicBezTo>
                <a:cubicBezTo>
                  <a:pt x="238468" y="731850"/>
                  <a:pt x="248335" y="751036"/>
                  <a:pt x="253269" y="766386"/>
                </a:cubicBezTo>
                <a:cubicBezTo>
                  <a:pt x="258203" y="781736"/>
                  <a:pt x="260670" y="795441"/>
                  <a:pt x="263137" y="809146"/>
                </a:cubicBezTo>
              </a:path>
            </a:pathLst>
          </a:cu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Блок-схема: узел 166"/>
          <p:cNvSpPr/>
          <p:nvPr/>
        </p:nvSpPr>
        <p:spPr>
          <a:xfrm>
            <a:off x="1787980" y="4247354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8" name="Блок-схема: узел 167"/>
          <p:cNvSpPr/>
          <p:nvPr/>
        </p:nvSpPr>
        <p:spPr>
          <a:xfrm>
            <a:off x="1492513" y="3406439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Блок-схема: узел 20"/>
          <p:cNvSpPr/>
          <p:nvPr/>
        </p:nvSpPr>
        <p:spPr>
          <a:xfrm>
            <a:off x="1150308" y="3444570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9" name="Скругленный прямоугольник 288"/>
          <p:cNvSpPr/>
          <p:nvPr/>
        </p:nvSpPr>
        <p:spPr bwMode="auto">
          <a:xfrm>
            <a:off x="60219" y="1505617"/>
            <a:ext cx="2056154" cy="8640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Атырау-Астрахань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км 833-893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(60 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</a:rPr>
              <a:t>км)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</a:rPr>
              <a:t>РБ</a:t>
            </a:r>
            <a:endParaRPr lang="ru-RU" altLang="ru-RU" sz="105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</a:t>
            </a:r>
            <a:r>
              <a:rPr lang="ru-RU" altLang="ru-RU" sz="105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–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6 млрд</a:t>
            </a:r>
            <a:r>
              <a:rPr lang="ru-RU" altLang="ru-RU" sz="105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 </a:t>
            </a:r>
            <a:r>
              <a:rPr lang="ru-RU" altLang="ru-RU" sz="105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тг</a:t>
            </a:r>
            <a:endParaRPr lang="ru-RU" altLang="ru-RU" sz="1050" dirty="0" smtClean="0">
              <a:solidFill>
                <a:srgbClr val="002060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реализации: </a:t>
            </a:r>
            <a:r>
              <a:rPr lang="ru-RU" altLang="ru-RU" sz="105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8-2020 г</a:t>
            </a:r>
            <a:endParaRPr lang="ru-RU" altLang="ru-RU" sz="1050" dirty="0" smtClean="0">
              <a:solidFill>
                <a:srgbClr val="595959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</p:txBody>
      </p:sp>
      <p:cxnSp>
        <p:nvCxnSpPr>
          <p:cNvPr id="291" name="Прямая со стрелкой 290"/>
          <p:cNvCxnSpPr>
            <a:stCxn id="292" idx="2"/>
            <a:endCxn id="94" idx="9"/>
          </p:cNvCxnSpPr>
          <p:nvPr/>
        </p:nvCxnSpPr>
        <p:spPr>
          <a:xfrm flipH="1">
            <a:off x="847725" y="1736979"/>
            <a:ext cx="2425788" cy="1777746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7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7705"/>
            <a:ext cx="9144000" cy="56412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bg1"/>
            </a:solidFill>
            <a:prstDash val="dash"/>
          </a:ln>
        </p:spPr>
      </p:pic>
      <p:sp>
        <p:nvSpPr>
          <p:cNvPr id="6" name="Полилиния 5"/>
          <p:cNvSpPr/>
          <p:nvPr/>
        </p:nvSpPr>
        <p:spPr>
          <a:xfrm>
            <a:off x="4285979" y="4692268"/>
            <a:ext cx="991769" cy="1140824"/>
          </a:xfrm>
          <a:custGeom>
            <a:avLst/>
            <a:gdLst>
              <a:gd name="connsiteX0" fmla="*/ 0 w 991769"/>
              <a:gd name="connsiteY0" fmla="*/ 9742 h 1140824"/>
              <a:gd name="connsiteX1" fmla="*/ 65005 w 991769"/>
              <a:gd name="connsiteY1" fmla="*/ 1075 h 1140824"/>
              <a:gd name="connsiteX2" fmla="*/ 95340 w 991769"/>
              <a:gd name="connsiteY2" fmla="*/ 31410 h 1140824"/>
              <a:gd name="connsiteX3" fmla="*/ 134343 w 991769"/>
              <a:gd name="connsiteY3" fmla="*/ 53078 h 1140824"/>
              <a:gd name="connsiteX4" fmla="*/ 160345 w 991769"/>
              <a:gd name="connsiteY4" fmla="*/ 74747 h 1140824"/>
              <a:gd name="connsiteX5" fmla="*/ 212349 w 991769"/>
              <a:gd name="connsiteY5" fmla="*/ 135418 h 1140824"/>
              <a:gd name="connsiteX6" fmla="*/ 255685 w 991769"/>
              <a:gd name="connsiteY6" fmla="*/ 170087 h 1140824"/>
              <a:gd name="connsiteX7" fmla="*/ 299022 w 991769"/>
              <a:gd name="connsiteY7" fmla="*/ 226424 h 1140824"/>
              <a:gd name="connsiteX8" fmla="*/ 342358 w 991769"/>
              <a:gd name="connsiteY8" fmla="*/ 239425 h 1140824"/>
              <a:gd name="connsiteX9" fmla="*/ 377027 w 991769"/>
              <a:gd name="connsiteY9" fmla="*/ 261093 h 1140824"/>
              <a:gd name="connsiteX10" fmla="*/ 433365 w 991769"/>
              <a:gd name="connsiteY10" fmla="*/ 343433 h 1140824"/>
              <a:gd name="connsiteX11" fmla="*/ 502703 w 991769"/>
              <a:gd name="connsiteY11" fmla="*/ 404104 h 1140824"/>
              <a:gd name="connsiteX12" fmla="*/ 585042 w 991769"/>
              <a:gd name="connsiteY12" fmla="*/ 477776 h 1140824"/>
              <a:gd name="connsiteX13" fmla="*/ 645714 w 991769"/>
              <a:gd name="connsiteY13" fmla="*/ 508111 h 1140824"/>
              <a:gd name="connsiteX14" fmla="*/ 715052 w 991769"/>
              <a:gd name="connsiteY14" fmla="*/ 560115 h 1140824"/>
              <a:gd name="connsiteX15" fmla="*/ 788724 w 991769"/>
              <a:gd name="connsiteY15" fmla="*/ 620786 h 1140824"/>
              <a:gd name="connsiteX16" fmla="*/ 840728 w 991769"/>
              <a:gd name="connsiteY16" fmla="*/ 646788 h 1140824"/>
              <a:gd name="connsiteX17" fmla="*/ 905732 w 991769"/>
              <a:gd name="connsiteY17" fmla="*/ 703126 h 1140824"/>
              <a:gd name="connsiteX18" fmla="*/ 940402 w 991769"/>
              <a:gd name="connsiteY18" fmla="*/ 798466 h 1140824"/>
              <a:gd name="connsiteX19" fmla="*/ 988072 w 991769"/>
              <a:gd name="connsiteY19" fmla="*/ 833135 h 1140824"/>
              <a:gd name="connsiteX20" fmla="*/ 988072 w 991769"/>
              <a:gd name="connsiteY20" fmla="*/ 872138 h 1140824"/>
              <a:gd name="connsiteX21" fmla="*/ 983738 w 991769"/>
              <a:gd name="connsiteY21" fmla="*/ 954477 h 1140824"/>
              <a:gd name="connsiteX22" fmla="*/ 970737 w 991769"/>
              <a:gd name="connsiteY22" fmla="*/ 1002148 h 1140824"/>
              <a:gd name="connsiteX23" fmla="*/ 940402 w 991769"/>
              <a:gd name="connsiteY23" fmla="*/ 1010815 h 1140824"/>
              <a:gd name="connsiteX24" fmla="*/ 936068 w 991769"/>
              <a:gd name="connsiteY24" fmla="*/ 1062819 h 1140824"/>
              <a:gd name="connsiteX25" fmla="*/ 944735 w 991769"/>
              <a:gd name="connsiteY25" fmla="*/ 1119156 h 1140824"/>
              <a:gd name="connsiteX26" fmla="*/ 944735 w 991769"/>
              <a:gd name="connsiteY26" fmla="*/ 1140824 h 1140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91769" h="1140824">
                <a:moveTo>
                  <a:pt x="0" y="9742"/>
                </a:moveTo>
                <a:cubicBezTo>
                  <a:pt x="24557" y="3603"/>
                  <a:pt x="49115" y="-2536"/>
                  <a:pt x="65005" y="1075"/>
                </a:cubicBezTo>
                <a:cubicBezTo>
                  <a:pt x="80895" y="4686"/>
                  <a:pt x="83784" y="22743"/>
                  <a:pt x="95340" y="31410"/>
                </a:cubicBezTo>
                <a:cubicBezTo>
                  <a:pt x="106896" y="40077"/>
                  <a:pt x="123509" y="45855"/>
                  <a:pt x="134343" y="53078"/>
                </a:cubicBezTo>
                <a:cubicBezTo>
                  <a:pt x="145177" y="60301"/>
                  <a:pt x="147344" y="61024"/>
                  <a:pt x="160345" y="74747"/>
                </a:cubicBezTo>
                <a:cubicBezTo>
                  <a:pt x="173346" y="88470"/>
                  <a:pt x="196459" y="119528"/>
                  <a:pt x="212349" y="135418"/>
                </a:cubicBezTo>
                <a:cubicBezTo>
                  <a:pt x="228239" y="151308"/>
                  <a:pt x="241240" y="154919"/>
                  <a:pt x="255685" y="170087"/>
                </a:cubicBezTo>
                <a:cubicBezTo>
                  <a:pt x="270130" y="185255"/>
                  <a:pt x="284577" y="214868"/>
                  <a:pt x="299022" y="226424"/>
                </a:cubicBezTo>
                <a:cubicBezTo>
                  <a:pt x="313467" y="237980"/>
                  <a:pt x="329357" y="233647"/>
                  <a:pt x="342358" y="239425"/>
                </a:cubicBezTo>
                <a:cubicBezTo>
                  <a:pt x="355359" y="245203"/>
                  <a:pt x="361859" y="243758"/>
                  <a:pt x="377027" y="261093"/>
                </a:cubicBezTo>
                <a:cubicBezTo>
                  <a:pt x="392195" y="278428"/>
                  <a:pt x="412419" y="319598"/>
                  <a:pt x="433365" y="343433"/>
                </a:cubicBezTo>
                <a:cubicBezTo>
                  <a:pt x="454311" y="367268"/>
                  <a:pt x="502703" y="404104"/>
                  <a:pt x="502703" y="404104"/>
                </a:cubicBezTo>
                <a:cubicBezTo>
                  <a:pt x="527982" y="426494"/>
                  <a:pt x="561207" y="460442"/>
                  <a:pt x="585042" y="477776"/>
                </a:cubicBezTo>
                <a:cubicBezTo>
                  <a:pt x="608877" y="495110"/>
                  <a:pt x="624046" y="494388"/>
                  <a:pt x="645714" y="508111"/>
                </a:cubicBezTo>
                <a:cubicBezTo>
                  <a:pt x="667382" y="521834"/>
                  <a:pt x="691217" y="541336"/>
                  <a:pt x="715052" y="560115"/>
                </a:cubicBezTo>
                <a:cubicBezTo>
                  <a:pt x="738887" y="578894"/>
                  <a:pt x="767778" y="606341"/>
                  <a:pt x="788724" y="620786"/>
                </a:cubicBezTo>
                <a:cubicBezTo>
                  <a:pt x="809670" y="635231"/>
                  <a:pt x="821227" y="633065"/>
                  <a:pt x="840728" y="646788"/>
                </a:cubicBezTo>
                <a:cubicBezTo>
                  <a:pt x="860229" y="660511"/>
                  <a:pt x="889120" y="677846"/>
                  <a:pt x="905732" y="703126"/>
                </a:cubicBezTo>
                <a:cubicBezTo>
                  <a:pt x="922344" y="728406"/>
                  <a:pt x="926679" y="776798"/>
                  <a:pt x="940402" y="798466"/>
                </a:cubicBezTo>
                <a:cubicBezTo>
                  <a:pt x="954125" y="820134"/>
                  <a:pt x="980127" y="820856"/>
                  <a:pt x="988072" y="833135"/>
                </a:cubicBezTo>
                <a:cubicBezTo>
                  <a:pt x="996017" y="845414"/>
                  <a:pt x="988794" y="851914"/>
                  <a:pt x="988072" y="872138"/>
                </a:cubicBezTo>
                <a:cubicBezTo>
                  <a:pt x="987350" y="892362"/>
                  <a:pt x="986627" y="932809"/>
                  <a:pt x="983738" y="954477"/>
                </a:cubicBezTo>
                <a:cubicBezTo>
                  <a:pt x="980849" y="976145"/>
                  <a:pt x="977960" y="992758"/>
                  <a:pt x="970737" y="1002148"/>
                </a:cubicBezTo>
                <a:cubicBezTo>
                  <a:pt x="963514" y="1011538"/>
                  <a:pt x="946180" y="1000703"/>
                  <a:pt x="940402" y="1010815"/>
                </a:cubicBezTo>
                <a:cubicBezTo>
                  <a:pt x="934624" y="1020927"/>
                  <a:pt x="935346" y="1044762"/>
                  <a:pt x="936068" y="1062819"/>
                </a:cubicBezTo>
                <a:cubicBezTo>
                  <a:pt x="936790" y="1080876"/>
                  <a:pt x="943291" y="1106155"/>
                  <a:pt x="944735" y="1119156"/>
                </a:cubicBezTo>
                <a:cubicBezTo>
                  <a:pt x="946179" y="1132157"/>
                  <a:pt x="945457" y="1136490"/>
                  <a:pt x="944735" y="1140824"/>
                </a:cubicBezTo>
              </a:path>
            </a:pathLst>
          </a:cu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олилиния 6"/>
          <p:cNvSpPr/>
          <p:nvPr/>
        </p:nvSpPr>
        <p:spPr>
          <a:xfrm>
            <a:off x="4277312" y="4658673"/>
            <a:ext cx="1022739" cy="1183087"/>
          </a:xfrm>
          <a:custGeom>
            <a:avLst/>
            <a:gdLst>
              <a:gd name="connsiteX0" fmla="*/ 0 w 991769"/>
              <a:gd name="connsiteY0" fmla="*/ 9742 h 1140824"/>
              <a:gd name="connsiteX1" fmla="*/ 65005 w 991769"/>
              <a:gd name="connsiteY1" fmla="*/ 1075 h 1140824"/>
              <a:gd name="connsiteX2" fmla="*/ 95340 w 991769"/>
              <a:gd name="connsiteY2" fmla="*/ 31410 h 1140824"/>
              <a:gd name="connsiteX3" fmla="*/ 134343 w 991769"/>
              <a:gd name="connsiteY3" fmla="*/ 53078 h 1140824"/>
              <a:gd name="connsiteX4" fmla="*/ 160345 w 991769"/>
              <a:gd name="connsiteY4" fmla="*/ 74747 h 1140824"/>
              <a:gd name="connsiteX5" fmla="*/ 212349 w 991769"/>
              <a:gd name="connsiteY5" fmla="*/ 135418 h 1140824"/>
              <a:gd name="connsiteX6" fmla="*/ 255685 w 991769"/>
              <a:gd name="connsiteY6" fmla="*/ 170087 h 1140824"/>
              <a:gd name="connsiteX7" fmla="*/ 299022 w 991769"/>
              <a:gd name="connsiteY7" fmla="*/ 226424 h 1140824"/>
              <a:gd name="connsiteX8" fmla="*/ 342358 w 991769"/>
              <a:gd name="connsiteY8" fmla="*/ 239425 h 1140824"/>
              <a:gd name="connsiteX9" fmla="*/ 377027 w 991769"/>
              <a:gd name="connsiteY9" fmla="*/ 261093 h 1140824"/>
              <a:gd name="connsiteX10" fmla="*/ 433365 w 991769"/>
              <a:gd name="connsiteY10" fmla="*/ 343433 h 1140824"/>
              <a:gd name="connsiteX11" fmla="*/ 502703 w 991769"/>
              <a:gd name="connsiteY11" fmla="*/ 404104 h 1140824"/>
              <a:gd name="connsiteX12" fmla="*/ 585042 w 991769"/>
              <a:gd name="connsiteY12" fmla="*/ 477776 h 1140824"/>
              <a:gd name="connsiteX13" fmla="*/ 645714 w 991769"/>
              <a:gd name="connsiteY13" fmla="*/ 508111 h 1140824"/>
              <a:gd name="connsiteX14" fmla="*/ 715052 w 991769"/>
              <a:gd name="connsiteY14" fmla="*/ 560115 h 1140824"/>
              <a:gd name="connsiteX15" fmla="*/ 788724 w 991769"/>
              <a:gd name="connsiteY15" fmla="*/ 620786 h 1140824"/>
              <a:gd name="connsiteX16" fmla="*/ 840728 w 991769"/>
              <a:gd name="connsiteY16" fmla="*/ 646788 h 1140824"/>
              <a:gd name="connsiteX17" fmla="*/ 905732 w 991769"/>
              <a:gd name="connsiteY17" fmla="*/ 703126 h 1140824"/>
              <a:gd name="connsiteX18" fmla="*/ 940402 w 991769"/>
              <a:gd name="connsiteY18" fmla="*/ 798466 h 1140824"/>
              <a:gd name="connsiteX19" fmla="*/ 988072 w 991769"/>
              <a:gd name="connsiteY19" fmla="*/ 833135 h 1140824"/>
              <a:gd name="connsiteX20" fmla="*/ 988072 w 991769"/>
              <a:gd name="connsiteY20" fmla="*/ 872138 h 1140824"/>
              <a:gd name="connsiteX21" fmla="*/ 983738 w 991769"/>
              <a:gd name="connsiteY21" fmla="*/ 954477 h 1140824"/>
              <a:gd name="connsiteX22" fmla="*/ 970737 w 991769"/>
              <a:gd name="connsiteY22" fmla="*/ 1002148 h 1140824"/>
              <a:gd name="connsiteX23" fmla="*/ 940402 w 991769"/>
              <a:gd name="connsiteY23" fmla="*/ 1010815 h 1140824"/>
              <a:gd name="connsiteX24" fmla="*/ 936068 w 991769"/>
              <a:gd name="connsiteY24" fmla="*/ 1062819 h 1140824"/>
              <a:gd name="connsiteX25" fmla="*/ 944735 w 991769"/>
              <a:gd name="connsiteY25" fmla="*/ 1119156 h 1140824"/>
              <a:gd name="connsiteX26" fmla="*/ 944735 w 991769"/>
              <a:gd name="connsiteY26" fmla="*/ 1140824 h 1140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91769" h="1140824">
                <a:moveTo>
                  <a:pt x="0" y="9742"/>
                </a:moveTo>
                <a:cubicBezTo>
                  <a:pt x="24557" y="3603"/>
                  <a:pt x="49115" y="-2536"/>
                  <a:pt x="65005" y="1075"/>
                </a:cubicBezTo>
                <a:cubicBezTo>
                  <a:pt x="80895" y="4686"/>
                  <a:pt x="83784" y="22743"/>
                  <a:pt x="95340" y="31410"/>
                </a:cubicBezTo>
                <a:cubicBezTo>
                  <a:pt x="106896" y="40077"/>
                  <a:pt x="123509" y="45855"/>
                  <a:pt x="134343" y="53078"/>
                </a:cubicBezTo>
                <a:cubicBezTo>
                  <a:pt x="145177" y="60301"/>
                  <a:pt x="147344" y="61024"/>
                  <a:pt x="160345" y="74747"/>
                </a:cubicBezTo>
                <a:cubicBezTo>
                  <a:pt x="173346" y="88470"/>
                  <a:pt x="196459" y="119528"/>
                  <a:pt x="212349" y="135418"/>
                </a:cubicBezTo>
                <a:cubicBezTo>
                  <a:pt x="228239" y="151308"/>
                  <a:pt x="241240" y="154919"/>
                  <a:pt x="255685" y="170087"/>
                </a:cubicBezTo>
                <a:cubicBezTo>
                  <a:pt x="270130" y="185255"/>
                  <a:pt x="284577" y="214868"/>
                  <a:pt x="299022" y="226424"/>
                </a:cubicBezTo>
                <a:cubicBezTo>
                  <a:pt x="313467" y="237980"/>
                  <a:pt x="329357" y="233647"/>
                  <a:pt x="342358" y="239425"/>
                </a:cubicBezTo>
                <a:cubicBezTo>
                  <a:pt x="355359" y="245203"/>
                  <a:pt x="361859" y="243758"/>
                  <a:pt x="377027" y="261093"/>
                </a:cubicBezTo>
                <a:cubicBezTo>
                  <a:pt x="392195" y="278428"/>
                  <a:pt x="412419" y="319598"/>
                  <a:pt x="433365" y="343433"/>
                </a:cubicBezTo>
                <a:cubicBezTo>
                  <a:pt x="454311" y="367268"/>
                  <a:pt x="502703" y="404104"/>
                  <a:pt x="502703" y="404104"/>
                </a:cubicBezTo>
                <a:cubicBezTo>
                  <a:pt x="527982" y="426494"/>
                  <a:pt x="561207" y="460442"/>
                  <a:pt x="585042" y="477776"/>
                </a:cubicBezTo>
                <a:cubicBezTo>
                  <a:pt x="608877" y="495110"/>
                  <a:pt x="624046" y="494388"/>
                  <a:pt x="645714" y="508111"/>
                </a:cubicBezTo>
                <a:cubicBezTo>
                  <a:pt x="667382" y="521834"/>
                  <a:pt x="691217" y="541336"/>
                  <a:pt x="715052" y="560115"/>
                </a:cubicBezTo>
                <a:cubicBezTo>
                  <a:pt x="738887" y="578894"/>
                  <a:pt x="767778" y="606341"/>
                  <a:pt x="788724" y="620786"/>
                </a:cubicBezTo>
                <a:cubicBezTo>
                  <a:pt x="809670" y="635231"/>
                  <a:pt x="821227" y="633065"/>
                  <a:pt x="840728" y="646788"/>
                </a:cubicBezTo>
                <a:cubicBezTo>
                  <a:pt x="860229" y="660511"/>
                  <a:pt x="889120" y="677846"/>
                  <a:pt x="905732" y="703126"/>
                </a:cubicBezTo>
                <a:cubicBezTo>
                  <a:pt x="922344" y="728406"/>
                  <a:pt x="926679" y="776798"/>
                  <a:pt x="940402" y="798466"/>
                </a:cubicBezTo>
                <a:cubicBezTo>
                  <a:pt x="954125" y="820134"/>
                  <a:pt x="980127" y="820856"/>
                  <a:pt x="988072" y="833135"/>
                </a:cubicBezTo>
                <a:cubicBezTo>
                  <a:pt x="996017" y="845414"/>
                  <a:pt x="988794" y="851914"/>
                  <a:pt x="988072" y="872138"/>
                </a:cubicBezTo>
                <a:cubicBezTo>
                  <a:pt x="987350" y="892362"/>
                  <a:pt x="986627" y="932809"/>
                  <a:pt x="983738" y="954477"/>
                </a:cubicBezTo>
                <a:cubicBezTo>
                  <a:pt x="980849" y="976145"/>
                  <a:pt x="977960" y="992758"/>
                  <a:pt x="970737" y="1002148"/>
                </a:cubicBezTo>
                <a:cubicBezTo>
                  <a:pt x="963514" y="1011538"/>
                  <a:pt x="946180" y="1000703"/>
                  <a:pt x="940402" y="1010815"/>
                </a:cubicBezTo>
                <a:cubicBezTo>
                  <a:pt x="934624" y="1020927"/>
                  <a:pt x="935346" y="1044762"/>
                  <a:pt x="936068" y="1062819"/>
                </a:cubicBezTo>
                <a:cubicBezTo>
                  <a:pt x="936790" y="1080876"/>
                  <a:pt x="943291" y="1106155"/>
                  <a:pt x="944735" y="1119156"/>
                </a:cubicBezTo>
                <a:cubicBezTo>
                  <a:pt x="946179" y="1132157"/>
                  <a:pt x="945457" y="1136490"/>
                  <a:pt x="944735" y="1140824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олилиния 7"/>
          <p:cNvSpPr/>
          <p:nvPr/>
        </p:nvSpPr>
        <p:spPr>
          <a:xfrm>
            <a:off x="4277313" y="4719344"/>
            <a:ext cx="975071" cy="1100746"/>
          </a:xfrm>
          <a:custGeom>
            <a:avLst/>
            <a:gdLst>
              <a:gd name="connsiteX0" fmla="*/ 0 w 991769"/>
              <a:gd name="connsiteY0" fmla="*/ 9742 h 1140824"/>
              <a:gd name="connsiteX1" fmla="*/ 65005 w 991769"/>
              <a:gd name="connsiteY1" fmla="*/ 1075 h 1140824"/>
              <a:gd name="connsiteX2" fmla="*/ 95340 w 991769"/>
              <a:gd name="connsiteY2" fmla="*/ 31410 h 1140824"/>
              <a:gd name="connsiteX3" fmla="*/ 134343 w 991769"/>
              <a:gd name="connsiteY3" fmla="*/ 53078 h 1140824"/>
              <a:gd name="connsiteX4" fmla="*/ 160345 w 991769"/>
              <a:gd name="connsiteY4" fmla="*/ 74747 h 1140824"/>
              <a:gd name="connsiteX5" fmla="*/ 212349 w 991769"/>
              <a:gd name="connsiteY5" fmla="*/ 135418 h 1140824"/>
              <a:gd name="connsiteX6" fmla="*/ 255685 w 991769"/>
              <a:gd name="connsiteY6" fmla="*/ 170087 h 1140824"/>
              <a:gd name="connsiteX7" fmla="*/ 299022 w 991769"/>
              <a:gd name="connsiteY7" fmla="*/ 226424 h 1140824"/>
              <a:gd name="connsiteX8" fmla="*/ 342358 w 991769"/>
              <a:gd name="connsiteY8" fmla="*/ 239425 h 1140824"/>
              <a:gd name="connsiteX9" fmla="*/ 377027 w 991769"/>
              <a:gd name="connsiteY9" fmla="*/ 261093 h 1140824"/>
              <a:gd name="connsiteX10" fmla="*/ 433365 w 991769"/>
              <a:gd name="connsiteY10" fmla="*/ 343433 h 1140824"/>
              <a:gd name="connsiteX11" fmla="*/ 502703 w 991769"/>
              <a:gd name="connsiteY11" fmla="*/ 404104 h 1140824"/>
              <a:gd name="connsiteX12" fmla="*/ 585042 w 991769"/>
              <a:gd name="connsiteY12" fmla="*/ 477776 h 1140824"/>
              <a:gd name="connsiteX13" fmla="*/ 645714 w 991769"/>
              <a:gd name="connsiteY13" fmla="*/ 508111 h 1140824"/>
              <a:gd name="connsiteX14" fmla="*/ 715052 w 991769"/>
              <a:gd name="connsiteY14" fmla="*/ 560115 h 1140824"/>
              <a:gd name="connsiteX15" fmla="*/ 788724 w 991769"/>
              <a:gd name="connsiteY15" fmla="*/ 620786 h 1140824"/>
              <a:gd name="connsiteX16" fmla="*/ 840728 w 991769"/>
              <a:gd name="connsiteY16" fmla="*/ 646788 h 1140824"/>
              <a:gd name="connsiteX17" fmla="*/ 905732 w 991769"/>
              <a:gd name="connsiteY17" fmla="*/ 703126 h 1140824"/>
              <a:gd name="connsiteX18" fmla="*/ 940402 w 991769"/>
              <a:gd name="connsiteY18" fmla="*/ 798466 h 1140824"/>
              <a:gd name="connsiteX19" fmla="*/ 988072 w 991769"/>
              <a:gd name="connsiteY19" fmla="*/ 833135 h 1140824"/>
              <a:gd name="connsiteX20" fmla="*/ 988072 w 991769"/>
              <a:gd name="connsiteY20" fmla="*/ 872138 h 1140824"/>
              <a:gd name="connsiteX21" fmla="*/ 983738 w 991769"/>
              <a:gd name="connsiteY21" fmla="*/ 954477 h 1140824"/>
              <a:gd name="connsiteX22" fmla="*/ 970737 w 991769"/>
              <a:gd name="connsiteY22" fmla="*/ 1002148 h 1140824"/>
              <a:gd name="connsiteX23" fmla="*/ 940402 w 991769"/>
              <a:gd name="connsiteY23" fmla="*/ 1010815 h 1140824"/>
              <a:gd name="connsiteX24" fmla="*/ 936068 w 991769"/>
              <a:gd name="connsiteY24" fmla="*/ 1062819 h 1140824"/>
              <a:gd name="connsiteX25" fmla="*/ 944735 w 991769"/>
              <a:gd name="connsiteY25" fmla="*/ 1119156 h 1140824"/>
              <a:gd name="connsiteX26" fmla="*/ 944735 w 991769"/>
              <a:gd name="connsiteY26" fmla="*/ 1140824 h 1140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91769" h="1140824">
                <a:moveTo>
                  <a:pt x="0" y="9742"/>
                </a:moveTo>
                <a:cubicBezTo>
                  <a:pt x="24557" y="3603"/>
                  <a:pt x="49115" y="-2536"/>
                  <a:pt x="65005" y="1075"/>
                </a:cubicBezTo>
                <a:cubicBezTo>
                  <a:pt x="80895" y="4686"/>
                  <a:pt x="83784" y="22743"/>
                  <a:pt x="95340" y="31410"/>
                </a:cubicBezTo>
                <a:cubicBezTo>
                  <a:pt x="106896" y="40077"/>
                  <a:pt x="123509" y="45855"/>
                  <a:pt x="134343" y="53078"/>
                </a:cubicBezTo>
                <a:cubicBezTo>
                  <a:pt x="145177" y="60301"/>
                  <a:pt x="147344" y="61024"/>
                  <a:pt x="160345" y="74747"/>
                </a:cubicBezTo>
                <a:cubicBezTo>
                  <a:pt x="173346" y="88470"/>
                  <a:pt x="196459" y="119528"/>
                  <a:pt x="212349" y="135418"/>
                </a:cubicBezTo>
                <a:cubicBezTo>
                  <a:pt x="228239" y="151308"/>
                  <a:pt x="241240" y="154919"/>
                  <a:pt x="255685" y="170087"/>
                </a:cubicBezTo>
                <a:cubicBezTo>
                  <a:pt x="270130" y="185255"/>
                  <a:pt x="284577" y="214868"/>
                  <a:pt x="299022" y="226424"/>
                </a:cubicBezTo>
                <a:cubicBezTo>
                  <a:pt x="313467" y="237980"/>
                  <a:pt x="329357" y="233647"/>
                  <a:pt x="342358" y="239425"/>
                </a:cubicBezTo>
                <a:cubicBezTo>
                  <a:pt x="355359" y="245203"/>
                  <a:pt x="361859" y="243758"/>
                  <a:pt x="377027" y="261093"/>
                </a:cubicBezTo>
                <a:cubicBezTo>
                  <a:pt x="392195" y="278428"/>
                  <a:pt x="412419" y="319598"/>
                  <a:pt x="433365" y="343433"/>
                </a:cubicBezTo>
                <a:cubicBezTo>
                  <a:pt x="454311" y="367268"/>
                  <a:pt x="502703" y="404104"/>
                  <a:pt x="502703" y="404104"/>
                </a:cubicBezTo>
                <a:cubicBezTo>
                  <a:pt x="527982" y="426494"/>
                  <a:pt x="561207" y="460442"/>
                  <a:pt x="585042" y="477776"/>
                </a:cubicBezTo>
                <a:cubicBezTo>
                  <a:pt x="608877" y="495110"/>
                  <a:pt x="624046" y="494388"/>
                  <a:pt x="645714" y="508111"/>
                </a:cubicBezTo>
                <a:cubicBezTo>
                  <a:pt x="667382" y="521834"/>
                  <a:pt x="691217" y="541336"/>
                  <a:pt x="715052" y="560115"/>
                </a:cubicBezTo>
                <a:cubicBezTo>
                  <a:pt x="738887" y="578894"/>
                  <a:pt x="767778" y="606341"/>
                  <a:pt x="788724" y="620786"/>
                </a:cubicBezTo>
                <a:cubicBezTo>
                  <a:pt x="809670" y="635231"/>
                  <a:pt x="821227" y="633065"/>
                  <a:pt x="840728" y="646788"/>
                </a:cubicBezTo>
                <a:cubicBezTo>
                  <a:pt x="860229" y="660511"/>
                  <a:pt x="889120" y="677846"/>
                  <a:pt x="905732" y="703126"/>
                </a:cubicBezTo>
                <a:cubicBezTo>
                  <a:pt x="922344" y="728406"/>
                  <a:pt x="926679" y="776798"/>
                  <a:pt x="940402" y="798466"/>
                </a:cubicBezTo>
                <a:cubicBezTo>
                  <a:pt x="954125" y="820134"/>
                  <a:pt x="980127" y="820856"/>
                  <a:pt x="988072" y="833135"/>
                </a:cubicBezTo>
                <a:cubicBezTo>
                  <a:pt x="996017" y="845414"/>
                  <a:pt x="988794" y="851914"/>
                  <a:pt x="988072" y="872138"/>
                </a:cubicBezTo>
                <a:cubicBezTo>
                  <a:pt x="987350" y="892362"/>
                  <a:pt x="986627" y="932809"/>
                  <a:pt x="983738" y="954477"/>
                </a:cubicBezTo>
                <a:cubicBezTo>
                  <a:pt x="980849" y="976145"/>
                  <a:pt x="977960" y="992758"/>
                  <a:pt x="970737" y="1002148"/>
                </a:cubicBezTo>
                <a:cubicBezTo>
                  <a:pt x="963514" y="1011538"/>
                  <a:pt x="946180" y="1000703"/>
                  <a:pt x="940402" y="1010815"/>
                </a:cubicBezTo>
                <a:cubicBezTo>
                  <a:pt x="934624" y="1020927"/>
                  <a:pt x="935346" y="1044762"/>
                  <a:pt x="936068" y="1062819"/>
                </a:cubicBezTo>
                <a:cubicBezTo>
                  <a:pt x="936790" y="1080876"/>
                  <a:pt x="943291" y="1106155"/>
                  <a:pt x="944735" y="1119156"/>
                </a:cubicBezTo>
                <a:cubicBezTo>
                  <a:pt x="946179" y="1132157"/>
                  <a:pt x="945457" y="1136490"/>
                  <a:pt x="944735" y="1140824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лилиния 8"/>
          <p:cNvSpPr/>
          <p:nvPr/>
        </p:nvSpPr>
        <p:spPr>
          <a:xfrm>
            <a:off x="4285978" y="4692268"/>
            <a:ext cx="991769" cy="1140824"/>
          </a:xfrm>
          <a:custGeom>
            <a:avLst/>
            <a:gdLst>
              <a:gd name="connsiteX0" fmla="*/ 0 w 991769"/>
              <a:gd name="connsiteY0" fmla="*/ 9742 h 1140824"/>
              <a:gd name="connsiteX1" fmla="*/ 65005 w 991769"/>
              <a:gd name="connsiteY1" fmla="*/ 1075 h 1140824"/>
              <a:gd name="connsiteX2" fmla="*/ 95340 w 991769"/>
              <a:gd name="connsiteY2" fmla="*/ 31410 h 1140824"/>
              <a:gd name="connsiteX3" fmla="*/ 134343 w 991769"/>
              <a:gd name="connsiteY3" fmla="*/ 53078 h 1140824"/>
              <a:gd name="connsiteX4" fmla="*/ 160345 w 991769"/>
              <a:gd name="connsiteY4" fmla="*/ 74747 h 1140824"/>
              <a:gd name="connsiteX5" fmla="*/ 212349 w 991769"/>
              <a:gd name="connsiteY5" fmla="*/ 135418 h 1140824"/>
              <a:gd name="connsiteX6" fmla="*/ 255685 w 991769"/>
              <a:gd name="connsiteY6" fmla="*/ 170087 h 1140824"/>
              <a:gd name="connsiteX7" fmla="*/ 299022 w 991769"/>
              <a:gd name="connsiteY7" fmla="*/ 226424 h 1140824"/>
              <a:gd name="connsiteX8" fmla="*/ 342358 w 991769"/>
              <a:gd name="connsiteY8" fmla="*/ 239425 h 1140824"/>
              <a:gd name="connsiteX9" fmla="*/ 377027 w 991769"/>
              <a:gd name="connsiteY9" fmla="*/ 261093 h 1140824"/>
              <a:gd name="connsiteX10" fmla="*/ 433365 w 991769"/>
              <a:gd name="connsiteY10" fmla="*/ 343433 h 1140824"/>
              <a:gd name="connsiteX11" fmla="*/ 502703 w 991769"/>
              <a:gd name="connsiteY11" fmla="*/ 404104 h 1140824"/>
              <a:gd name="connsiteX12" fmla="*/ 585042 w 991769"/>
              <a:gd name="connsiteY12" fmla="*/ 477776 h 1140824"/>
              <a:gd name="connsiteX13" fmla="*/ 645714 w 991769"/>
              <a:gd name="connsiteY13" fmla="*/ 508111 h 1140824"/>
              <a:gd name="connsiteX14" fmla="*/ 715052 w 991769"/>
              <a:gd name="connsiteY14" fmla="*/ 560115 h 1140824"/>
              <a:gd name="connsiteX15" fmla="*/ 788724 w 991769"/>
              <a:gd name="connsiteY15" fmla="*/ 620786 h 1140824"/>
              <a:gd name="connsiteX16" fmla="*/ 840728 w 991769"/>
              <a:gd name="connsiteY16" fmla="*/ 646788 h 1140824"/>
              <a:gd name="connsiteX17" fmla="*/ 905732 w 991769"/>
              <a:gd name="connsiteY17" fmla="*/ 703126 h 1140824"/>
              <a:gd name="connsiteX18" fmla="*/ 940402 w 991769"/>
              <a:gd name="connsiteY18" fmla="*/ 798466 h 1140824"/>
              <a:gd name="connsiteX19" fmla="*/ 988072 w 991769"/>
              <a:gd name="connsiteY19" fmla="*/ 833135 h 1140824"/>
              <a:gd name="connsiteX20" fmla="*/ 988072 w 991769"/>
              <a:gd name="connsiteY20" fmla="*/ 872138 h 1140824"/>
              <a:gd name="connsiteX21" fmla="*/ 983738 w 991769"/>
              <a:gd name="connsiteY21" fmla="*/ 954477 h 1140824"/>
              <a:gd name="connsiteX22" fmla="*/ 970737 w 991769"/>
              <a:gd name="connsiteY22" fmla="*/ 1002148 h 1140824"/>
              <a:gd name="connsiteX23" fmla="*/ 940402 w 991769"/>
              <a:gd name="connsiteY23" fmla="*/ 1010815 h 1140824"/>
              <a:gd name="connsiteX24" fmla="*/ 936068 w 991769"/>
              <a:gd name="connsiteY24" fmla="*/ 1062819 h 1140824"/>
              <a:gd name="connsiteX25" fmla="*/ 944735 w 991769"/>
              <a:gd name="connsiteY25" fmla="*/ 1119156 h 1140824"/>
              <a:gd name="connsiteX26" fmla="*/ 944735 w 991769"/>
              <a:gd name="connsiteY26" fmla="*/ 1140824 h 1140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91769" h="1140824">
                <a:moveTo>
                  <a:pt x="0" y="9742"/>
                </a:moveTo>
                <a:cubicBezTo>
                  <a:pt x="24557" y="3603"/>
                  <a:pt x="49115" y="-2536"/>
                  <a:pt x="65005" y="1075"/>
                </a:cubicBezTo>
                <a:cubicBezTo>
                  <a:pt x="80895" y="4686"/>
                  <a:pt x="83784" y="22743"/>
                  <a:pt x="95340" y="31410"/>
                </a:cubicBezTo>
                <a:cubicBezTo>
                  <a:pt x="106896" y="40077"/>
                  <a:pt x="123509" y="45855"/>
                  <a:pt x="134343" y="53078"/>
                </a:cubicBezTo>
                <a:cubicBezTo>
                  <a:pt x="145177" y="60301"/>
                  <a:pt x="147344" y="61024"/>
                  <a:pt x="160345" y="74747"/>
                </a:cubicBezTo>
                <a:cubicBezTo>
                  <a:pt x="173346" y="88470"/>
                  <a:pt x="196459" y="119528"/>
                  <a:pt x="212349" y="135418"/>
                </a:cubicBezTo>
                <a:cubicBezTo>
                  <a:pt x="228239" y="151308"/>
                  <a:pt x="241240" y="154919"/>
                  <a:pt x="255685" y="170087"/>
                </a:cubicBezTo>
                <a:cubicBezTo>
                  <a:pt x="270130" y="185255"/>
                  <a:pt x="284577" y="214868"/>
                  <a:pt x="299022" y="226424"/>
                </a:cubicBezTo>
                <a:cubicBezTo>
                  <a:pt x="313467" y="237980"/>
                  <a:pt x="329357" y="233647"/>
                  <a:pt x="342358" y="239425"/>
                </a:cubicBezTo>
                <a:cubicBezTo>
                  <a:pt x="355359" y="245203"/>
                  <a:pt x="361859" y="243758"/>
                  <a:pt x="377027" y="261093"/>
                </a:cubicBezTo>
                <a:cubicBezTo>
                  <a:pt x="392195" y="278428"/>
                  <a:pt x="412419" y="319598"/>
                  <a:pt x="433365" y="343433"/>
                </a:cubicBezTo>
                <a:cubicBezTo>
                  <a:pt x="454311" y="367268"/>
                  <a:pt x="502703" y="404104"/>
                  <a:pt x="502703" y="404104"/>
                </a:cubicBezTo>
                <a:cubicBezTo>
                  <a:pt x="527982" y="426494"/>
                  <a:pt x="561207" y="460442"/>
                  <a:pt x="585042" y="477776"/>
                </a:cubicBezTo>
                <a:cubicBezTo>
                  <a:pt x="608877" y="495110"/>
                  <a:pt x="624046" y="494388"/>
                  <a:pt x="645714" y="508111"/>
                </a:cubicBezTo>
                <a:cubicBezTo>
                  <a:pt x="667382" y="521834"/>
                  <a:pt x="691217" y="541336"/>
                  <a:pt x="715052" y="560115"/>
                </a:cubicBezTo>
                <a:cubicBezTo>
                  <a:pt x="738887" y="578894"/>
                  <a:pt x="767778" y="606341"/>
                  <a:pt x="788724" y="620786"/>
                </a:cubicBezTo>
                <a:cubicBezTo>
                  <a:pt x="809670" y="635231"/>
                  <a:pt x="821227" y="633065"/>
                  <a:pt x="840728" y="646788"/>
                </a:cubicBezTo>
                <a:cubicBezTo>
                  <a:pt x="860229" y="660511"/>
                  <a:pt x="889120" y="677846"/>
                  <a:pt x="905732" y="703126"/>
                </a:cubicBezTo>
                <a:cubicBezTo>
                  <a:pt x="922344" y="728406"/>
                  <a:pt x="926679" y="776798"/>
                  <a:pt x="940402" y="798466"/>
                </a:cubicBezTo>
                <a:cubicBezTo>
                  <a:pt x="954125" y="820134"/>
                  <a:pt x="980127" y="820856"/>
                  <a:pt x="988072" y="833135"/>
                </a:cubicBezTo>
                <a:cubicBezTo>
                  <a:pt x="996017" y="845414"/>
                  <a:pt x="988794" y="851914"/>
                  <a:pt x="988072" y="872138"/>
                </a:cubicBezTo>
                <a:cubicBezTo>
                  <a:pt x="987350" y="892362"/>
                  <a:pt x="986627" y="932809"/>
                  <a:pt x="983738" y="954477"/>
                </a:cubicBezTo>
                <a:cubicBezTo>
                  <a:pt x="980849" y="976145"/>
                  <a:pt x="977960" y="992758"/>
                  <a:pt x="970737" y="1002148"/>
                </a:cubicBezTo>
                <a:cubicBezTo>
                  <a:pt x="963514" y="1011538"/>
                  <a:pt x="946180" y="1000703"/>
                  <a:pt x="940402" y="1010815"/>
                </a:cubicBezTo>
                <a:cubicBezTo>
                  <a:pt x="934624" y="1020927"/>
                  <a:pt x="935346" y="1044762"/>
                  <a:pt x="936068" y="1062819"/>
                </a:cubicBezTo>
                <a:cubicBezTo>
                  <a:pt x="936790" y="1080876"/>
                  <a:pt x="943291" y="1106155"/>
                  <a:pt x="944735" y="1119156"/>
                </a:cubicBezTo>
                <a:cubicBezTo>
                  <a:pt x="946179" y="1132157"/>
                  <a:pt x="945457" y="1136490"/>
                  <a:pt x="944735" y="1140824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олилиния 9"/>
          <p:cNvSpPr/>
          <p:nvPr/>
        </p:nvSpPr>
        <p:spPr>
          <a:xfrm>
            <a:off x="2538974" y="2711592"/>
            <a:ext cx="1761322" cy="1993758"/>
          </a:xfrm>
          <a:custGeom>
            <a:avLst/>
            <a:gdLst>
              <a:gd name="connsiteX0" fmla="*/ 1761322 w 1761322"/>
              <a:gd name="connsiteY0" fmla="*/ 1993758 h 1993758"/>
              <a:gd name="connsiteX1" fmla="*/ 1704172 w 1761322"/>
              <a:gd name="connsiteY1" fmla="*/ 1978518 h 1993758"/>
              <a:gd name="connsiteX2" fmla="*/ 1662262 w 1761322"/>
              <a:gd name="connsiteY2" fmla="*/ 1970898 h 1993758"/>
              <a:gd name="connsiteX3" fmla="*/ 1620352 w 1761322"/>
              <a:gd name="connsiteY3" fmla="*/ 1967088 h 1993758"/>
              <a:gd name="connsiteX4" fmla="*/ 1586062 w 1761322"/>
              <a:gd name="connsiteY4" fmla="*/ 1959468 h 1993758"/>
              <a:gd name="connsiteX5" fmla="*/ 1574632 w 1761322"/>
              <a:gd name="connsiteY5" fmla="*/ 1963278 h 1993758"/>
              <a:gd name="connsiteX6" fmla="*/ 1551772 w 1761322"/>
              <a:gd name="connsiteY6" fmla="*/ 1928988 h 1993758"/>
              <a:gd name="connsiteX7" fmla="*/ 1506052 w 1761322"/>
              <a:gd name="connsiteY7" fmla="*/ 1906128 h 1993758"/>
              <a:gd name="connsiteX8" fmla="*/ 1452712 w 1761322"/>
              <a:gd name="connsiteY8" fmla="*/ 1883268 h 1993758"/>
              <a:gd name="connsiteX9" fmla="*/ 1422232 w 1761322"/>
              <a:gd name="connsiteY9" fmla="*/ 1868028 h 1993758"/>
              <a:gd name="connsiteX10" fmla="*/ 1406992 w 1761322"/>
              <a:gd name="connsiteY10" fmla="*/ 1814688 h 1993758"/>
              <a:gd name="connsiteX11" fmla="*/ 1403182 w 1761322"/>
              <a:gd name="connsiteY11" fmla="*/ 1746108 h 1993758"/>
              <a:gd name="connsiteX12" fmla="*/ 1418422 w 1761322"/>
              <a:gd name="connsiteY12" fmla="*/ 1723248 h 1993758"/>
              <a:gd name="connsiteX13" fmla="*/ 1391752 w 1761322"/>
              <a:gd name="connsiteY13" fmla="*/ 1681338 h 1993758"/>
              <a:gd name="connsiteX14" fmla="*/ 1380322 w 1761322"/>
              <a:gd name="connsiteY14" fmla="*/ 1654668 h 1993758"/>
              <a:gd name="connsiteX15" fmla="*/ 1342222 w 1761322"/>
              <a:gd name="connsiteY15" fmla="*/ 1639428 h 1993758"/>
              <a:gd name="connsiteX16" fmla="*/ 1254592 w 1761322"/>
              <a:gd name="connsiteY16" fmla="*/ 1662288 h 1993758"/>
              <a:gd name="connsiteX17" fmla="*/ 1227922 w 1761322"/>
              <a:gd name="connsiteY17" fmla="*/ 1677528 h 1993758"/>
              <a:gd name="connsiteX18" fmla="*/ 1140292 w 1761322"/>
              <a:gd name="connsiteY18" fmla="*/ 1639428 h 1993758"/>
              <a:gd name="connsiteX19" fmla="*/ 1083142 w 1761322"/>
              <a:gd name="connsiteY19" fmla="*/ 1608948 h 1993758"/>
              <a:gd name="connsiteX20" fmla="*/ 1014562 w 1761322"/>
              <a:gd name="connsiteY20" fmla="*/ 1589898 h 1993758"/>
              <a:gd name="connsiteX21" fmla="*/ 965032 w 1761322"/>
              <a:gd name="connsiteY21" fmla="*/ 1597518 h 1993758"/>
              <a:gd name="connsiteX22" fmla="*/ 957412 w 1761322"/>
              <a:gd name="connsiteY22" fmla="*/ 1525128 h 1993758"/>
              <a:gd name="connsiteX23" fmla="*/ 930742 w 1761322"/>
              <a:gd name="connsiteY23" fmla="*/ 1448928 h 1993758"/>
              <a:gd name="connsiteX24" fmla="*/ 919312 w 1761322"/>
              <a:gd name="connsiteY24" fmla="*/ 1384158 h 1993758"/>
              <a:gd name="connsiteX25" fmla="*/ 911692 w 1761322"/>
              <a:gd name="connsiteY25" fmla="*/ 1361298 h 1993758"/>
              <a:gd name="connsiteX26" fmla="*/ 907882 w 1761322"/>
              <a:gd name="connsiteY26" fmla="*/ 1311768 h 1993758"/>
              <a:gd name="connsiteX27" fmla="*/ 885022 w 1761322"/>
              <a:gd name="connsiteY27" fmla="*/ 1269858 h 1993758"/>
              <a:gd name="connsiteX28" fmla="*/ 858352 w 1761322"/>
              <a:gd name="connsiteY28" fmla="*/ 1205088 h 1993758"/>
              <a:gd name="connsiteX29" fmla="*/ 846922 w 1761322"/>
              <a:gd name="connsiteY29" fmla="*/ 1163178 h 1993758"/>
              <a:gd name="connsiteX30" fmla="*/ 865972 w 1761322"/>
              <a:gd name="connsiteY30" fmla="*/ 1140318 h 1993758"/>
              <a:gd name="connsiteX31" fmla="*/ 862162 w 1761322"/>
              <a:gd name="connsiteY31" fmla="*/ 1060308 h 1993758"/>
              <a:gd name="connsiteX32" fmla="*/ 869782 w 1761322"/>
              <a:gd name="connsiteY32" fmla="*/ 1003158 h 1993758"/>
              <a:gd name="connsiteX33" fmla="*/ 831682 w 1761322"/>
              <a:gd name="connsiteY33" fmla="*/ 949818 h 1993758"/>
              <a:gd name="connsiteX34" fmla="*/ 805012 w 1761322"/>
              <a:gd name="connsiteY34" fmla="*/ 820278 h 1993758"/>
              <a:gd name="connsiteX35" fmla="*/ 766912 w 1761322"/>
              <a:gd name="connsiteY35" fmla="*/ 606918 h 1993758"/>
              <a:gd name="connsiteX36" fmla="*/ 713572 w 1761322"/>
              <a:gd name="connsiteY36" fmla="*/ 443088 h 1993758"/>
              <a:gd name="connsiteX37" fmla="*/ 656422 w 1761322"/>
              <a:gd name="connsiteY37" fmla="*/ 355458 h 1993758"/>
              <a:gd name="connsiteX38" fmla="*/ 622132 w 1761322"/>
              <a:gd name="connsiteY38" fmla="*/ 260208 h 1993758"/>
              <a:gd name="connsiteX39" fmla="*/ 610702 w 1761322"/>
              <a:gd name="connsiteY39" fmla="*/ 225918 h 1993758"/>
              <a:gd name="connsiteX40" fmla="*/ 614512 w 1761322"/>
              <a:gd name="connsiteY40" fmla="*/ 187818 h 1993758"/>
              <a:gd name="connsiteX41" fmla="*/ 534502 w 1761322"/>
              <a:gd name="connsiteY41" fmla="*/ 138288 h 1993758"/>
              <a:gd name="connsiteX42" fmla="*/ 450682 w 1761322"/>
              <a:gd name="connsiteY42" fmla="*/ 111618 h 1993758"/>
              <a:gd name="connsiteX43" fmla="*/ 374482 w 1761322"/>
              <a:gd name="connsiteY43" fmla="*/ 103998 h 1993758"/>
              <a:gd name="connsiteX44" fmla="*/ 305902 w 1761322"/>
              <a:gd name="connsiteY44" fmla="*/ 84948 h 1993758"/>
              <a:gd name="connsiteX45" fmla="*/ 279232 w 1761322"/>
              <a:gd name="connsiteY45" fmla="*/ 54468 h 1993758"/>
              <a:gd name="connsiteX46" fmla="*/ 199222 w 1761322"/>
              <a:gd name="connsiteY46" fmla="*/ 43038 h 1993758"/>
              <a:gd name="connsiteX47" fmla="*/ 149692 w 1761322"/>
              <a:gd name="connsiteY47" fmla="*/ 31608 h 1993758"/>
              <a:gd name="connsiteX48" fmla="*/ 107782 w 1761322"/>
              <a:gd name="connsiteY48" fmla="*/ 16368 h 1993758"/>
              <a:gd name="connsiteX49" fmla="*/ 12532 w 1761322"/>
              <a:gd name="connsiteY49" fmla="*/ 1128 h 1993758"/>
              <a:gd name="connsiteX50" fmla="*/ 1102 w 1761322"/>
              <a:gd name="connsiteY50" fmla="*/ 1128 h 1993758"/>
              <a:gd name="connsiteX51" fmla="*/ 1102 w 1761322"/>
              <a:gd name="connsiteY51" fmla="*/ 1128 h 1993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761322" h="1993758">
                <a:moveTo>
                  <a:pt x="1761322" y="1993758"/>
                </a:moveTo>
                <a:cubicBezTo>
                  <a:pt x="1741002" y="1988043"/>
                  <a:pt x="1720682" y="1982328"/>
                  <a:pt x="1704172" y="1978518"/>
                </a:cubicBezTo>
                <a:cubicBezTo>
                  <a:pt x="1687662" y="1974708"/>
                  <a:pt x="1676232" y="1972803"/>
                  <a:pt x="1662262" y="1970898"/>
                </a:cubicBezTo>
                <a:cubicBezTo>
                  <a:pt x="1648292" y="1968993"/>
                  <a:pt x="1633052" y="1968993"/>
                  <a:pt x="1620352" y="1967088"/>
                </a:cubicBezTo>
                <a:cubicBezTo>
                  <a:pt x="1607652" y="1965183"/>
                  <a:pt x="1586062" y="1959468"/>
                  <a:pt x="1586062" y="1959468"/>
                </a:cubicBezTo>
                <a:cubicBezTo>
                  <a:pt x="1578442" y="1958833"/>
                  <a:pt x="1580347" y="1968358"/>
                  <a:pt x="1574632" y="1963278"/>
                </a:cubicBezTo>
                <a:cubicBezTo>
                  <a:pt x="1568917" y="1958198"/>
                  <a:pt x="1563202" y="1938513"/>
                  <a:pt x="1551772" y="1928988"/>
                </a:cubicBezTo>
                <a:cubicBezTo>
                  <a:pt x="1540342" y="1919463"/>
                  <a:pt x="1522562" y="1913748"/>
                  <a:pt x="1506052" y="1906128"/>
                </a:cubicBezTo>
                <a:cubicBezTo>
                  <a:pt x="1489542" y="1898508"/>
                  <a:pt x="1466682" y="1889618"/>
                  <a:pt x="1452712" y="1883268"/>
                </a:cubicBezTo>
                <a:cubicBezTo>
                  <a:pt x="1438742" y="1876918"/>
                  <a:pt x="1429852" y="1879458"/>
                  <a:pt x="1422232" y="1868028"/>
                </a:cubicBezTo>
                <a:cubicBezTo>
                  <a:pt x="1414612" y="1856598"/>
                  <a:pt x="1410167" y="1835008"/>
                  <a:pt x="1406992" y="1814688"/>
                </a:cubicBezTo>
                <a:cubicBezTo>
                  <a:pt x="1403817" y="1794368"/>
                  <a:pt x="1401277" y="1761348"/>
                  <a:pt x="1403182" y="1746108"/>
                </a:cubicBezTo>
                <a:cubicBezTo>
                  <a:pt x="1405087" y="1730868"/>
                  <a:pt x="1420327" y="1734043"/>
                  <a:pt x="1418422" y="1723248"/>
                </a:cubicBezTo>
                <a:cubicBezTo>
                  <a:pt x="1416517" y="1712453"/>
                  <a:pt x="1398102" y="1692768"/>
                  <a:pt x="1391752" y="1681338"/>
                </a:cubicBezTo>
                <a:cubicBezTo>
                  <a:pt x="1385402" y="1669908"/>
                  <a:pt x="1388577" y="1661653"/>
                  <a:pt x="1380322" y="1654668"/>
                </a:cubicBezTo>
                <a:cubicBezTo>
                  <a:pt x="1372067" y="1647683"/>
                  <a:pt x="1363177" y="1638158"/>
                  <a:pt x="1342222" y="1639428"/>
                </a:cubicBezTo>
                <a:cubicBezTo>
                  <a:pt x="1321267" y="1640698"/>
                  <a:pt x="1273642" y="1655938"/>
                  <a:pt x="1254592" y="1662288"/>
                </a:cubicBezTo>
                <a:cubicBezTo>
                  <a:pt x="1235542" y="1668638"/>
                  <a:pt x="1246972" y="1681338"/>
                  <a:pt x="1227922" y="1677528"/>
                </a:cubicBezTo>
                <a:cubicBezTo>
                  <a:pt x="1208872" y="1673718"/>
                  <a:pt x="1164422" y="1650858"/>
                  <a:pt x="1140292" y="1639428"/>
                </a:cubicBezTo>
                <a:cubicBezTo>
                  <a:pt x="1116162" y="1627998"/>
                  <a:pt x="1104097" y="1617203"/>
                  <a:pt x="1083142" y="1608948"/>
                </a:cubicBezTo>
                <a:cubicBezTo>
                  <a:pt x="1062187" y="1600693"/>
                  <a:pt x="1034247" y="1591803"/>
                  <a:pt x="1014562" y="1589898"/>
                </a:cubicBezTo>
                <a:cubicBezTo>
                  <a:pt x="994877" y="1587993"/>
                  <a:pt x="974557" y="1608313"/>
                  <a:pt x="965032" y="1597518"/>
                </a:cubicBezTo>
                <a:cubicBezTo>
                  <a:pt x="955507" y="1586723"/>
                  <a:pt x="963127" y="1549893"/>
                  <a:pt x="957412" y="1525128"/>
                </a:cubicBezTo>
                <a:cubicBezTo>
                  <a:pt x="951697" y="1500363"/>
                  <a:pt x="937092" y="1472423"/>
                  <a:pt x="930742" y="1448928"/>
                </a:cubicBezTo>
                <a:cubicBezTo>
                  <a:pt x="924392" y="1425433"/>
                  <a:pt x="922487" y="1398763"/>
                  <a:pt x="919312" y="1384158"/>
                </a:cubicBezTo>
                <a:cubicBezTo>
                  <a:pt x="916137" y="1369553"/>
                  <a:pt x="913597" y="1373363"/>
                  <a:pt x="911692" y="1361298"/>
                </a:cubicBezTo>
                <a:cubicBezTo>
                  <a:pt x="909787" y="1349233"/>
                  <a:pt x="912327" y="1327008"/>
                  <a:pt x="907882" y="1311768"/>
                </a:cubicBezTo>
                <a:cubicBezTo>
                  <a:pt x="903437" y="1296528"/>
                  <a:pt x="893277" y="1287638"/>
                  <a:pt x="885022" y="1269858"/>
                </a:cubicBezTo>
                <a:cubicBezTo>
                  <a:pt x="876767" y="1252078"/>
                  <a:pt x="864702" y="1222868"/>
                  <a:pt x="858352" y="1205088"/>
                </a:cubicBezTo>
                <a:cubicBezTo>
                  <a:pt x="852002" y="1187308"/>
                  <a:pt x="845652" y="1173973"/>
                  <a:pt x="846922" y="1163178"/>
                </a:cubicBezTo>
                <a:cubicBezTo>
                  <a:pt x="848192" y="1152383"/>
                  <a:pt x="863432" y="1157463"/>
                  <a:pt x="865972" y="1140318"/>
                </a:cubicBezTo>
                <a:cubicBezTo>
                  <a:pt x="868512" y="1123173"/>
                  <a:pt x="861527" y="1083168"/>
                  <a:pt x="862162" y="1060308"/>
                </a:cubicBezTo>
                <a:cubicBezTo>
                  <a:pt x="862797" y="1037448"/>
                  <a:pt x="874862" y="1021573"/>
                  <a:pt x="869782" y="1003158"/>
                </a:cubicBezTo>
                <a:cubicBezTo>
                  <a:pt x="864702" y="984743"/>
                  <a:pt x="842477" y="980298"/>
                  <a:pt x="831682" y="949818"/>
                </a:cubicBezTo>
                <a:cubicBezTo>
                  <a:pt x="820887" y="919338"/>
                  <a:pt x="815807" y="877428"/>
                  <a:pt x="805012" y="820278"/>
                </a:cubicBezTo>
                <a:cubicBezTo>
                  <a:pt x="794217" y="763128"/>
                  <a:pt x="782152" y="669783"/>
                  <a:pt x="766912" y="606918"/>
                </a:cubicBezTo>
                <a:cubicBezTo>
                  <a:pt x="751672" y="544053"/>
                  <a:pt x="731987" y="484998"/>
                  <a:pt x="713572" y="443088"/>
                </a:cubicBezTo>
                <a:cubicBezTo>
                  <a:pt x="695157" y="401178"/>
                  <a:pt x="671662" y="385938"/>
                  <a:pt x="656422" y="355458"/>
                </a:cubicBezTo>
                <a:cubicBezTo>
                  <a:pt x="641182" y="324978"/>
                  <a:pt x="629752" y="281798"/>
                  <a:pt x="622132" y="260208"/>
                </a:cubicBezTo>
                <a:cubicBezTo>
                  <a:pt x="614512" y="238618"/>
                  <a:pt x="611972" y="237983"/>
                  <a:pt x="610702" y="225918"/>
                </a:cubicBezTo>
                <a:cubicBezTo>
                  <a:pt x="609432" y="213853"/>
                  <a:pt x="627212" y="202423"/>
                  <a:pt x="614512" y="187818"/>
                </a:cubicBezTo>
                <a:cubicBezTo>
                  <a:pt x="601812" y="173213"/>
                  <a:pt x="561807" y="150988"/>
                  <a:pt x="534502" y="138288"/>
                </a:cubicBezTo>
                <a:cubicBezTo>
                  <a:pt x="507197" y="125588"/>
                  <a:pt x="477352" y="117333"/>
                  <a:pt x="450682" y="111618"/>
                </a:cubicBezTo>
                <a:cubicBezTo>
                  <a:pt x="424012" y="105903"/>
                  <a:pt x="398612" y="108443"/>
                  <a:pt x="374482" y="103998"/>
                </a:cubicBezTo>
                <a:cubicBezTo>
                  <a:pt x="350352" y="99553"/>
                  <a:pt x="321777" y="93203"/>
                  <a:pt x="305902" y="84948"/>
                </a:cubicBezTo>
                <a:cubicBezTo>
                  <a:pt x="290027" y="76693"/>
                  <a:pt x="297012" y="61453"/>
                  <a:pt x="279232" y="54468"/>
                </a:cubicBezTo>
                <a:cubicBezTo>
                  <a:pt x="261452" y="47483"/>
                  <a:pt x="220812" y="46848"/>
                  <a:pt x="199222" y="43038"/>
                </a:cubicBezTo>
                <a:cubicBezTo>
                  <a:pt x="177632" y="39228"/>
                  <a:pt x="164932" y="36053"/>
                  <a:pt x="149692" y="31608"/>
                </a:cubicBezTo>
                <a:cubicBezTo>
                  <a:pt x="134452" y="27163"/>
                  <a:pt x="130642" y="21448"/>
                  <a:pt x="107782" y="16368"/>
                </a:cubicBezTo>
                <a:cubicBezTo>
                  <a:pt x="84922" y="11288"/>
                  <a:pt x="30312" y="3668"/>
                  <a:pt x="12532" y="1128"/>
                </a:cubicBezTo>
                <a:cubicBezTo>
                  <a:pt x="-5248" y="-1412"/>
                  <a:pt x="1102" y="1128"/>
                  <a:pt x="1102" y="1128"/>
                </a:cubicBezTo>
                <a:lnTo>
                  <a:pt x="1102" y="1128"/>
                </a:ln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олилиния 10"/>
          <p:cNvSpPr/>
          <p:nvPr/>
        </p:nvSpPr>
        <p:spPr>
          <a:xfrm>
            <a:off x="2538303" y="2712954"/>
            <a:ext cx="1761322" cy="1993758"/>
          </a:xfrm>
          <a:custGeom>
            <a:avLst/>
            <a:gdLst>
              <a:gd name="connsiteX0" fmla="*/ 1761322 w 1761322"/>
              <a:gd name="connsiteY0" fmla="*/ 1993758 h 1993758"/>
              <a:gd name="connsiteX1" fmla="*/ 1704172 w 1761322"/>
              <a:gd name="connsiteY1" fmla="*/ 1978518 h 1993758"/>
              <a:gd name="connsiteX2" fmla="*/ 1662262 w 1761322"/>
              <a:gd name="connsiteY2" fmla="*/ 1970898 h 1993758"/>
              <a:gd name="connsiteX3" fmla="*/ 1620352 w 1761322"/>
              <a:gd name="connsiteY3" fmla="*/ 1967088 h 1993758"/>
              <a:gd name="connsiteX4" fmla="*/ 1586062 w 1761322"/>
              <a:gd name="connsiteY4" fmla="*/ 1959468 h 1993758"/>
              <a:gd name="connsiteX5" fmla="*/ 1574632 w 1761322"/>
              <a:gd name="connsiteY5" fmla="*/ 1963278 h 1993758"/>
              <a:gd name="connsiteX6" fmla="*/ 1551772 w 1761322"/>
              <a:gd name="connsiteY6" fmla="*/ 1928988 h 1993758"/>
              <a:gd name="connsiteX7" fmla="*/ 1506052 w 1761322"/>
              <a:gd name="connsiteY7" fmla="*/ 1906128 h 1993758"/>
              <a:gd name="connsiteX8" fmla="*/ 1452712 w 1761322"/>
              <a:gd name="connsiteY8" fmla="*/ 1883268 h 1993758"/>
              <a:gd name="connsiteX9" fmla="*/ 1422232 w 1761322"/>
              <a:gd name="connsiteY9" fmla="*/ 1868028 h 1993758"/>
              <a:gd name="connsiteX10" fmla="*/ 1406992 w 1761322"/>
              <a:gd name="connsiteY10" fmla="*/ 1814688 h 1993758"/>
              <a:gd name="connsiteX11" fmla="*/ 1403182 w 1761322"/>
              <a:gd name="connsiteY11" fmla="*/ 1746108 h 1993758"/>
              <a:gd name="connsiteX12" fmla="*/ 1418422 w 1761322"/>
              <a:gd name="connsiteY12" fmla="*/ 1723248 h 1993758"/>
              <a:gd name="connsiteX13" fmla="*/ 1391752 w 1761322"/>
              <a:gd name="connsiteY13" fmla="*/ 1681338 h 1993758"/>
              <a:gd name="connsiteX14" fmla="*/ 1380322 w 1761322"/>
              <a:gd name="connsiteY14" fmla="*/ 1654668 h 1993758"/>
              <a:gd name="connsiteX15" fmla="*/ 1342222 w 1761322"/>
              <a:gd name="connsiteY15" fmla="*/ 1639428 h 1993758"/>
              <a:gd name="connsiteX16" fmla="*/ 1254592 w 1761322"/>
              <a:gd name="connsiteY16" fmla="*/ 1662288 h 1993758"/>
              <a:gd name="connsiteX17" fmla="*/ 1227922 w 1761322"/>
              <a:gd name="connsiteY17" fmla="*/ 1677528 h 1993758"/>
              <a:gd name="connsiteX18" fmla="*/ 1140292 w 1761322"/>
              <a:gd name="connsiteY18" fmla="*/ 1639428 h 1993758"/>
              <a:gd name="connsiteX19" fmla="*/ 1083142 w 1761322"/>
              <a:gd name="connsiteY19" fmla="*/ 1608948 h 1993758"/>
              <a:gd name="connsiteX20" fmla="*/ 1014562 w 1761322"/>
              <a:gd name="connsiteY20" fmla="*/ 1589898 h 1993758"/>
              <a:gd name="connsiteX21" fmla="*/ 965032 w 1761322"/>
              <a:gd name="connsiteY21" fmla="*/ 1597518 h 1993758"/>
              <a:gd name="connsiteX22" fmla="*/ 957412 w 1761322"/>
              <a:gd name="connsiteY22" fmla="*/ 1525128 h 1993758"/>
              <a:gd name="connsiteX23" fmla="*/ 930742 w 1761322"/>
              <a:gd name="connsiteY23" fmla="*/ 1448928 h 1993758"/>
              <a:gd name="connsiteX24" fmla="*/ 919312 w 1761322"/>
              <a:gd name="connsiteY24" fmla="*/ 1384158 h 1993758"/>
              <a:gd name="connsiteX25" fmla="*/ 911692 w 1761322"/>
              <a:gd name="connsiteY25" fmla="*/ 1361298 h 1993758"/>
              <a:gd name="connsiteX26" fmla="*/ 907882 w 1761322"/>
              <a:gd name="connsiteY26" fmla="*/ 1311768 h 1993758"/>
              <a:gd name="connsiteX27" fmla="*/ 885022 w 1761322"/>
              <a:gd name="connsiteY27" fmla="*/ 1269858 h 1993758"/>
              <a:gd name="connsiteX28" fmla="*/ 858352 w 1761322"/>
              <a:gd name="connsiteY28" fmla="*/ 1205088 h 1993758"/>
              <a:gd name="connsiteX29" fmla="*/ 846922 w 1761322"/>
              <a:gd name="connsiteY29" fmla="*/ 1163178 h 1993758"/>
              <a:gd name="connsiteX30" fmla="*/ 865972 w 1761322"/>
              <a:gd name="connsiteY30" fmla="*/ 1140318 h 1993758"/>
              <a:gd name="connsiteX31" fmla="*/ 862162 w 1761322"/>
              <a:gd name="connsiteY31" fmla="*/ 1060308 h 1993758"/>
              <a:gd name="connsiteX32" fmla="*/ 869782 w 1761322"/>
              <a:gd name="connsiteY32" fmla="*/ 1003158 h 1993758"/>
              <a:gd name="connsiteX33" fmla="*/ 831682 w 1761322"/>
              <a:gd name="connsiteY33" fmla="*/ 949818 h 1993758"/>
              <a:gd name="connsiteX34" fmla="*/ 805012 w 1761322"/>
              <a:gd name="connsiteY34" fmla="*/ 820278 h 1993758"/>
              <a:gd name="connsiteX35" fmla="*/ 766912 w 1761322"/>
              <a:gd name="connsiteY35" fmla="*/ 606918 h 1993758"/>
              <a:gd name="connsiteX36" fmla="*/ 713572 w 1761322"/>
              <a:gd name="connsiteY36" fmla="*/ 443088 h 1993758"/>
              <a:gd name="connsiteX37" fmla="*/ 656422 w 1761322"/>
              <a:gd name="connsiteY37" fmla="*/ 355458 h 1993758"/>
              <a:gd name="connsiteX38" fmla="*/ 622132 w 1761322"/>
              <a:gd name="connsiteY38" fmla="*/ 260208 h 1993758"/>
              <a:gd name="connsiteX39" fmla="*/ 610702 w 1761322"/>
              <a:gd name="connsiteY39" fmla="*/ 225918 h 1993758"/>
              <a:gd name="connsiteX40" fmla="*/ 614512 w 1761322"/>
              <a:gd name="connsiteY40" fmla="*/ 187818 h 1993758"/>
              <a:gd name="connsiteX41" fmla="*/ 534502 w 1761322"/>
              <a:gd name="connsiteY41" fmla="*/ 138288 h 1993758"/>
              <a:gd name="connsiteX42" fmla="*/ 450682 w 1761322"/>
              <a:gd name="connsiteY42" fmla="*/ 111618 h 1993758"/>
              <a:gd name="connsiteX43" fmla="*/ 374482 w 1761322"/>
              <a:gd name="connsiteY43" fmla="*/ 103998 h 1993758"/>
              <a:gd name="connsiteX44" fmla="*/ 305902 w 1761322"/>
              <a:gd name="connsiteY44" fmla="*/ 84948 h 1993758"/>
              <a:gd name="connsiteX45" fmla="*/ 279232 w 1761322"/>
              <a:gd name="connsiteY45" fmla="*/ 54468 h 1993758"/>
              <a:gd name="connsiteX46" fmla="*/ 199222 w 1761322"/>
              <a:gd name="connsiteY46" fmla="*/ 43038 h 1993758"/>
              <a:gd name="connsiteX47" fmla="*/ 149692 w 1761322"/>
              <a:gd name="connsiteY47" fmla="*/ 31608 h 1993758"/>
              <a:gd name="connsiteX48" fmla="*/ 107782 w 1761322"/>
              <a:gd name="connsiteY48" fmla="*/ 16368 h 1993758"/>
              <a:gd name="connsiteX49" fmla="*/ 12532 w 1761322"/>
              <a:gd name="connsiteY49" fmla="*/ 1128 h 1993758"/>
              <a:gd name="connsiteX50" fmla="*/ 1102 w 1761322"/>
              <a:gd name="connsiteY50" fmla="*/ 1128 h 1993758"/>
              <a:gd name="connsiteX51" fmla="*/ 1102 w 1761322"/>
              <a:gd name="connsiteY51" fmla="*/ 1128 h 1993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761322" h="1993758">
                <a:moveTo>
                  <a:pt x="1761322" y="1993758"/>
                </a:moveTo>
                <a:cubicBezTo>
                  <a:pt x="1741002" y="1988043"/>
                  <a:pt x="1720682" y="1982328"/>
                  <a:pt x="1704172" y="1978518"/>
                </a:cubicBezTo>
                <a:cubicBezTo>
                  <a:pt x="1687662" y="1974708"/>
                  <a:pt x="1676232" y="1972803"/>
                  <a:pt x="1662262" y="1970898"/>
                </a:cubicBezTo>
                <a:cubicBezTo>
                  <a:pt x="1648292" y="1968993"/>
                  <a:pt x="1633052" y="1968993"/>
                  <a:pt x="1620352" y="1967088"/>
                </a:cubicBezTo>
                <a:cubicBezTo>
                  <a:pt x="1607652" y="1965183"/>
                  <a:pt x="1586062" y="1959468"/>
                  <a:pt x="1586062" y="1959468"/>
                </a:cubicBezTo>
                <a:cubicBezTo>
                  <a:pt x="1578442" y="1958833"/>
                  <a:pt x="1580347" y="1968358"/>
                  <a:pt x="1574632" y="1963278"/>
                </a:cubicBezTo>
                <a:cubicBezTo>
                  <a:pt x="1568917" y="1958198"/>
                  <a:pt x="1563202" y="1938513"/>
                  <a:pt x="1551772" y="1928988"/>
                </a:cubicBezTo>
                <a:cubicBezTo>
                  <a:pt x="1540342" y="1919463"/>
                  <a:pt x="1522562" y="1913748"/>
                  <a:pt x="1506052" y="1906128"/>
                </a:cubicBezTo>
                <a:cubicBezTo>
                  <a:pt x="1489542" y="1898508"/>
                  <a:pt x="1466682" y="1889618"/>
                  <a:pt x="1452712" y="1883268"/>
                </a:cubicBezTo>
                <a:cubicBezTo>
                  <a:pt x="1438742" y="1876918"/>
                  <a:pt x="1429852" y="1879458"/>
                  <a:pt x="1422232" y="1868028"/>
                </a:cubicBezTo>
                <a:cubicBezTo>
                  <a:pt x="1414612" y="1856598"/>
                  <a:pt x="1410167" y="1835008"/>
                  <a:pt x="1406992" y="1814688"/>
                </a:cubicBezTo>
                <a:cubicBezTo>
                  <a:pt x="1403817" y="1794368"/>
                  <a:pt x="1401277" y="1761348"/>
                  <a:pt x="1403182" y="1746108"/>
                </a:cubicBezTo>
                <a:cubicBezTo>
                  <a:pt x="1405087" y="1730868"/>
                  <a:pt x="1420327" y="1734043"/>
                  <a:pt x="1418422" y="1723248"/>
                </a:cubicBezTo>
                <a:cubicBezTo>
                  <a:pt x="1416517" y="1712453"/>
                  <a:pt x="1398102" y="1692768"/>
                  <a:pt x="1391752" y="1681338"/>
                </a:cubicBezTo>
                <a:cubicBezTo>
                  <a:pt x="1385402" y="1669908"/>
                  <a:pt x="1388577" y="1661653"/>
                  <a:pt x="1380322" y="1654668"/>
                </a:cubicBezTo>
                <a:cubicBezTo>
                  <a:pt x="1372067" y="1647683"/>
                  <a:pt x="1363177" y="1638158"/>
                  <a:pt x="1342222" y="1639428"/>
                </a:cubicBezTo>
                <a:cubicBezTo>
                  <a:pt x="1321267" y="1640698"/>
                  <a:pt x="1273642" y="1655938"/>
                  <a:pt x="1254592" y="1662288"/>
                </a:cubicBezTo>
                <a:cubicBezTo>
                  <a:pt x="1235542" y="1668638"/>
                  <a:pt x="1246972" y="1681338"/>
                  <a:pt x="1227922" y="1677528"/>
                </a:cubicBezTo>
                <a:cubicBezTo>
                  <a:pt x="1208872" y="1673718"/>
                  <a:pt x="1164422" y="1650858"/>
                  <a:pt x="1140292" y="1639428"/>
                </a:cubicBezTo>
                <a:cubicBezTo>
                  <a:pt x="1116162" y="1627998"/>
                  <a:pt x="1104097" y="1617203"/>
                  <a:pt x="1083142" y="1608948"/>
                </a:cubicBezTo>
                <a:cubicBezTo>
                  <a:pt x="1062187" y="1600693"/>
                  <a:pt x="1034247" y="1591803"/>
                  <a:pt x="1014562" y="1589898"/>
                </a:cubicBezTo>
                <a:cubicBezTo>
                  <a:pt x="994877" y="1587993"/>
                  <a:pt x="974557" y="1608313"/>
                  <a:pt x="965032" y="1597518"/>
                </a:cubicBezTo>
                <a:cubicBezTo>
                  <a:pt x="955507" y="1586723"/>
                  <a:pt x="963127" y="1549893"/>
                  <a:pt x="957412" y="1525128"/>
                </a:cubicBezTo>
                <a:cubicBezTo>
                  <a:pt x="951697" y="1500363"/>
                  <a:pt x="937092" y="1472423"/>
                  <a:pt x="930742" y="1448928"/>
                </a:cubicBezTo>
                <a:cubicBezTo>
                  <a:pt x="924392" y="1425433"/>
                  <a:pt x="922487" y="1398763"/>
                  <a:pt x="919312" y="1384158"/>
                </a:cubicBezTo>
                <a:cubicBezTo>
                  <a:pt x="916137" y="1369553"/>
                  <a:pt x="913597" y="1373363"/>
                  <a:pt x="911692" y="1361298"/>
                </a:cubicBezTo>
                <a:cubicBezTo>
                  <a:pt x="909787" y="1349233"/>
                  <a:pt x="912327" y="1327008"/>
                  <a:pt x="907882" y="1311768"/>
                </a:cubicBezTo>
                <a:cubicBezTo>
                  <a:pt x="903437" y="1296528"/>
                  <a:pt x="893277" y="1287638"/>
                  <a:pt x="885022" y="1269858"/>
                </a:cubicBezTo>
                <a:cubicBezTo>
                  <a:pt x="876767" y="1252078"/>
                  <a:pt x="864702" y="1222868"/>
                  <a:pt x="858352" y="1205088"/>
                </a:cubicBezTo>
                <a:cubicBezTo>
                  <a:pt x="852002" y="1187308"/>
                  <a:pt x="845652" y="1173973"/>
                  <a:pt x="846922" y="1163178"/>
                </a:cubicBezTo>
                <a:cubicBezTo>
                  <a:pt x="848192" y="1152383"/>
                  <a:pt x="863432" y="1157463"/>
                  <a:pt x="865972" y="1140318"/>
                </a:cubicBezTo>
                <a:cubicBezTo>
                  <a:pt x="868512" y="1123173"/>
                  <a:pt x="861527" y="1083168"/>
                  <a:pt x="862162" y="1060308"/>
                </a:cubicBezTo>
                <a:cubicBezTo>
                  <a:pt x="862797" y="1037448"/>
                  <a:pt x="874862" y="1021573"/>
                  <a:pt x="869782" y="1003158"/>
                </a:cubicBezTo>
                <a:cubicBezTo>
                  <a:pt x="864702" y="984743"/>
                  <a:pt x="842477" y="980298"/>
                  <a:pt x="831682" y="949818"/>
                </a:cubicBezTo>
                <a:cubicBezTo>
                  <a:pt x="820887" y="919338"/>
                  <a:pt x="815807" y="877428"/>
                  <a:pt x="805012" y="820278"/>
                </a:cubicBezTo>
                <a:cubicBezTo>
                  <a:pt x="794217" y="763128"/>
                  <a:pt x="782152" y="669783"/>
                  <a:pt x="766912" y="606918"/>
                </a:cubicBezTo>
                <a:cubicBezTo>
                  <a:pt x="751672" y="544053"/>
                  <a:pt x="731987" y="484998"/>
                  <a:pt x="713572" y="443088"/>
                </a:cubicBezTo>
                <a:cubicBezTo>
                  <a:pt x="695157" y="401178"/>
                  <a:pt x="671662" y="385938"/>
                  <a:pt x="656422" y="355458"/>
                </a:cubicBezTo>
                <a:cubicBezTo>
                  <a:pt x="641182" y="324978"/>
                  <a:pt x="629752" y="281798"/>
                  <a:pt x="622132" y="260208"/>
                </a:cubicBezTo>
                <a:cubicBezTo>
                  <a:pt x="614512" y="238618"/>
                  <a:pt x="611972" y="237983"/>
                  <a:pt x="610702" y="225918"/>
                </a:cubicBezTo>
                <a:cubicBezTo>
                  <a:pt x="609432" y="213853"/>
                  <a:pt x="627212" y="202423"/>
                  <a:pt x="614512" y="187818"/>
                </a:cubicBezTo>
                <a:cubicBezTo>
                  <a:pt x="601812" y="173213"/>
                  <a:pt x="561807" y="150988"/>
                  <a:pt x="534502" y="138288"/>
                </a:cubicBezTo>
                <a:cubicBezTo>
                  <a:pt x="507197" y="125588"/>
                  <a:pt x="477352" y="117333"/>
                  <a:pt x="450682" y="111618"/>
                </a:cubicBezTo>
                <a:cubicBezTo>
                  <a:pt x="424012" y="105903"/>
                  <a:pt x="398612" y="108443"/>
                  <a:pt x="374482" y="103998"/>
                </a:cubicBezTo>
                <a:cubicBezTo>
                  <a:pt x="350352" y="99553"/>
                  <a:pt x="321777" y="93203"/>
                  <a:pt x="305902" y="84948"/>
                </a:cubicBezTo>
                <a:cubicBezTo>
                  <a:pt x="290027" y="76693"/>
                  <a:pt x="297012" y="61453"/>
                  <a:pt x="279232" y="54468"/>
                </a:cubicBezTo>
                <a:cubicBezTo>
                  <a:pt x="261452" y="47483"/>
                  <a:pt x="220812" y="46848"/>
                  <a:pt x="199222" y="43038"/>
                </a:cubicBezTo>
                <a:cubicBezTo>
                  <a:pt x="177632" y="39228"/>
                  <a:pt x="164932" y="36053"/>
                  <a:pt x="149692" y="31608"/>
                </a:cubicBezTo>
                <a:cubicBezTo>
                  <a:pt x="134452" y="27163"/>
                  <a:pt x="130642" y="21448"/>
                  <a:pt x="107782" y="16368"/>
                </a:cubicBezTo>
                <a:cubicBezTo>
                  <a:pt x="84922" y="11288"/>
                  <a:pt x="30312" y="3668"/>
                  <a:pt x="12532" y="1128"/>
                </a:cubicBezTo>
                <a:cubicBezTo>
                  <a:pt x="-5248" y="-1412"/>
                  <a:pt x="1102" y="1128"/>
                  <a:pt x="1102" y="1128"/>
                </a:cubicBezTo>
                <a:lnTo>
                  <a:pt x="1102" y="1128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олилиния 16"/>
          <p:cNvSpPr/>
          <p:nvPr/>
        </p:nvSpPr>
        <p:spPr>
          <a:xfrm>
            <a:off x="2364930" y="2485694"/>
            <a:ext cx="190783" cy="200915"/>
          </a:xfrm>
          <a:custGeom>
            <a:avLst/>
            <a:gdLst>
              <a:gd name="connsiteX0" fmla="*/ 184667 w 190783"/>
              <a:gd name="connsiteY0" fmla="*/ 193602 h 193602"/>
              <a:gd name="connsiteX1" fmla="*/ 181689 w 190783"/>
              <a:gd name="connsiteY1" fmla="*/ 139989 h 193602"/>
              <a:gd name="connsiteX2" fmla="*/ 190624 w 190783"/>
              <a:gd name="connsiteY2" fmla="*/ 119140 h 193602"/>
              <a:gd name="connsiteX3" fmla="*/ 172753 w 190783"/>
              <a:gd name="connsiteY3" fmla="*/ 107226 h 193602"/>
              <a:gd name="connsiteX4" fmla="*/ 134033 w 190783"/>
              <a:gd name="connsiteY4" fmla="*/ 98290 h 193602"/>
              <a:gd name="connsiteX5" fmla="*/ 98291 w 190783"/>
              <a:gd name="connsiteY5" fmla="*/ 92333 h 193602"/>
              <a:gd name="connsiteX6" fmla="*/ 89355 w 190783"/>
              <a:gd name="connsiteY6" fmla="*/ 86376 h 193602"/>
              <a:gd name="connsiteX7" fmla="*/ 68506 w 190783"/>
              <a:gd name="connsiteY7" fmla="*/ 71484 h 193602"/>
              <a:gd name="connsiteX8" fmla="*/ 53613 w 190783"/>
              <a:gd name="connsiteY8" fmla="*/ 56591 h 193602"/>
              <a:gd name="connsiteX9" fmla="*/ 47656 w 190783"/>
              <a:gd name="connsiteY9" fmla="*/ 41699 h 193602"/>
              <a:gd name="connsiteX10" fmla="*/ 38721 w 190783"/>
              <a:gd name="connsiteY10" fmla="*/ 26806 h 193602"/>
              <a:gd name="connsiteX11" fmla="*/ 26807 w 190783"/>
              <a:gd name="connsiteY11" fmla="*/ 11914 h 193602"/>
              <a:gd name="connsiteX12" fmla="*/ 0 w 190783"/>
              <a:gd name="connsiteY12" fmla="*/ 0 h 19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0783" h="193602">
                <a:moveTo>
                  <a:pt x="184667" y="193602"/>
                </a:moveTo>
                <a:cubicBezTo>
                  <a:pt x="182681" y="173000"/>
                  <a:pt x="180696" y="152399"/>
                  <a:pt x="181689" y="139989"/>
                </a:cubicBezTo>
                <a:cubicBezTo>
                  <a:pt x="182682" y="127579"/>
                  <a:pt x="192113" y="124601"/>
                  <a:pt x="190624" y="119140"/>
                </a:cubicBezTo>
                <a:cubicBezTo>
                  <a:pt x="189135" y="113679"/>
                  <a:pt x="182185" y="110701"/>
                  <a:pt x="172753" y="107226"/>
                </a:cubicBezTo>
                <a:cubicBezTo>
                  <a:pt x="163321" y="103751"/>
                  <a:pt x="146443" y="100772"/>
                  <a:pt x="134033" y="98290"/>
                </a:cubicBezTo>
                <a:cubicBezTo>
                  <a:pt x="121623" y="95808"/>
                  <a:pt x="98291" y="92333"/>
                  <a:pt x="98291" y="92333"/>
                </a:cubicBezTo>
                <a:cubicBezTo>
                  <a:pt x="90845" y="90347"/>
                  <a:pt x="94319" y="89851"/>
                  <a:pt x="89355" y="86376"/>
                </a:cubicBezTo>
                <a:cubicBezTo>
                  <a:pt x="84391" y="82901"/>
                  <a:pt x="74463" y="76448"/>
                  <a:pt x="68506" y="71484"/>
                </a:cubicBezTo>
                <a:cubicBezTo>
                  <a:pt x="62549" y="66520"/>
                  <a:pt x="57088" y="61555"/>
                  <a:pt x="53613" y="56591"/>
                </a:cubicBezTo>
                <a:cubicBezTo>
                  <a:pt x="50138" y="51627"/>
                  <a:pt x="50138" y="46663"/>
                  <a:pt x="47656" y="41699"/>
                </a:cubicBezTo>
                <a:cubicBezTo>
                  <a:pt x="45174" y="36735"/>
                  <a:pt x="42196" y="31770"/>
                  <a:pt x="38721" y="26806"/>
                </a:cubicBezTo>
                <a:cubicBezTo>
                  <a:pt x="35246" y="21842"/>
                  <a:pt x="33260" y="16382"/>
                  <a:pt x="26807" y="11914"/>
                </a:cubicBezTo>
                <a:cubicBezTo>
                  <a:pt x="20354" y="7446"/>
                  <a:pt x="10177" y="3723"/>
                  <a:pt x="0" y="0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олилиния 17"/>
          <p:cNvSpPr/>
          <p:nvPr/>
        </p:nvSpPr>
        <p:spPr>
          <a:xfrm>
            <a:off x="2368406" y="2487343"/>
            <a:ext cx="187307" cy="201121"/>
          </a:xfrm>
          <a:custGeom>
            <a:avLst/>
            <a:gdLst>
              <a:gd name="connsiteX0" fmla="*/ 184667 w 190783"/>
              <a:gd name="connsiteY0" fmla="*/ 193602 h 193602"/>
              <a:gd name="connsiteX1" fmla="*/ 181689 w 190783"/>
              <a:gd name="connsiteY1" fmla="*/ 139989 h 193602"/>
              <a:gd name="connsiteX2" fmla="*/ 190624 w 190783"/>
              <a:gd name="connsiteY2" fmla="*/ 119140 h 193602"/>
              <a:gd name="connsiteX3" fmla="*/ 172753 w 190783"/>
              <a:gd name="connsiteY3" fmla="*/ 107226 h 193602"/>
              <a:gd name="connsiteX4" fmla="*/ 134033 w 190783"/>
              <a:gd name="connsiteY4" fmla="*/ 98290 h 193602"/>
              <a:gd name="connsiteX5" fmla="*/ 98291 w 190783"/>
              <a:gd name="connsiteY5" fmla="*/ 92333 h 193602"/>
              <a:gd name="connsiteX6" fmla="*/ 89355 w 190783"/>
              <a:gd name="connsiteY6" fmla="*/ 86376 h 193602"/>
              <a:gd name="connsiteX7" fmla="*/ 68506 w 190783"/>
              <a:gd name="connsiteY7" fmla="*/ 71484 h 193602"/>
              <a:gd name="connsiteX8" fmla="*/ 53613 w 190783"/>
              <a:gd name="connsiteY8" fmla="*/ 56591 h 193602"/>
              <a:gd name="connsiteX9" fmla="*/ 47656 w 190783"/>
              <a:gd name="connsiteY9" fmla="*/ 41699 h 193602"/>
              <a:gd name="connsiteX10" fmla="*/ 38721 w 190783"/>
              <a:gd name="connsiteY10" fmla="*/ 26806 h 193602"/>
              <a:gd name="connsiteX11" fmla="*/ 26807 w 190783"/>
              <a:gd name="connsiteY11" fmla="*/ 11914 h 193602"/>
              <a:gd name="connsiteX12" fmla="*/ 0 w 190783"/>
              <a:gd name="connsiteY12" fmla="*/ 0 h 19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0783" h="193602">
                <a:moveTo>
                  <a:pt x="184667" y="193602"/>
                </a:moveTo>
                <a:cubicBezTo>
                  <a:pt x="182681" y="173000"/>
                  <a:pt x="180696" y="152399"/>
                  <a:pt x="181689" y="139989"/>
                </a:cubicBezTo>
                <a:cubicBezTo>
                  <a:pt x="182682" y="127579"/>
                  <a:pt x="192113" y="124601"/>
                  <a:pt x="190624" y="119140"/>
                </a:cubicBezTo>
                <a:cubicBezTo>
                  <a:pt x="189135" y="113679"/>
                  <a:pt x="182185" y="110701"/>
                  <a:pt x="172753" y="107226"/>
                </a:cubicBezTo>
                <a:cubicBezTo>
                  <a:pt x="163321" y="103751"/>
                  <a:pt x="146443" y="100772"/>
                  <a:pt x="134033" y="98290"/>
                </a:cubicBezTo>
                <a:cubicBezTo>
                  <a:pt x="121623" y="95808"/>
                  <a:pt x="98291" y="92333"/>
                  <a:pt x="98291" y="92333"/>
                </a:cubicBezTo>
                <a:cubicBezTo>
                  <a:pt x="90845" y="90347"/>
                  <a:pt x="94319" y="89851"/>
                  <a:pt x="89355" y="86376"/>
                </a:cubicBezTo>
                <a:cubicBezTo>
                  <a:pt x="84391" y="82901"/>
                  <a:pt x="74463" y="76448"/>
                  <a:pt x="68506" y="71484"/>
                </a:cubicBezTo>
                <a:cubicBezTo>
                  <a:pt x="62549" y="66520"/>
                  <a:pt x="57088" y="61555"/>
                  <a:pt x="53613" y="56591"/>
                </a:cubicBezTo>
                <a:cubicBezTo>
                  <a:pt x="50138" y="51627"/>
                  <a:pt x="50138" y="46663"/>
                  <a:pt x="47656" y="41699"/>
                </a:cubicBezTo>
                <a:cubicBezTo>
                  <a:pt x="45174" y="36735"/>
                  <a:pt x="42196" y="31770"/>
                  <a:pt x="38721" y="26806"/>
                </a:cubicBezTo>
                <a:cubicBezTo>
                  <a:pt x="35246" y="21842"/>
                  <a:pt x="33260" y="16382"/>
                  <a:pt x="26807" y="11914"/>
                </a:cubicBezTo>
                <a:cubicBezTo>
                  <a:pt x="20354" y="7446"/>
                  <a:pt x="10177" y="3723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олилиния 18"/>
          <p:cNvSpPr/>
          <p:nvPr/>
        </p:nvSpPr>
        <p:spPr>
          <a:xfrm>
            <a:off x="1337349" y="2001553"/>
            <a:ext cx="1182465" cy="713521"/>
          </a:xfrm>
          <a:custGeom>
            <a:avLst/>
            <a:gdLst>
              <a:gd name="connsiteX0" fmla="*/ 1182465 w 1182465"/>
              <a:gd name="connsiteY0" fmla="*/ 711861 h 713521"/>
              <a:gd name="connsiteX1" fmla="*/ 1116938 w 1182465"/>
              <a:gd name="connsiteY1" fmla="*/ 708883 h 713521"/>
              <a:gd name="connsiteX2" fmla="*/ 1054390 w 1182465"/>
              <a:gd name="connsiteY2" fmla="*/ 711861 h 713521"/>
              <a:gd name="connsiteX3" fmla="*/ 1015669 w 1182465"/>
              <a:gd name="connsiteY3" fmla="*/ 711861 h 713521"/>
              <a:gd name="connsiteX4" fmla="*/ 932271 w 1182465"/>
              <a:gd name="connsiteY4" fmla="*/ 691012 h 713521"/>
              <a:gd name="connsiteX5" fmla="*/ 884615 w 1182465"/>
              <a:gd name="connsiteY5" fmla="*/ 702926 h 713521"/>
              <a:gd name="connsiteX6" fmla="*/ 842916 w 1182465"/>
              <a:gd name="connsiteY6" fmla="*/ 705904 h 713521"/>
              <a:gd name="connsiteX7" fmla="*/ 753561 w 1182465"/>
              <a:gd name="connsiteY7" fmla="*/ 685055 h 713521"/>
              <a:gd name="connsiteX8" fmla="*/ 640378 w 1182465"/>
              <a:gd name="connsiteY8" fmla="*/ 664205 h 713521"/>
              <a:gd name="connsiteX9" fmla="*/ 577830 w 1182465"/>
              <a:gd name="connsiteY9" fmla="*/ 661227 h 713521"/>
              <a:gd name="connsiteX10" fmla="*/ 530174 w 1182465"/>
              <a:gd name="connsiteY10" fmla="*/ 652291 h 713521"/>
              <a:gd name="connsiteX11" fmla="*/ 467625 w 1182465"/>
              <a:gd name="connsiteY11" fmla="*/ 628463 h 713521"/>
              <a:gd name="connsiteX12" fmla="*/ 405076 w 1182465"/>
              <a:gd name="connsiteY12" fmla="*/ 610592 h 713521"/>
              <a:gd name="connsiteX13" fmla="*/ 327635 w 1182465"/>
              <a:gd name="connsiteY13" fmla="*/ 577829 h 713521"/>
              <a:gd name="connsiteX14" fmla="*/ 262108 w 1182465"/>
              <a:gd name="connsiteY14" fmla="*/ 551022 h 713521"/>
              <a:gd name="connsiteX15" fmla="*/ 232323 w 1182465"/>
              <a:gd name="connsiteY15" fmla="*/ 542087 h 713521"/>
              <a:gd name="connsiteX16" fmla="*/ 226366 w 1182465"/>
              <a:gd name="connsiteY16" fmla="*/ 515280 h 713521"/>
              <a:gd name="connsiteX17" fmla="*/ 217431 w 1182465"/>
              <a:gd name="connsiteY17" fmla="*/ 491452 h 713521"/>
              <a:gd name="connsiteX18" fmla="*/ 190624 w 1182465"/>
              <a:gd name="connsiteY18" fmla="*/ 470603 h 713521"/>
              <a:gd name="connsiteX19" fmla="*/ 187646 w 1182465"/>
              <a:gd name="connsiteY19" fmla="*/ 437839 h 713521"/>
              <a:gd name="connsiteX20" fmla="*/ 175732 w 1182465"/>
              <a:gd name="connsiteY20" fmla="*/ 416990 h 713521"/>
              <a:gd name="connsiteX21" fmla="*/ 145947 w 1182465"/>
              <a:gd name="connsiteY21" fmla="*/ 387205 h 713521"/>
              <a:gd name="connsiteX22" fmla="*/ 119140 w 1182465"/>
              <a:gd name="connsiteY22" fmla="*/ 342527 h 713521"/>
              <a:gd name="connsiteX23" fmla="*/ 104248 w 1182465"/>
              <a:gd name="connsiteY23" fmla="*/ 297850 h 713521"/>
              <a:gd name="connsiteX24" fmla="*/ 80420 w 1182465"/>
              <a:gd name="connsiteY24" fmla="*/ 259129 h 713521"/>
              <a:gd name="connsiteX25" fmla="*/ 56592 w 1182465"/>
              <a:gd name="connsiteY25" fmla="*/ 193602 h 713521"/>
              <a:gd name="connsiteX26" fmla="*/ 50635 w 1182465"/>
              <a:gd name="connsiteY26" fmla="*/ 175731 h 713521"/>
              <a:gd name="connsiteX27" fmla="*/ 56592 w 1182465"/>
              <a:gd name="connsiteY27" fmla="*/ 148925 h 713521"/>
              <a:gd name="connsiteX28" fmla="*/ 65527 w 1182465"/>
              <a:gd name="connsiteY28" fmla="*/ 110204 h 713521"/>
              <a:gd name="connsiteX29" fmla="*/ 35742 w 1182465"/>
              <a:gd name="connsiteY29" fmla="*/ 74462 h 713521"/>
              <a:gd name="connsiteX30" fmla="*/ 23828 w 1182465"/>
              <a:gd name="connsiteY30" fmla="*/ 41699 h 713521"/>
              <a:gd name="connsiteX31" fmla="*/ 5957 w 1182465"/>
              <a:gd name="connsiteY31" fmla="*/ 11914 h 713521"/>
              <a:gd name="connsiteX32" fmla="*/ 0 w 1182465"/>
              <a:gd name="connsiteY32" fmla="*/ 0 h 713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182465" h="713521">
                <a:moveTo>
                  <a:pt x="1182465" y="711861"/>
                </a:moveTo>
                <a:cubicBezTo>
                  <a:pt x="1160374" y="710372"/>
                  <a:pt x="1138284" y="708883"/>
                  <a:pt x="1116938" y="708883"/>
                </a:cubicBezTo>
                <a:cubicBezTo>
                  <a:pt x="1095592" y="708883"/>
                  <a:pt x="1071268" y="711365"/>
                  <a:pt x="1054390" y="711861"/>
                </a:cubicBezTo>
                <a:cubicBezTo>
                  <a:pt x="1037512" y="712357"/>
                  <a:pt x="1036022" y="715336"/>
                  <a:pt x="1015669" y="711861"/>
                </a:cubicBezTo>
                <a:cubicBezTo>
                  <a:pt x="995316" y="708386"/>
                  <a:pt x="954113" y="692501"/>
                  <a:pt x="932271" y="691012"/>
                </a:cubicBezTo>
                <a:cubicBezTo>
                  <a:pt x="910429" y="689523"/>
                  <a:pt x="899507" y="700444"/>
                  <a:pt x="884615" y="702926"/>
                </a:cubicBezTo>
                <a:cubicBezTo>
                  <a:pt x="869723" y="705408"/>
                  <a:pt x="864758" y="708882"/>
                  <a:pt x="842916" y="705904"/>
                </a:cubicBezTo>
                <a:cubicBezTo>
                  <a:pt x="821074" y="702925"/>
                  <a:pt x="787317" y="692005"/>
                  <a:pt x="753561" y="685055"/>
                </a:cubicBezTo>
                <a:cubicBezTo>
                  <a:pt x="719805" y="678105"/>
                  <a:pt x="669667" y="668176"/>
                  <a:pt x="640378" y="664205"/>
                </a:cubicBezTo>
                <a:cubicBezTo>
                  <a:pt x="611089" y="660234"/>
                  <a:pt x="596197" y="663213"/>
                  <a:pt x="577830" y="661227"/>
                </a:cubicBezTo>
                <a:cubicBezTo>
                  <a:pt x="559463" y="659241"/>
                  <a:pt x="548542" y="657752"/>
                  <a:pt x="530174" y="652291"/>
                </a:cubicBezTo>
                <a:cubicBezTo>
                  <a:pt x="511806" y="646830"/>
                  <a:pt x="488475" y="635413"/>
                  <a:pt x="467625" y="628463"/>
                </a:cubicBezTo>
                <a:cubicBezTo>
                  <a:pt x="446775" y="621513"/>
                  <a:pt x="428408" y="619031"/>
                  <a:pt x="405076" y="610592"/>
                </a:cubicBezTo>
                <a:cubicBezTo>
                  <a:pt x="381744" y="602153"/>
                  <a:pt x="327635" y="577829"/>
                  <a:pt x="327635" y="577829"/>
                </a:cubicBezTo>
                <a:cubicBezTo>
                  <a:pt x="303807" y="567901"/>
                  <a:pt x="277993" y="556979"/>
                  <a:pt x="262108" y="551022"/>
                </a:cubicBezTo>
                <a:cubicBezTo>
                  <a:pt x="246223" y="545065"/>
                  <a:pt x="238280" y="548044"/>
                  <a:pt x="232323" y="542087"/>
                </a:cubicBezTo>
                <a:cubicBezTo>
                  <a:pt x="226366" y="536130"/>
                  <a:pt x="228848" y="523719"/>
                  <a:pt x="226366" y="515280"/>
                </a:cubicBezTo>
                <a:cubicBezTo>
                  <a:pt x="223884" y="506841"/>
                  <a:pt x="223388" y="498898"/>
                  <a:pt x="217431" y="491452"/>
                </a:cubicBezTo>
                <a:cubicBezTo>
                  <a:pt x="211474" y="484006"/>
                  <a:pt x="195588" y="479538"/>
                  <a:pt x="190624" y="470603"/>
                </a:cubicBezTo>
                <a:cubicBezTo>
                  <a:pt x="185660" y="461668"/>
                  <a:pt x="190128" y="446774"/>
                  <a:pt x="187646" y="437839"/>
                </a:cubicBezTo>
                <a:cubicBezTo>
                  <a:pt x="185164" y="428904"/>
                  <a:pt x="182682" y="425429"/>
                  <a:pt x="175732" y="416990"/>
                </a:cubicBezTo>
                <a:cubicBezTo>
                  <a:pt x="168782" y="408551"/>
                  <a:pt x="155379" y="399615"/>
                  <a:pt x="145947" y="387205"/>
                </a:cubicBezTo>
                <a:cubicBezTo>
                  <a:pt x="136515" y="374795"/>
                  <a:pt x="126090" y="357419"/>
                  <a:pt x="119140" y="342527"/>
                </a:cubicBezTo>
                <a:cubicBezTo>
                  <a:pt x="112190" y="327635"/>
                  <a:pt x="110701" y="311750"/>
                  <a:pt x="104248" y="297850"/>
                </a:cubicBezTo>
                <a:cubicBezTo>
                  <a:pt x="97795" y="283950"/>
                  <a:pt x="88363" y="276504"/>
                  <a:pt x="80420" y="259129"/>
                </a:cubicBezTo>
                <a:cubicBezTo>
                  <a:pt x="72477" y="241754"/>
                  <a:pt x="61556" y="207502"/>
                  <a:pt x="56592" y="193602"/>
                </a:cubicBezTo>
                <a:cubicBezTo>
                  <a:pt x="51628" y="179702"/>
                  <a:pt x="50635" y="183177"/>
                  <a:pt x="50635" y="175731"/>
                </a:cubicBezTo>
                <a:cubicBezTo>
                  <a:pt x="50635" y="168285"/>
                  <a:pt x="54110" y="159846"/>
                  <a:pt x="56592" y="148925"/>
                </a:cubicBezTo>
                <a:cubicBezTo>
                  <a:pt x="59074" y="138004"/>
                  <a:pt x="69002" y="122614"/>
                  <a:pt x="65527" y="110204"/>
                </a:cubicBezTo>
                <a:cubicBezTo>
                  <a:pt x="62052" y="97794"/>
                  <a:pt x="42692" y="85879"/>
                  <a:pt x="35742" y="74462"/>
                </a:cubicBezTo>
                <a:cubicBezTo>
                  <a:pt x="28792" y="63045"/>
                  <a:pt x="28792" y="52124"/>
                  <a:pt x="23828" y="41699"/>
                </a:cubicBezTo>
                <a:cubicBezTo>
                  <a:pt x="18864" y="31274"/>
                  <a:pt x="5957" y="11914"/>
                  <a:pt x="5957" y="11914"/>
                </a:cubicBezTo>
                <a:cubicBezTo>
                  <a:pt x="1986" y="4964"/>
                  <a:pt x="993" y="2482"/>
                  <a:pt x="0" y="0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олилиния 19"/>
          <p:cNvSpPr/>
          <p:nvPr/>
        </p:nvSpPr>
        <p:spPr>
          <a:xfrm>
            <a:off x="1337641" y="2000027"/>
            <a:ext cx="1196816" cy="713521"/>
          </a:xfrm>
          <a:custGeom>
            <a:avLst/>
            <a:gdLst>
              <a:gd name="connsiteX0" fmla="*/ 1182465 w 1182465"/>
              <a:gd name="connsiteY0" fmla="*/ 711861 h 713521"/>
              <a:gd name="connsiteX1" fmla="*/ 1116938 w 1182465"/>
              <a:gd name="connsiteY1" fmla="*/ 708883 h 713521"/>
              <a:gd name="connsiteX2" fmla="*/ 1054390 w 1182465"/>
              <a:gd name="connsiteY2" fmla="*/ 711861 h 713521"/>
              <a:gd name="connsiteX3" fmla="*/ 1015669 w 1182465"/>
              <a:gd name="connsiteY3" fmla="*/ 711861 h 713521"/>
              <a:gd name="connsiteX4" fmla="*/ 932271 w 1182465"/>
              <a:gd name="connsiteY4" fmla="*/ 691012 h 713521"/>
              <a:gd name="connsiteX5" fmla="*/ 884615 w 1182465"/>
              <a:gd name="connsiteY5" fmla="*/ 702926 h 713521"/>
              <a:gd name="connsiteX6" fmla="*/ 842916 w 1182465"/>
              <a:gd name="connsiteY6" fmla="*/ 705904 h 713521"/>
              <a:gd name="connsiteX7" fmla="*/ 753561 w 1182465"/>
              <a:gd name="connsiteY7" fmla="*/ 685055 h 713521"/>
              <a:gd name="connsiteX8" fmla="*/ 640378 w 1182465"/>
              <a:gd name="connsiteY8" fmla="*/ 664205 h 713521"/>
              <a:gd name="connsiteX9" fmla="*/ 577830 w 1182465"/>
              <a:gd name="connsiteY9" fmla="*/ 661227 h 713521"/>
              <a:gd name="connsiteX10" fmla="*/ 530174 w 1182465"/>
              <a:gd name="connsiteY10" fmla="*/ 652291 h 713521"/>
              <a:gd name="connsiteX11" fmla="*/ 467625 w 1182465"/>
              <a:gd name="connsiteY11" fmla="*/ 628463 h 713521"/>
              <a:gd name="connsiteX12" fmla="*/ 405076 w 1182465"/>
              <a:gd name="connsiteY12" fmla="*/ 610592 h 713521"/>
              <a:gd name="connsiteX13" fmla="*/ 327635 w 1182465"/>
              <a:gd name="connsiteY13" fmla="*/ 577829 h 713521"/>
              <a:gd name="connsiteX14" fmla="*/ 262108 w 1182465"/>
              <a:gd name="connsiteY14" fmla="*/ 551022 h 713521"/>
              <a:gd name="connsiteX15" fmla="*/ 232323 w 1182465"/>
              <a:gd name="connsiteY15" fmla="*/ 542087 h 713521"/>
              <a:gd name="connsiteX16" fmla="*/ 226366 w 1182465"/>
              <a:gd name="connsiteY16" fmla="*/ 515280 h 713521"/>
              <a:gd name="connsiteX17" fmla="*/ 217431 w 1182465"/>
              <a:gd name="connsiteY17" fmla="*/ 491452 h 713521"/>
              <a:gd name="connsiteX18" fmla="*/ 190624 w 1182465"/>
              <a:gd name="connsiteY18" fmla="*/ 470603 h 713521"/>
              <a:gd name="connsiteX19" fmla="*/ 187646 w 1182465"/>
              <a:gd name="connsiteY19" fmla="*/ 437839 h 713521"/>
              <a:gd name="connsiteX20" fmla="*/ 175732 w 1182465"/>
              <a:gd name="connsiteY20" fmla="*/ 416990 h 713521"/>
              <a:gd name="connsiteX21" fmla="*/ 145947 w 1182465"/>
              <a:gd name="connsiteY21" fmla="*/ 387205 h 713521"/>
              <a:gd name="connsiteX22" fmla="*/ 119140 w 1182465"/>
              <a:gd name="connsiteY22" fmla="*/ 342527 h 713521"/>
              <a:gd name="connsiteX23" fmla="*/ 104248 w 1182465"/>
              <a:gd name="connsiteY23" fmla="*/ 297850 h 713521"/>
              <a:gd name="connsiteX24" fmla="*/ 80420 w 1182465"/>
              <a:gd name="connsiteY24" fmla="*/ 259129 h 713521"/>
              <a:gd name="connsiteX25" fmla="*/ 56592 w 1182465"/>
              <a:gd name="connsiteY25" fmla="*/ 193602 h 713521"/>
              <a:gd name="connsiteX26" fmla="*/ 50635 w 1182465"/>
              <a:gd name="connsiteY26" fmla="*/ 175731 h 713521"/>
              <a:gd name="connsiteX27" fmla="*/ 56592 w 1182465"/>
              <a:gd name="connsiteY27" fmla="*/ 148925 h 713521"/>
              <a:gd name="connsiteX28" fmla="*/ 65527 w 1182465"/>
              <a:gd name="connsiteY28" fmla="*/ 110204 h 713521"/>
              <a:gd name="connsiteX29" fmla="*/ 35742 w 1182465"/>
              <a:gd name="connsiteY29" fmla="*/ 74462 h 713521"/>
              <a:gd name="connsiteX30" fmla="*/ 23828 w 1182465"/>
              <a:gd name="connsiteY30" fmla="*/ 41699 h 713521"/>
              <a:gd name="connsiteX31" fmla="*/ 5957 w 1182465"/>
              <a:gd name="connsiteY31" fmla="*/ 11914 h 713521"/>
              <a:gd name="connsiteX32" fmla="*/ 0 w 1182465"/>
              <a:gd name="connsiteY32" fmla="*/ 0 h 713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182465" h="713521">
                <a:moveTo>
                  <a:pt x="1182465" y="711861"/>
                </a:moveTo>
                <a:cubicBezTo>
                  <a:pt x="1160374" y="710372"/>
                  <a:pt x="1138284" y="708883"/>
                  <a:pt x="1116938" y="708883"/>
                </a:cubicBezTo>
                <a:cubicBezTo>
                  <a:pt x="1095592" y="708883"/>
                  <a:pt x="1071268" y="711365"/>
                  <a:pt x="1054390" y="711861"/>
                </a:cubicBezTo>
                <a:cubicBezTo>
                  <a:pt x="1037512" y="712357"/>
                  <a:pt x="1036022" y="715336"/>
                  <a:pt x="1015669" y="711861"/>
                </a:cubicBezTo>
                <a:cubicBezTo>
                  <a:pt x="995316" y="708386"/>
                  <a:pt x="954113" y="692501"/>
                  <a:pt x="932271" y="691012"/>
                </a:cubicBezTo>
                <a:cubicBezTo>
                  <a:pt x="910429" y="689523"/>
                  <a:pt x="899507" y="700444"/>
                  <a:pt x="884615" y="702926"/>
                </a:cubicBezTo>
                <a:cubicBezTo>
                  <a:pt x="869723" y="705408"/>
                  <a:pt x="864758" y="708882"/>
                  <a:pt x="842916" y="705904"/>
                </a:cubicBezTo>
                <a:cubicBezTo>
                  <a:pt x="821074" y="702925"/>
                  <a:pt x="787317" y="692005"/>
                  <a:pt x="753561" y="685055"/>
                </a:cubicBezTo>
                <a:cubicBezTo>
                  <a:pt x="719805" y="678105"/>
                  <a:pt x="669667" y="668176"/>
                  <a:pt x="640378" y="664205"/>
                </a:cubicBezTo>
                <a:cubicBezTo>
                  <a:pt x="611089" y="660234"/>
                  <a:pt x="596197" y="663213"/>
                  <a:pt x="577830" y="661227"/>
                </a:cubicBezTo>
                <a:cubicBezTo>
                  <a:pt x="559463" y="659241"/>
                  <a:pt x="548542" y="657752"/>
                  <a:pt x="530174" y="652291"/>
                </a:cubicBezTo>
                <a:cubicBezTo>
                  <a:pt x="511806" y="646830"/>
                  <a:pt x="488475" y="635413"/>
                  <a:pt x="467625" y="628463"/>
                </a:cubicBezTo>
                <a:cubicBezTo>
                  <a:pt x="446775" y="621513"/>
                  <a:pt x="428408" y="619031"/>
                  <a:pt x="405076" y="610592"/>
                </a:cubicBezTo>
                <a:cubicBezTo>
                  <a:pt x="381744" y="602153"/>
                  <a:pt x="327635" y="577829"/>
                  <a:pt x="327635" y="577829"/>
                </a:cubicBezTo>
                <a:cubicBezTo>
                  <a:pt x="303807" y="567901"/>
                  <a:pt x="277993" y="556979"/>
                  <a:pt x="262108" y="551022"/>
                </a:cubicBezTo>
                <a:cubicBezTo>
                  <a:pt x="246223" y="545065"/>
                  <a:pt x="238280" y="548044"/>
                  <a:pt x="232323" y="542087"/>
                </a:cubicBezTo>
                <a:cubicBezTo>
                  <a:pt x="226366" y="536130"/>
                  <a:pt x="228848" y="523719"/>
                  <a:pt x="226366" y="515280"/>
                </a:cubicBezTo>
                <a:cubicBezTo>
                  <a:pt x="223884" y="506841"/>
                  <a:pt x="223388" y="498898"/>
                  <a:pt x="217431" y="491452"/>
                </a:cubicBezTo>
                <a:cubicBezTo>
                  <a:pt x="211474" y="484006"/>
                  <a:pt x="195588" y="479538"/>
                  <a:pt x="190624" y="470603"/>
                </a:cubicBezTo>
                <a:cubicBezTo>
                  <a:pt x="185660" y="461668"/>
                  <a:pt x="190128" y="446774"/>
                  <a:pt x="187646" y="437839"/>
                </a:cubicBezTo>
                <a:cubicBezTo>
                  <a:pt x="185164" y="428904"/>
                  <a:pt x="182682" y="425429"/>
                  <a:pt x="175732" y="416990"/>
                </a:cubicBezTo>
                <a:cubicBezTo>
                  <a:pt x="168782" y="408551"/>
                  <a:pt x="155379" y="399615"/>
                  <a:pt x="145947" y="387205"/>
                </a:cubicBezTo>
                <a:cubicBezTo>
                  <a:pt x="136515" y="374795"/>
                  <a:pt x="126090" y="357419"/>
                  <a:pt x="119140" y="342527"/>
                </a:cubicBezTo>
                <a:cubicBezTo>
                  <a:pt x="112190" y="327635"/>
                  <a:pt x="110701" y="311750"/>
                  <a:pt x="104248" y="297850"/>
                </a:cubicBezTo>
                <a:cubicBezTo>
                  <a:pt x="97795" y="283950"/>
                  <a:pt x="88363" y="276504"/>
                  <a:pt x="80420" y="259129"/>
                </a:cubicBezTo>
                <a:cubicBezTo>
                  <a:pt x="72477" y="241754"/>
                  <a:pt x="61556" y="207502"/>
                  <a:pt x="56592" y="193602"/>
                </a:cubicBezTo>
                <a:cubicBezTo>
                  <a:pt x="51628" y="179702"/>
                  <a:pt x="50635" y="183177"/>
                  <a:pt x="50635" y="175731"/>
                </a:cubicBezTo>
                <a:cubicBezTo>
                  <a:pt x="50635" y="168285"/>
                  <a:pt x="54110" y="159846"/>
                  <a:pt x="56592" y="148925"/>
                </a:cubicBezTo>
                <a:cubicBezTo>
                  <a:pt x="59074" y="138004"/>
                  <a:pt x="69002" y="122614"/>
                  <a:pt x="65527" y="110204"/>
                </a:cubicBezTo>
                <a:cubicBezTo>
                  <a:pt x="62052" y="97794"/>
                  <a:pt x="42692" y="85879"/>
                  <a:pt x="35742" y="74462"/>
                </a:cubicBezTo>
                <a:cubicBezTo>
                  <a:pt x="28792" y="63045"/>
                  <a:pt x="28792" y="52124"/>
                  <a:pt x="23828" y="41699"/>
                </a:cubicBezTo>
                <a:cubicBezTo>
                  <a:pt x="18864" y="31274"/>
                  <a:pt x="5957" y="11914"/>
                  <a:pt x="5957" y="11914"/>
                </a:cubicBezTo>
                <a:cubicBezTo>
                  <a:pt x="1986" y="4964"/>
                  <a:pt x="993" y="2482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Блок-схема: узел 22"/>
          <p:cNvSpPr/>
          <p:nvPr/>
        </p:nvSpPr>
        <p:spPr>
          <a:xfrm>
            <a:off x="4251950" y="4645143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олилиния 4"/>
          <p:cNvSpPr/>
          <p:nvPr/>
        </p:nvSpPr>
        <p:spPr>
          <a:xfrm>
            <a:off x="735830" y="3450314"/>
            <a:ext cx="1089317" cy="1267910"/>
          </a:xfrm>
          <a:custGeom>
            <a:avLst/>
            <a:gdLst>
              <a:gd name="connsiteX0" fmla="*/ 471055 w 1089317"/>
              <a:gd name="connsiteY0" fmla="*/ 60346 h 1267910"/>
              <a:gd name="connsiteX1" fmla="*/ 523394 w 1089317"/>
              <a:gd name="connsiteY1" fmla="*/ 54188 h 1267910"/>
              <a:gd name="connsiteX2" fmla="*/ 560340 w 1089317"/>
              <a:gd name="connsiteY2" fmla="*/ 35715 h 1267910"/>
              <a:gd name="connsiteX3" fmla="*/ 581891 w 1089317"/>
              <a:gd name="connsiteY3" fmla="*/ 26479 h 1267910"/>
              <a:gd name="connsiteX4" fmla="*/ 621915 w 1089317"/>
              <a:gd name="connsiteY4" fmla="*/ 11085 h 1267910"/>
              <a:gd name="connsiteX5" fmla="*/ 655782 w 1089317"/>
              <a:gd name="connsiteY5" fmla="*/ 17243 h 1267910"/>
              <a:gd name="connsiteX6" fmla="*/ 677334 w 1089317"/>
              <a:gd name="connsiteY6" fmla="*/ 20322 h 1267910"/>
              <a:gd name="connsiteX7" fmla="*/ 717358 w 1089317"/>
              <a:gd name="connsiteY7" fmla="*/ 8006 h 1267910"/>
              <a:gd name="connsiteX8" fmla="*/ 757382 w 1089317"/>
              <a:gd name="connsiteY8" fmla="*/ 1849 h 1267910"/>
              <a:gd name="connsiteX9" fmla="*/ 794328 w 1089317"/>
              <a:gd name="connsiteY9" fmla="*/ 1849 h 1267910"/>
              <a:gd name="connsiteX10" fmla="*/ 828194 w 1089317"/>
              <a:gd name="connsiteY10" fmla="*/ 23400 h 1267910"/>
              <a:gd name="connsiteX11" fmla="*/ 852825 w 1089317"/>
              <a:gd name="connsiteY11" fmla="*/ 32637 h 1267910"/>
              <a:gd name="connsiteX12" fmla="*/ 877455 w 1089317"/>
              <a:gd name="connsiteY12" fmla="*/ 51109 h 1267910"/>
              <a:gd name="connsiteX13" fmla="*/ 899006 w 1089317"/>
              <a:gd name="connsiteY13" fmla="*/ 84976 h 1267910"/>
              <a:gd name="connsiteX14" fmla="*/ 917479 w 1089317"/>
              <a:gd name="connsiteY14" fmla="*/ 121922 h 1267910"/>
              <a:gd name="connsiteX15" fmla="*/ 929794 w 1089317"/>
              <a:gd name="connsiteY15" fmla="*/ 177340 h 1267910"/>
              <a:gd name="connsiteX16" fmla="*/ 929794 w 1089317"/>
              <a:gd name="connsiteY16" fmla="*/ 189655 h 1267910"/>
              <a:gd name="connsiteX17" fmla="*/ 923637 w 1089317"/>
              <a:gd name="connsiteY17" fmla="*/ 217364 h 1267910"/>
              <a:gd name="connsiteX18" fmla="*/ 935952 w 1089317"/>
              <a:gd name="connsiteY18" fmla="*/ 245073 h 1267910"/>
              <a:gd name="connsiteX19" fmla="*/ 935952 w 1089317"/>
              <a:gd name="connsiteY19" fmla="*/ 291255 h 1267910"/>
              <a:gd name="connsiteX20" fmla="*/ 942109 w 1089317"/>
              <a:gd name="connsiteY20" fmla="*/ 328200 h 1267910"/>
              <a:gd name="connsiteX21" fmla="*/ 957503 w 1089317"/>
              <a:gd name="connsiteY21" fmla="*/ 386697 h 1267910"/>
              <a:gd name="connsiteX22" fmla="*/ 985212 w 1089317"/>
              <a:gd name="connsiteY22" fmla="*/ 497534 h 1267910"/>
              <a:gd name="connsiteX23" fmla="*/ 969818 w 1089317"/>
              <a:gd name="connsiteY23" fmla="*/ 519085 h 1267910"/>
              <a:gd name="connsiteX24" fmla="*/ 966740 w 1089317"/>
              <a:gd name="connsiteY24" fmla="*/ 537558 h 1267910"/>
              <a:gd name="connsiteX25" fmla="*/ 979055 w 1089317"/>
              <a:gd name="connsiteY25" fmla="*/ 571425 h 1267910"/>
              <a:gd name="connsiteX26" fmla="*/ 994449 w 1089317"/>
              <a:gd name="connsiteY26" fmla="*/ 626843 h 1267910"/>
              <a:gd name="connsiteX27" fmla="*/ 1028315 w 1089317"/>
              <a:gd name="connsiteY27" fmla="*/ 673025 h 1267910"/>
              <a:gd name="connsiteX28" fmla="*/ 1052946 w 1089317"/>
              <a:gd name="connsiteY28" fmla="*/ 725364 h 1267910"/>
              <a:gd name="connsiteX29" fmla="*/ 1068340 w 1089317"/>
              <a:gd name="connsiteY29" fmla="*/ 786940 h 1267910"/>
              <a:gd name="connsiteX30" fmla="*/ 1086812 w 1089317"/>
              <a:gd name="connsiteY30" fmla="*/ 836200 h 1267910"/>
              <a:gd name="connsiteX31" fmla="*/ 1086812 w 1089317"/>
              <a:gd name="connsiteY31" fmla="*/ 870067 h 1267910"/>
              <a:gd name="connsiteX32" fmla="*/ 1065261 w 1089317"/>
              <a:gd name="connsiteY32" fmla="*/ 897776 h 1267910"/>
              <a:gd name="connsiteX33" fmla="*/ 1040631 w 1089317"/>
              <a:gd name="connsiteY33" fmla="*/ 919328 h 1267910"/>
              <a:gd name="connsiteX34" fmla="*/ 982134 w 1089317"/>
              <a:gd name="connsiteY34" fmla="*/ 934722 h 1267910"/>
              <a:gd name="connsiteX35" fmla="*/ 905164 w 1089317"/>
              <a:gd name="connsiteY35" fmla="*/ 968588 h 1267910"/>
              <a:gd name="connsiteX36" fmla="*/ 825115 w 1089317"/>
              <a:gd name="connsiteY36" fmla="*/ 1008612 h 1267910"/>
              <a:gd name="connsiteX37" fmla="*/ 735831 w 1089317"/>
              <a:gd name="connsiteY37" fmla="*/ 1042479 h 1267910"/>
              <a:gd name="connsiteX38" fmla="*/ 668097 w 1089317"/>
              <a:gd name="connsiteY38" fmla="*/ 1076346 h 1267910"/>
              <a:gd name="connsiteX39" fmla="*/ 538788 w 1089317"/>
              <a:gd name="connsiteY39" fmla="*/ 1128685 h 1267910"/>
              <a:gd name="connsiteX40" fmla="*/ 517237 w 1089317"/>
              <a:gd name="connsiteY40" fmla="*/ 1128685 h 1267910"/>
              <a:gd name="connsiteX41" fmla="*/ 452582 w 1089317"/>
              <a:gd name="connsiteY41" fmla="*/ 1110212 h 1267910"/>
              <a:gd name="connsiteX42" fmla="*/ 387928 w 1089317"/>
              <a:gd name="connsiteY42" fmla="*/ 1085582 h 1267910"/>
              <a:gd name="connsiteX43" fmla="*/ 338667 w 1089317"/>
              <a:gd name="connsiteY43" fmla="*/ 1067109 h 1267910"/>
              <a:gd name="connsiteX44" fmla="*/ 289406 w 1089317"/>
              <a:gd name="connsiteY44" fmla="*/ 1057873 h 1267910"/>
              <a:gd name="connsiteX45" fmla="*/ 270934 w 1089317"/>
              <a:gd name="connsiteY45" fmla="*/ 1070188 h 1267910"/>
              <a:gd name="connsiteX46" fmla="*/ 255540 w 1089317"/>
              <a:gd name="connsiteY46" fmla="*/ 1122528 h 1267910"/>
              <a:gd name="connsiteX47" fmla="*/ 237067 w 1089317"/>
              <a:gd name="connsiteY47" fmla="*/ 1187182 h 1267910"/>
              <a:gd name="connsiteX48" fmla="*/ 218594 w 1089317"/>
              <a:gd name="connsiteY48" fmla="*/ 1264152 h 1267910"/>
              <a:gd name="connsiteX49" fmla="*/ 193964 w 1089317"/>
              <a:gd name="connsiteY49" fmla="*/ 1254915 h 1267910"/>
              <a:gd name="connsiteX50" fmla="*/ 166255 w 1089317"/>
              <a:gd name="connsiteY50" fmla="*/ 1245679 h 1267910"/>
              <a:gd name="connsiteX51" fmla="*/ 150861 w 1089317"/>
              <a:gd name="connsiteY51" fmla="*/ 1239522 h 1267910"/>
              <a:gd name="connsiteX52" fmla="*/ 120073 w 1089317"/>
              <a:gd name="connsiteY52" fmla="*/ 1230285 h 1267910"/>
              <a:gd name="connsiteX53" fmla="*/ 95443 w 1089317"/>
              <a:gd name="connsiteY53" fmla="*/ 1221049 h 1267910"/>
              <a:gd name="connsiteX54" fmla="*/ 64655 w 1089317"/>
              <a:gd name="connsiteY54" fmla="*/ 1208734 h 1267910"/>
              <a:gd name="connsiteX55" fmla="*/ 43103 w 1089317"/>
              <a:gd name="connsiteY55" fmla="*/ 1190261 h 1267910"/>
              <a:gd name="connsiteX56" fmla="*/ 18473 w 1089317"/>
              <a:gd name="connsiteY56" fmla="*/ 1177946 h 1267910"/>
              <a:gd name="connsiteX57" fmla="*/ 0 w 1089317"/>
              <a:gd name="connsiteY57" fmla="*/ 1171788 h 1267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1089317" h="1267910">
                <a:moveTo>
                  <a:pt x="471055" y="60346"/>
                </a:moveTo>
                <a:cubicBezTo>
                  <a:pt x="489784" y="59319"/>
                  <a:pt x="508513" y="58293"/>
                  <a:pt x="523394" y="54188"/>
                </a:cubicBezTo>
                <a:cubicBezTo>
                  <a:pt x="538275" y="50083"/>
                  <a:pt x="550590" y="40333"/>
                  <a:pt x="560340" y="35715"/>
                </a:cubicBezTo>
                <a:cubicBezTo>
                  <a:pt x="570090" y="31097"/>
                  <a:pt x="571629" y="30584"/>
                  <a:pt x="581891" y="26479"/>
                </a:cubicBezTo>
                <a:cubicBezTo>
                  <a:pt x="592153" y="22374"/>
                  <a:pt x="609600" y="12624"/>
                  <a:pt x="621915" y="11085"/>
                </a:cubicBezTo>
                <a:cubicBezTo>
                  <a:pt x="634230" y="9546"/>
                  <a:pt x="646546" y="15703"/>
                  <a:pt x="655782" y="17243"/>
                </a:cubicBezTo>
                <a:cubicBezTo>
                  <a:pt x="665019" y="18782"/>
                  <a:pt x="667071" y="21861"/>
                  <a:pt x="677334" y="20322"/>
                </a:cubicBezTo>
                <a:cubicBezTo>
                  <a:pt x="687597" y="18783"/>
                  <a:pt x="704017" y="11085"/>
                  <a:pt x="717358" y="8006"/>
                </a:cubicBezTo>
                <a:cubicBezTo>
                  <a:pt x="730699" y="4927"/>
                  <a:pt x="744554" y="2875"/>
                  <a:pt x="757382" y="1849"/>
                </a:cubicBezTo>
                <a:cubicBezTo>
                  <a:pt x="770210" y="823"/>
                  <a:pt x="782526" y="-1743"/>
                  <a:pt x="794328" y="1849"/>
                </a:cubicBezTo>
                <a:cubicBezTo>
                  <a:pt x="806130" y="5441"/>
                  <a:pt x="818445" y="18269"/>
                  <a:pt x="828194" y="23400"/>
                </a:cubicBezTo>
                <a:cubicBezTo>
                  <a:pt x="837943" y="28531"/>
                  <a:pt x="844615" y="28019"/>
                  <a:pt x="852825" y="32637"/>
                </a:cubicBezTo>
                <a:cubicBezTo>
                  <a:pt x="861035" y="37255"/>
                  <a:pt x="869758" y="42386"/>
                  <a:pt x="877455" y="51109"/>
                </a:cubicBezTo>
                <a:cubicBezTo>
                  <a:pt x="885152" y="59832"/>
                  <a:pt x="892335" y="73174"/>
                  <a:pt x="899006" y="84976"/>
                </a:cubicBezTo>
                <a:cubicBezTo>
                  <a:pt x="905677" y="96778"/>
                  <a:pt x="912348" y="106528"/>
                  <a:pt x="917479" y="121922"/>
                </a:cubicBezTo>
                <a:cubicBezTo>
                  <a:pt x="922610" y="137316"/>
                  <a:pt x="927742" y="166051"/>
                  <a:pt x="929794" y="177340"/>
                </a:cubicBezTo>
                <a:cubicBezTo>
                  <a:pt x="931846" y="188629"/>
                  <a:pt x="930820" y="182984"/>
                  <a:pt x="929794" y="189655"/>
                </a:cubicBezTo>
                <a:cubicBezTo>
                  <a:pt x="928768" y="196326"/>
                  <a:pt x="922611" y="208128"/>
                  <a:pt x="923637" y="217364"/>
                </a:cubicBezTo>
                <a:cubicBezTo>
                  <a:pt x="924663" y="226600"/>
                  <a:pt x="933900" y="232758"/>
                  <a:pt x="935952" y="245073"/>
                </a:cubicBezTo>
                <a:cubicBezTo>
                  <a:pt x="938005" y="257388"/>
                  <a:pt x="934926" y="277401"/>
                  <a:pt x="935952" y="291255"/>
                </a:cubicBezTo>
                <a:cubicBezTo>
                  <a:pt x="936978" y="305109"/>
                  <a:pt x="938517" y="312293"/>
                  <a:pt x="942109" y="328200"/>
                </a:cubicBezTo>
                <a:cubicBezTo>
                  <a:pt x="945701" y="344107"/>
                  <a:pt x="950319" y="358475"/>
                  <a:pt x="957503" y="386697"/>
                </a:cubicBezTo>
                <a:cubicBezTo>
                  <a:pt x="964687" y="414919"/>
                  <a:pt x="983160" y="475469"/>
                  <a:pt x="985212" y="497534"/>
                </a:cubicBezTo>
                <a:cubicBezTo>
                  <a:pt x="987264" y="519599"/>
                  <a:pt x="969818" y="519085"/>
                  <a:pt x="969818" y="519085"/>
                </a:cubicBezTo>
                <a:cubicBezTo>
                  <a:pt x="966739" y="525756"/>
                  <a:pt x="965201" y="528835"/>
                  <a:pt x="966740" y="537558"/>
                </a:cubicBezTo>
                <a:cubicBezTo>
                  <a:pt x="968279" y="546281"/>
                  <a:pt x="974437" y="556544"/>
                  <a:pt x="979055" y="571425"/>
                </a:cubicBezTo>
                <a:cubicBezTo>
                  <a:pt x="983673" y="586306"/>
                  <a:pt x="986239" y="609910"/>
                  <a:pt x="994449" y="626843"/>
                </a:cubicBezTo>
                <a:cubicBezTo>
                  <a:pt x="1002659" y="643776"/>
                  <a:pt x="1018566" y="656605"/>
                  <a:pt x="1028315" y="673025"/>
                </a:cubicBezTo>
                <a:cubicBezTo>
                  <a:pt x="1038065" y="689445"/>
                  <a:pt x="1046275" y="706378"/>
                  <a:pt x="1052946" y="725364"/>
                </a:cubicBezTo>
                <a:cubicBezTo>
                  <a:pt x="1059617" y="744350"/>
                  <a:pt x="1062696" y="768467"/>
                  <a:pt x="1068340" y="786940"/>
                </a:cubicBezTo>
                <a:cubicBezTo>
                  <a:pt x="1073984" y="805413"/>
                  <a:pt x="1083733" y="822346"/>
                  <a:pt x="1086812" y="836200"/>
                </a:cubicBezTo>
                <a:cubicBezTo>
                  <a:pt x="1089891" y="850054"/>
                  <a:pt x="1090404" y="859804"/>
                  <a:pt x="1086812" y="870067"/>
                </a:cubicBezTo>
                <a:cubicBezTo>
                  <a:pt x="1083220" y="880330"/>
                  <a:pt x="1072958" y="889566"/>
                  <a:pt x="1065261" y="897776"/>
                </a:cubicBezTo>
                <a:cubicBezTo>
                  <a:pt x="1057564" y="905986"/>
                  <a:pt x="1054486" y="913170"/>
                  <a:pt x="1040631" y="919328"/>
                </a:cubicBezTo>
                <a:cubicBezTo>
                  <a:pt x="1026777" y="925486"/>
                  <a:pt x="1004712" y="926512"/>
                  <a:pt x="982134" y="934722"/>
                </a:cubicBezTo>
                <a:cubicBezTo>
                  <a:pt x="959556" y="942932"/>
                  <a:pt x="931334" y="956273"/>
                  <a:pt x="905164" y="968588"/>
                </a:cubicBezTo>
                <a:cubicBezTo>
                  <a:pt x="878994" y="980903"/>
                  <a:pt x="853337" y="996297"/>
                  <a:pt x="825115" y="1008612"/>
                </a:cubicBezTo>
                <a:cubicBezTo>
                  <a:pt x="796893" y="1020927"/>
                  <a:pt x="762001" y="1031190"/>
                  <a:pt x="735831" y="1042479"/>
                </a:cubicBezTo>
                <a:cubicBezTo>
                  <a:pt x="709661" y="1053768"/>
                  <a:pt x="700937" y="1061978"/>
                  <a:pt x="668097" y="1076346"/>
                </a:cubicBezTo>
                <a:cubicBezTo>
                  <a:pt x="635257" y="1090714"/>
                  <a:pt x="563931" y="1119962"/>
                  <a:pt x="538788" y="1128685"/>
                </a:cubicBezTo>
                <a:cubicBezTo>
                  <a:pt x="513645" y="1137408"/>
                  <a:pt x="531605" y="1131764"/>
                  <a:pt x="517237" y="1128685"/>
                </a:cubicBezTo>
                <a:cubicBezTo>
                  <a:pt x="502869" y="1125606"/>
                  <a:pt x="474134" y="1117396"/>
                  <a:pt x="452582" y="1110212"/>
                </a:cubicBezTo>
                <a:cubicBezTo>
                  <a:pt x="431030" y="1103028"/>
                  <a:pt x="387928" y="1085582"/>
                  <a:pt x="387928" y="1085582"/>
                </a:cubicBezTo>
                <a:cubicBezTo>
                  <a:pt x="368942" y="1078398"/>
                  <a:pt x="355087" y="1071727"/>
                  <a:pt x="338667" y="1067109"/>
                </a:cubicBezTo>
                <a:cubicBezTo>
                  <a:pt x="322247" y="1062491"/>
                  <a:pt x="300695" y="1057360"/>
                  <a:pt x="289406" y="1057873"/>
                </a:cubicBezTo>
                <a:cubicBezTo>
                  <a:pt x="278117" y="1058386"/>
                  <a:pt x="276578" y="1059412"/>
                  <a:pt x="270934" y="1070188"/>
                </a:cubicBezTo>
                <a:cubicBezTo>
                  <a:pt x="265290" y="1080964"/>
                  <a:pt x="261184" y="1103029"/>
                  <a:pt x="255540" y="1122528"/>
                </a:cubicBezTo>
                <a:cubicBezTo>
                  <a:pt x="249896" y="1142027"/>
                  <a:pt x="243225" y="1163578"/>
                  <a:pt x="237067" y="1187182"/>
                </a:cubicBezTo>
                <a:cubicBezTo>
                  <a:pt x="230909" y="1210786"/>
                  <a:pt x="225778" y="1252863"/>
                  <a:pt x="218594" y="1264152"/>
                </a:cubicBezTo>
                <a:cubicBezTo>
                  <a:pt x="211410" y="1275441"/>
                  <a:pt x="202687" y="1257994"/>
                  <a:pt x="193964" y="1254915"/>
                </a:cubicBezTo>
                <a:cubicBezTo>
                  <a:pt x="185241" y="1251836"/>
                  <a:pt x="173439" y="1248245"/>
                  <a:pt x="166255" y="1245679"/>
                </a:cubicBezTo>
                <a:cubicBezTo>
                  <a:pt x="159071" y="1243113"/>
                  <a:pt x="158558" y="1242088"/>
                  <a:pt x="150861" y="1239522"/>
                </a:cubicBezTo>
                <a:cubicBezTo>
                  <a:pt x="143164" y="1236956"/>
                  <a:pt x="129309" y="1233364"/>
                  <a:pt x="120073" y="1230285"/>
                </a:cubicBezTo>
                <a:cubicBezTo>
                  <a:pt x="110837" y="1227206"/>
                  <a:pt x="104679" y="1224641"/>
                  <a:pt x="95443" y="1221049"/>
                </a:cubicBezTo>
                <a:cubicBezTo>
                  <a:pt x="86207" y="1217457"/>
                  <a:pt x="73378" y="1213865"/>
                  <a:pt x="64655" y="1208734"/>
                </a:cubicBezTo>
                <a:cubicBezTo>
                  <a:pt x="55932" y="1203603"/>
                  <a:pt x="50800" y="1195392"/>
                  <a:pt x="43103" y="1190261"/>
                </a:cubicBezTo>
                <a:cubicBezTo>
                  <a:pt x="35406" y="1185130"/>
                  <a:pt x="25657" y="1181025"/>
                  <a:pt x="18473" y="1177946"/>
                </a:cubicBezTo>
                <a:cubicBezTo>
                  <a:pt x="11289" y="1174867"/>
                  <a:pt x="5644" y="1173327"/>
                  <a:pt x="0" y="1171788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олилиния 24"/>
          <p:cNvSpPr/>
          <p:nvPr/>
        </p:nvSpPr>
        <p:spPr>
          <a:xfrm>
            <a:off x="735830" y="3451338"/>
            <a:ext cx="1089317" cy="1267910"/>
          </a:xfrm>
          <a:custGeom>
            <a:avLst/>
            <a:gdLst>
              <a:gd name="connsiteX0" fmla="*/ 471055 w 1089317"/>
              <a:gd name="connsiteY0" fmla="*/ 60346 h 1267910"/>
              <a:gd name="connsiteX1" fmla="*/ 523394 w 1089317"/>
              <a:gd name="connsiteY1" fmla="*/ 54188 h 1267910"/>
              <a:gd name="connsiteX2" fmla="*/ 560340 w 1089317"/>
              <a:gd name="connsiteY2" fmla="*/ 35715 h 1267910"/>
              <a:gd name="connsiteX3" fmla="*/ 581891 w 1089317"/>
              <a:gd name="connsiteY3" fmla="*/ 26479 h 1267910"/>
              <a:gd name="connsiteX4" fmla="*/ 621915 w 1089317"/>
              <a:gd name="connsiteY4" fmla="*/ 11085 h 1267910"/>
              <a:gd name="connsiteX5" fmla="*/ 655782 w 1089317"/>
              <a:gd name="connsiteY5" fmla="*/ 17243 h 1267910"/>
              <a:gd name="connsiteX6" fmla="*/ 677334 w 1089317"/>
              <a:gd name="connsiteY6" fmla="*/ 20322 h 1267910"/>
              <a:gd name="connsiteX7" fmla="*/ 717358 w 1089317"/>
              <a:gd name="connsiteY7" fmla="*/ 8006 h 1267910"/>
              <a:gd name="connsiteX8" fmla="*/ 757382 w 1089317"/>
              <a:gd name="connsiteY8" fmla="*/ 1849 h 1267910"/>
              <a:gd name="connsiteX9" fmla="*/ 794328 w 1089317"/>
              <a:gd name="connsiteY9" fmla="*/ 1849 h 1267910"/>
              <a:gd name="connsiteX10" fmla="*/ 828194 w 1089317"/>
              <a:gd name="connsiteY10" fmla="*/ 23400 h 1267910"/>
              <a:gd name="connsiteX11" fmla="*/ 852825 w 1089317"/>
              <a:gd name="connsiteY11" fmla="*/ 32637 h 1267910"/>
              <a:gd name="connsiteX12" fmla="*/ 877455 w 1089317"/>
              <a:gd name="connsiteY12" fmla="*/ 51109 h 1267910"/>
              <a:gd name="connsiteX13" fmla="*/ 899006 w 1089317"/>
              <a:gd name="connsiteY13" fmla="*/ 84976 h 1267910"/>
              <a:gd name="connsiteX14" fmla="*/ 917479 w 1089317"/>
              <a:gd name="connsiteY14" fmla="*/ 121922 h 1267910"/>
              <a:gd name="connsiteX15" fmla="*/ 929794 w 1089317"/>
              <a:gd name="connsiteY15" fmla="*/ 177340 h 1267910"/>
              <a:gd name="connsiteX16" fmla="*/ 929794 w 1089317"/>
              <a:gd name="connsiteY16" fmla="*/ 189655 h 1267910"/>
              <a:gd name="connsiteX17" fmla="*/ 923637 w 1089317"/>
              <a:gd name="connsiteY17" fmla="*/ 217364 h 1267910"/>
              <a:gd name="connsiteX18" fmla="*/ 935952 w 1089317"/>
              <a:gd name="connsiteY18" fmla="*/ 245073 h 1267910"/>
              <a:gd name="connsiteX19" fmla="*/ 935952 w 1089317"/>
              <a:gd name="connsiteY19" fmla="*/ 291255 h 1267910"/>
              <a:gd name="connsiteX20" fmla="*/ 942109 w 1089317"/>
              <a:gd name="connsiteY20" fmla="*/ 328200 h 1267910"/>
              <a:gd name="connsiteX21" fmla="*/ 957503 w 1089317"/>
              <a:gd name="connsiteY21" fmla="*/ 386697 h 1267910"/>
              <a:gd name="connsiteX22" fmla="*/ 985212 w 1089317"/>
              <a:gd name="connsiteY22" fmla="*/ 497534 h 1267910"/>
              <a:gd name="connsiteX23" fmla="*/ 969818 w 1089317"/>
              <a:gd name="connsiteY23" fmla="*/ 519085 h 1267910"/>
              <a:gd name="connsiteX24" fmla="*/ 966740 w 1089317"/>
              <a:gd name="connsiteY24" fmla="*/ 537558 h 1267910"/>
              <a:gd name="connsiteX25" fmla="*/ 979055 w 1089317"/>
              <a:gd name="connsiteY25" fmla="*/ 571425 h 1267910"/>
              <a:gd name="connsiteX26" fmla="*/ 994449 w 1089317"/>
              <a:gd name="connsiteY26" fmla="*/ 626843 h 1267910"/>
              <a:gd name="connsiteX27" fmla="*/ 1028315 w 1089317"/>
              <a:gd name="connsiteY27" fmla="*/ 673025 h 1267910"/>
              <a:gd name="connsiteX28" fmla="*/ 1052946 w 1089317"/>
              <a:gd name="connsiteY28" fmla="*/ 725364 h 1267910"/>
              <a:gd name="connsiteX29" fmla="*/ 1068340 w 1089317"/>
              <a:gd name="connsiteY29" fmla="*/ 786940 h 1267910"/>
              <a:gd name="connsiteX30" fmla="*/ 1086812 w 1089317"/>
              <a:gd name="connsiteY30" fmla="*/ 836200 h 1267910"/>
              <a:gd name="connsiteX31" fmla="*/ 1086812 w 1089317"/>
              <a:gd name="connsiteY31" fmla="*/ 870067 h 1267910"/>
              <a:gd name="connsiteX32" fmla="*/ 1065261 w 1089317"/>
              <a:gd name="connsiteY32" fmla="*/ 897776 h 1267910"/>
              <a:gd name="connsiteX33" fmla="*/ 1040631 w 1089317"/>
              <a:gd name="connsiteY33" fmla="*/ 919328 h 1267910"/>
              <a:gd name="connsiteX34" fmla="*/ 982134 w 1089317"/>
              <a:gd name="connsiteY34" fmla="*/ 934722 h 1267910"/>
              <a:gd name="connsiteX35" fmla="*/ 905164 w 1089317"/>
              <a:gd name="connsiteY35" fmla="*/ 968588 h 1267910"/>
              <a:gd name="connsiteX36" fmla="*/ 825115 w 1089317"/>
              <a:gd name="connsiteY36" fmla="*/ 1008612 h 1267910"/>
              <a:gd name="connsiteX37" fmla="*/ 735831 w 1089317"/>
              <a:gd name="connsiteY37" fmla="*/ 1042479 h 1267910"/>
              <a:gd name="connsiteX38" fmla="*/ 668097 w 1089317"/>
              <a:gd name="connsiteY38" fmla="*/ 1076346 h 1267910"/>
              <a:gd name="connsiteX39" fmla="*/ 538788 w 1089317"/>
              <a:gd name="connsiteY39" fmla="*/ 1128685 h 1267910"/>
              <a:gd name="connsiteX40" fmla="*/ 517237 w 1089317"/>
              <a:gd name="connsiteY40" fmla="*/ 1128685 h 1267910"/>
              <a:gd name="connsiteX41" fmla="*/ 452582 w 1089317"/>
              <a:gd name="connsiteY41" fmla="*/ 1110212 h 1267910"/>
              <a:gd name="connsiteX42" fmla="*/ 387928 w 1089317"/>
              <a:gd name="connsiteY42" fmla="*/ 1085582 h 1267910"/>
              <a:gd name="connsiteX43" fmla="*/ 338667 w 1089317"/>
              <a:gd name="connsiteY43" fmla="*/ 1067109 h 1267910"/>
              <a:gd name="connsiteX44" fmla="*/ 289406 w 1089317"/>
              <a:gd name="connsiteY44" fmla="*/ 1057873 h 1267910"/>
              <a:gd name="connsiteX45" fmla="*/ 270934 w 1089317"/>
              <a:gd name="connsiteY45" fmla="*/ 1070188 h 1267910"/>
              <a:gd name="connsiteX46" fmla="*/ 255540 w 1089317"/>
              <a:gd name="connsiteY46" fmla="*/ 1122528 h 1267910"/>
              <a:gd name="connsiteX47" fmla="*/ 237067 w 1089317"/>
              <a:gd name="connsiteY47" fmla="*/ 1187182 h 1267910"/>
              <a:gd name="connsiteX48" fmla="*/ 218594 w 1089317"/>
              <a:gd name="connsiteY48" fmla="*/ 1264152 h 1267910"/>
              <a:gd name="connsiteX49" fmla="*/ 193964 w 1089317"/>
              <a:gd name="connsiteY49" fmla="*/ 1254915 h 1267910"/>
              <a:gd name="connsiteX50" fmla="*/ 166255 w 1089317"/>
              <a:gd name="connsiteY50" fmla="*/ 1245679 h 1267910"/>
              <a:gd name="connsiteX51" fmla="*/ 150861 w 1089317"/>
              <a:gd name="connsiteY51" fmla="*/ 1239522 h 1267910"/>
              <a:gd name="connsiteX52" fmla="*/ 120073 w 1089317"/>
              <a:gd name="connsiteY52" fmla="*/ 1230285 h 1267910"/>
              <a:gd name="connsiteX53" fmla="*/ 95443 w 1089317"/>
              <a:gd name="connsiteY53" fmla="*/ 1221049 h 1267910"/>
              <a:gd name="connsiteX54" fmla="*/ 64655 w 1089317"/>
              <a:gd name="connsiteY54" fmla="*/ 1208734 h 1267910"/>
              <a:gd name="connsiteX55" fmla="*/ 43103 w 1089317"/>
              <a:gd name="connsiteY55" fmla="*/ 1190261 h 1267910"/>
              <a:gd name="connsiteX56" fmla="*/ 18473 w 1089317"/>
              <a:gd name="connsiteY56" fmla="*/ 1177946 h 1267910"/>
              <a:gd name="connsiteX57" fmla="*/ 0 w 1089317"/>
              <a:gd name="connsiteY57" fmla="*/ 1171788 h 1267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1089317" h="1267910">
                <a:moveTo>
                  <a:pt x="471055" y="60346"/>
                </a:moveTo>
                <a:cubicBezTo>
                  <a:pt x="489784" y="59319"/>
                  <a:pt x="508513" y="58293"/>
                  <a:pt x="523394" y="54188"/>
                </a:cubicBezTo>
                <a:cubicBezTo>
                  <a:pt x="538275" y="50083"/>
                  <a:pt x="550590" y="40333"/>
                  <a:pt x="560340" y="35715"/>
                </a:cubicBezTo>
                <a:cubicBezTo>
                  <a:pt x="570090" y="31097"/>
                  <a:pt x="571629" y="30584"/>
                  <a:pt x="581891" y="26479"/>
                </a:cubicBezTo>
                <a:cubicBezTo>
                  <a:pt x="592153" y="22374"/>
                  <a:pt x="609600" y="12624"/>
                  <a:pt x="621915" y="11085"/>
                </a:cubicBezTo>
                <a:cubicBezTo>
                  <a:pt x="634230" y="9546"/>
                  <a:pt x="646546" y="15703"/>
                  <a:pt x="655782" y="17243"/>
                </a:cubicBezTo>
                <a:cubicBezTo>
                  <a:pt x="665019" y="18782"/>
                  <a:pt x="667071" y="21861"/>
                  <a:pt x="677334" y="20322"/>
                </a:cubicBezTo>
                <a:cubicBezTo>
                  <a:pt x="687597" y="18783"/>
                  <a:pt x="704017" y="11085"/>
                  <a:pt x="717358" y="8006"/>
                </a:cubicBezTo>
                <a:cubicBezTo>
                  <a:pt x="730699" y="4927"/>
                  <a:pt x="744554" y="2875"/>
                  <a:pt x="757382" y="1849"/>
                </a:cubicBezTo>
                <a:cubicBezTo>
                  <a:pt x="770210" y="823"/>
                  <a:pt x="782526" y="-1743"/>
                  <a:pt x="794328" y="1849"/>
                </a:cubicBezTo>
                <a:cubicBezTo>
                  <a:pt x="806130" y="5441"/>
                  <a:pt x="818445" y="18269"/>
                  <a:pt x="828194" y="23400"/>
                </a:cubicBezTo>
                <a:cubicBezTo>
                  <a:pt x="837943" y="28531"/>
                  <a:pt x="844615" y="28019"/>
                  <a:pt x="852825" y="32637"/>
                </a:cubicBezTo>
                <a:cubicBezTo>
                  <a:pt x="861035" y="37255"/>
                  <a:pt x="869758" y="42386"/>
                  <a:pt x="877455" y="51109"/>
                </a:cubicBezTo>
                <a:cubicBezTo>
                  <a:pt x="885152" y="59832"/>
                  <a:pt x="892335" y="73174"/>
                  <a:pt x="899006" y="84976"/>
                </a:cubicBezTo>
                <a:cubicBezTo>
                  <a:pt x="905677" y="96778"/>
                  <a:pt x="912348" y="106528"/>
                  <a:pt x="917479" y="121922"/>
                </a:cubicBezTo>
                <a:cubicBezTo>
                  <a:pt x="922610" y="137316"/>
                  <a:pt x="927742" y="166051"/>
                  <a:pt x="929794" y="177340"/>
                </a:cubicBezTo>
                <a:cubicBezTo>
                  <a:pt x="931846" y="188629"/>
                  <a:pt x="930820" y="182984"/>
                  <a:pt x="929794" y="189655"/>
                </a:cubicBezTo>
                <a:cubicBezTo>
                  <a:pt x="928768" y="196326"/>
                  <a:pt x="922611" y="208128"/>
                  <a:pt x="923637" y="217364"/>
                </a:cubicBezTo>
                <a:cubicBezTo>
                  <a:pt x="924663" y="226600"/>
                  <a:pt x="933900" y="232758"/>
                  <a:pt x="935952" y="245073"/>
                </a:cubicBezTo>
                <a:cubicBezTo>
                  <a:pt x="938005" y="257388"/>
                  <a:pt x="934926" y="277401"/>
                  <a:pt x="935952" y="291255"/>
                </a:cubicBezTo>
                <a:cubicBezTo>
                  <a:pt x="936978" y="305109"/>
                  <a:pt x="938517" y="312293"/>
                  <a:pt x="942109" y="328200"/>
                </a:cubicBezTo>
                <a:cubicBezTo>
                  <a:pt x="945701" y="344107"/>
                  <a:pt x="950319" y="358475"/>
                  <a:pt x="957503" y="386697"/>
                </a:cubicBezTo>
                <a:cubicBezTo>
                  <a:pt x="964687" y="414919"/>
                  <a:pt x="983160" y="475469"/>
                  <a:pt x="985212" y="497534"/>
                </a:cubicBezTo>
                <a:cubicBezTo>
                  <a:pt x="987264" y="519599"/>
                  <a:pt x="969818" y="519085"/>
                  <a:pt x="969818" y="519085"/>
                </a:cubicBezTo>
                <a:cubicBezTo>
                  <a:pt x="966739" y="525756"/>
                  <a:pt x="965201" y="528835"/>
                  <a:pt x="966740" y="537558"/>
                </a:cubicBezTo>
                <a:cubicBezTo>
                  <a:pt x="968279" y="546281"/>
                  <a:pt x="974437" y="556544"/>
                  <a:pt x="979055" y="571425"/>
                </a:cubicBezTo>
                <a:cubicBezTo>
                  <a:pt x="983673" y="586306"/>
                  <a:pt x="986239" y="609910"/>
                  <a:pt x="994449" y="626843"/>
                </a:cubicBezTo>
                <a:cubicBezTo>
                  <a:pt x="1002659" y="643776"/>
                  <a:pt x="1018566" y="656605"/>
                  <a:pt x="1028315" y="673025"/>
                </a:cubicBezTo>
                <a:cubicBezTo>
                  <a:pt x="1038065" y="689445"/>
                  <a:pt x="1046275" y="706378"/>
                  <a:pt x="1052946" y="725364"/>
                </a:cubicBezTo>
                <a:cubicBezTo>
                  <a:pt x="1059617" y="744350"/>
                  <a:pt x="1062696" y="768467"/>
                  <a:pt x="1068340" y="786940"/>
                </a:cubicBezTo>
                <a:cubicBezTo>
                  <a:pt x="1073984" y="805413"/>
                  <a:pt x="1083733" y="822346"/>
                  <a:pt x="1086812" y="836200"/>
                </a:cubicBezTo>
                <a:cubicBezTo>
                  <a:pt x="1089891" y="850054"/>
                  <a:pt x="1090404" y="859804"/>
                  <a:pt x="1086812" y="870067"/>
                </a:cubicBezTo>
                <a:cubicBezTo>
                  <a:pt x="1083220" y="880330"/>
                  <a:pt x="1072958" y="889566"/>
                  <a:pt x="1065261" y="897776"/>
                </a:cubicBezTo>
                <a:cubicBezTo>
                  <a:pt x="1057564" y="905986"/>
                  <a:pt x="1054486" y="913170"/>
                  <a:pt x="1040631" y="919328"/>
                </a:cubicBezTo>
                <a:cubicBezTo>
                  <a:pt x="1026777" y="925486"/>
                  <a:pt x="1004712" y="926512"/>
                  <a:pt x="982134" y="934722"/>
                </a:cubicBezTo>
                <a:cubicBezTo>
                  <a:pt x="959556" y="942932"/>
                  <a:pt x="931334" y="956273"/>
                  <a:pt x="905164" y="968588"/>
                </a:cubicBezTo>
                <a:cubicBezTo>
                  <a:pt x="878994" y="980903"/>
                  <a:pt x="853337" y="996297"/>
                  <a:pt x="825115" y="1008612"/>
                </a:cubicBezTo>
                <a:cubicBezTo>
                  <a:pt x="796893" y="1020927"/>
                  <a:pt x="762001" y="1031190"/>
                  <a:pt x="735831" y="1042479"/>
                </a:cubicBezTo>
                <a:cubicBezTo>
                  <a:pt x="709661" y="1053768"/>
                  <a:pt x="700937" y="1061978"/>
                  <a:pt x="668097" y="1076346"/>
                </a:cubicBezTo>
                <a:cubicBezTo>
                  <a:pt x="635257" y="1090714"/>
                  <a:pt x="563931" y="1119962"/>
                  <a:pt x="538788" y="1128685"/>
                </a:cubicBezTo>
                <a:cubicBezTo>
                  <a:pt x="513645" y="1137408"/>
                  <a:pt x="531605" y="1131764"/>
                  <a:pt x="517237" y="1128685"/>
                </a:cubicBezTo>
                <a:cubicBezTo>
                  <a:pt x="502869" y="1125606"/>
                  <a:pt x="474134" y="1117396"/>
                  <a:pt x="452582" y="1110212"/>
                </a:cubicBezTo>
                <a:cubicBezTo>
                  <a:pt x="431030" y="1103028"/>
                  <a:pt x="387928" y="1085582"/>
                  <a:pt x="387928" y="1085582"/>
                </a:cubicBezTo>
                <a:cubicBezTo>
                  <a:pt x="368942" y="1078398"/>
                  <a:pt x="355087" y="1071727"/>
                  <a:pt x="338667" y="1067109"/>
                </a:cubicBezTo>
                <a:cubicBezTo>
                  <a:pt x="322247" y="1062491"/>
                  <a:pt x="300695" y="1057360"/>
                  <a:pt x="289406" y="1057873"/>
                </a:cubicBezTo>
                <a:cubicBezTo>
                  <a:pt x="278117" y="1058386"/>
                  <a:pt x="276578" y="1059412"/>
                  <a:pt x="270934" y="1070188"/>
                </a:cubicBezTo>
                <a:cubicBezTo>
                  <a:pt x="265290" y="1080964"/>
                  <a:pt x="261184" y="1103029"/>
                  <a:pt x="255540" y="1122528"/>
                </a:cubicBezTo>
                <a:cubicBezTo>
                  <a:pt x="249896" y="1142027"/>
                  <a:pt x="243225" y="1163578"/>
                  <a:pt x="237067" y="1187182"/>
                </a:cubicBezTo>
                <a:cubicBezTo>
                  <a:pt x="230909" y="1210786"/>
                  <a:pt x="225778" y="1252863"/>
                  <a:pt x="218594" y="1264152"/>
                </a:cubicBezTo>
                <a:cubicBezTo>
                  <a:pt x="211410" y="1275441"/>
                  <a:pt x="202687" y="1257994"/>
                  <a:pt x="193964" y="1254915"/>
                </a:cubicBezTo>
                <a:cubicBezTo>
                  <a:pt x="185241" y="1251836"/>
                  <a:pt x="173439" y="1248245"/>
                  <a:pt x="166255" y="1245679"/>
                </a:cubicBezTo>
                <a:cubicBezTo>
                  <a:pt x="159071" y="1243113"/>
                  <a:pt x="158558" y="1242088"/>
                  <a:pt x="150861" y="1239522"/>
                </a:cubicBezTo>
                <a:cubicBezTo>
                  <a:pt x="143164" y="1236956"/>
                  <a:pt x="129309" y="1233364"/>
                  <a:pt x="120073" y="1230285"/>
                </a:cubicBezTo>
                <a:cubicBezTo>
                  <a:pt x="110837" y="1227206"/>
                  <a:pt x="104679" y="1224641"/>
                  <a:pt x="95443" y="1221049"/>
                </a:cubicBezTo>
                <a:cubicBezTo>
                  <a:pt x="86207" y="1217457"/>
                  <a:pt x="73378" y="1213865"/>
                  <a:pt x="64655" y="1208734"/>
                </a:cubicBezTo>
                <a:cubicBezTo>
                  <a:pt x="55932" y="1203603"/>
                  <a:pt x="50800" y="1195392"/>
                  <a:pt x="43103" y="1190261"/>
                </a:cubicBezTo>
                <a:cubicBezTo>
                  <a:pt x="35406" y="1185130"/>
                  <a:pt x="25657" y="1181025"/>
                  <a:pt x="18473" y="1177946"/>
                </a:cubicBezTo>
                <a:cubicBezTo>
                  <a:pt x="11289" y="1174867"/>
                  <a:pt x="5644" y="1173327"/>
                  <a:pt x="0" y="1171788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Блок-схема: узел 29"/>
          <p:cNvSpPr/>
          <p:nvPr/>
        </p:nvSpPr>
        <p:spPr>
          <a:xfrm>
            <a:off x="691055" y="4579741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олилиния 11"/>
          <p:cNvSpPr/>
          <p:nvPr/>
        </p:nvSpPr>
        <p:spPr>
          <a:xfrm>
            <a:off x="3146521" y="2090497"/>
            <a:ext cx="474511" cy="775855"/>
          </a:xfrm>
          <a:custGeom>
            <a:avLst/>
            <a:gdLst>
              <a:gd name="connsiteX0" fmla="*/ 418715 w 474511"/>
              <a:gd name="connsiteY0" fmla="*/ 0 h 775855"/>
              <a:gd name="connsiteX1" fmla="*/ 464897 w 474511"/>
              <a:gd name="connsiteY1" fmla="*/ 49261 h 775855"/>
              <a:gd name="connsiteX2" fmla="*/ 464897 w 474511"/>
              <a:gd name="connsiteY2" fmla="*/ 86206 h 775855"/>
              <a:gd name="connsiteX3" fmla="*/ 464897 w 474511"/>
              <a:gd name="connsiteY3" fmla="*/ 113915 h 775855"/>
              <a:gd name="connsiteX4" fmla="*/ 461818 w 474511"/>
              <a:gd name="connsiteY4" fmla="*/ 132388 h 775855"/>
              <a:gd name="connsiteX5" fmla="*/ 474134 w 474511"/>
              <a:gd name="connsiteY5" fmla="*/ 157018 h 775855"/>
              <a:gd name="connsiteX6" fmla="*/ 471055 w 474511"/>
              <a:gd name="connsiteY6" fmla="*/ 190885 h 775855"/>
              <a:gd name="connsiteX7" fmla="*/ 467976 w 474511"/>
              <a:gd name="connsiteY7" fmla="*/ 221673 h 775855"/>
              <a:gd name="connsiteX8" fmla="*/ 446424 w 474511"/>
              <a:gd name="connsiteY8" fmla="*/ 255539 h 775855"/>
              <a:gd name="connsiteX9" fmla="*/ 434109 w 474511"/>
              <a:gd name="connsiteY9" fmla="*/ 286327 h 775855"/>
              <a:gd name="connsiteX10" fmla="*/ 415637 w 474511"/>
              <a:gd name="connsiteY10" fmla="*/ 295564 h 775855"/>
              <a:gd name="connsiteX11" fmla="*/ 384849 w 474511"/>
              <a:gd name="connsiteY11" fmla="*/ 301721 h 775855"/>
              <a:gd name="connsiteX12" fmla="*/ 375612 w 474511"/>
              <a:gd name="connsiteY12" fmla="*/ 323273 h 775855"/>
              <a:gd name="connsiteX13" fmla="*/ 375612 w 474511"/>
              <a:gd name="connsiteY13" fmla="*/ 347903 h 775855"/>
              <a:gd name="connsiteX14" fmla="*/ 375612 w 474511"/>
              <a:gd name="connsiteY14" fmla="*/ 440267 h 775855"/>
              <a:gd name="connsiteX15" fmla="*/ 375612 w 474511"/>
              <a:gd name="connsiteY15" fmla="*/ 474133 h 775855"/>
              <a:gd name="connsiteX16" fmla="*/ 366376 w 474511"/>
              <a:gd name="connsiteY16" fmla="*/ 508000 h 775855"/>
              <a:gd name="connsiteX17" fmla="*/ 354061 w 474511"/>
              <a:gd name="connsiteY17" fmla="*/ 535709 h 775855"/>
              <a:gd name="connsiteX18" fmla="*/ 335588 w 474511"/>
              <a:gd name="connsiteY18" fmla="*/ 551103 h 775855"/>
              <a:gd name="connsiteX19" fmla="*/ 310958 w 474511"/>
              <a:gd name="connsiteY19" fmla="*/ 581891 h 775855"/>
              <a:gd name="connsiteX20" fmla="*/ 295564 w 474511"/>
              <a:gd name="connsiteY20" fmla="*/ 597285 h 775855"/>
              <a:gd name="connsiteX21" fmla="*/ 243224 w 474511"/>
              <a:gd name="connsiteY21" fmla="*/ 609600 h 775855"/>
              <a:gd name="connsiteX22" fmla="*/ 240146 w 474511"/>
              <a:gd name="connsiteY22" fmla="*/ 603442 h 775855"/>
              <a:gd name="connsiteX23" fmla="*/ 150861 w 474511"/>
              <a:gd name="connsiteY23" fmla="*/ 655782 h 775855"/>
              <a:gd name="connsiteX24" fmla="*/ 132388 w 474511"/>
              <a:gd name="connsiteY24" fmla="*/ 655782 h 775855"/>
              <a:gd name="connsiteX25" fmla="*/ 116994 w 474511"/>
              <a:gd name="connsiteY25" fmla="*/ 658861 h 775855"/>
              <a:gd name="connsiteX26" fmla="*/ 89285 w 474511"/>
              <a:gd name="connsiteY26" fmla="*/ 665018 h 775855"/>
              <a:gd name="connsiteX27" fmla="*/ 76970 w 474511"/>
              <a:gd name="connsiteY27" fmla="*/ 658861 h 775855"/>
              <a:gd name="connsiteX28" fmla="*/ 67734 w 474511"/>
              <a:gd name="connsiteY28" fmla="*/ 652703 h 775855"/>
              <a:gd name="connsiteX29" fmla="*/ 46182 w 474511"/>
              <a:gd name="connsiteY29" fmla="*/ 649624 h 775855"/>
              <a:gd name="connsiteX30" fmla="*/ 30788 w 474511"/>
              <a:gd name="connsiteY30" fmla="*/ 649624 h 775855"/>
              <a:gd name="connsiteX31" fmla="*/ 18473 w 474511"/>
              <a:gd name="connsiteY31" fmla="*/ 668097 h 775855"/>
              <a:gd name="connsiteX32" fmla="*/ 18473 w 474511"/>
              <a:gd name="connsiteY32" fmla="*/ 692727 h 775855"/>
              <a:gd name="connsiteX33" fmla="*/ 21552 w 474511"/>
              <a:gd name="connsiteY33" fmla="*/ 708121 h 775855"/>
              <a:gd name="connsiteX34" fmla="*/ 15394 w 474511"/>
              <a:gd name="connsiteY34" fmla="*/ 720436 h 775855"/>
              <a:gd name="connsiteX35" fmla="*/ 9237 w 474511"/>
              <a:gd name="connsiteY35" fmla="*/ 732751 h 775855"/>
              <a:gd name="connsiteX36" fmla="*/ 6158 w 474511"/>
              <a:gd name="connsiteY36" fmla="*/ 748145 h 775855"/>
              <a:gd name="connsiteX37" fmla="*/ 0 w 474511"/>
              <a:gd name="connsiteY37" fmla="*/ 775855 h 77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74511" h="775855">
                <a:moveTo>
                  <a:pt x="418715" y="0"/>
                </a:moveTo>
                <a:cubicBezTo>
                  <a:pt x="437957" y="17446"/>
                  <a:pt x="457200" y="34893"/>
                  <a:pt x="464897" y="49261"/>
                </a:cubicBezTo>
                <a:cubicBezTo>
                  <a:pt x="472594" y="63629"/>
                  <a:pt x="464897" y="86206"/>
                  <a:pt x="464897" y="86206"/>
                </a:cubicBezTo>
                <a:cubicBezTo>
                  <a:pt x="464897" y="96982"/>
                  <a:pt x="465410" y="106218"/>
                  <a:pt x="464897" y="113915"/>
                </a:cubicBezTo>
                <a:cubicBezTo>
                  <a:pt x="464384" y="121612"/>
                  <a:pt x="460279" y="125204"/>
                  <a:pt x="461818" y="132388"/>
                </a:cubicBezTo>
                <a:cubicBezTo>
                  <a:pt x="463357" y="139572"/>
                  <a:pt x="472595" y="147269"/>
                  <a:pt x="474134" y="157018"/>
                </a:cubicBezTo>
                <a:cubicBezTo>
                  <a:pt x="475673" y="166767"/>
                  <a:pt x="472081" y="180109"/>
                  <a:pt x="471055" y="190885"/>
                </a:cubicBezTo>
                <a:cubicBezTo>
                  <a:pt x="470029" y="201661"/>
                  <a:pt x="472081" y="210897"/>
                  <a:pt x="467976" y="221673"/>
                </a:cubicBezTo>
                <a:cubicBezTo>
                  <a:pt x="463871" y="232449"/>
                  <a:pt x="452069" y="244763"/>
                  <a:pt x="446424" y="255539"/>
                </a:cubicBezTo>
                <a:cubicBezTo>
                  <a:pt x="440780" y="266315"/>
                  <a:pt x="439240" y="279656"/>
                  <a:pt x="434109" y="286327"/>
                </a:cubicBezTo>
                <a:cubicBezTo>
                  <a:pt x="428978" y="292998"/>
                  <a:pt x="423847" y="292998"/>
                  <a:pt x="415637" y="295564"/>
                </a:cubicBezTo>
                <a:cubicBezTo>
                  <a:pt x="407427" y="298130"/>
                  <a:pt x="391520" y="297103"/>
                  <a:pt x="384849" y="301721"/>
                </a:cubicBezTo>
                <a:cubicBezTo>
                  <a:pt x="378178" y="306339"/>
                  <a:pt x="377151" y="315576"/>
                  <a:pt x="375612" y="323273"/>
                </a:cubicBezTo>
                <a:cubicBezTo>
                  <a:pt x="374072" y="330970"/>
                  <a:pt x="375612" y="347903"/>
                  <a:pt x="375612" y="347903"/>
                </a:cubicBezTo>
                <a:lnTo>
                  <a:pt x="375612" y="440267"/>
                </a:lnTo>
                <a:cubicBezTo>
                  <a:pt x="375612" y="461305"/>
                  <a:pt x="377151" y="462844"/>
                  <a:pt x="375612" y="474133"/>
                </a:cubicBezTo>
                <a:cubicBezTo>
                  <a:pt x="374073" y="485422"/>
                  <a:pt x="369968" y="497737"/>
                  <a:pt x="366376" y="508000"/>
                </a:cubicBezTo>
                <a:cubicBezTo>
                  <a:pt x="362784" y="518263"/>
                  <a:pt x="359192" y="528525"/>
                  <a:pt x="354061" y="535709"/>
                </a:cubicBezTo>
                <a:cubicBezTo>
                  <a:pt x="348930" y="542893"/>
                  <a:pt x="342772" y="543406"/>
                  <a:pt x="335588" y="551103"/>
                </a:cubicBezTo>
                <a:cubicBezTo>
                  <a:pt x="328404" y="558800"/>
                  <a:pt x="317629" y="574194"/>
                  <a:pt x="310958" y="581891"/>
                </a:cubicBezTo>
                <a:cubicBezTo>
                  <a:pt x="304287" y="589588"/>
                  <a:pt x="306853" y="592667"/>
                  <a:pt x="295564" y="597285"/>
                </a:cubicBezTo>
                <a:cubicBezTo>
                  <a:pt x="284275" y="601903"/>
                  <a:pt x="252460" y="608574"/>
                  <a:pt x="243224" y="609600"/>
                </a:cubicBezTo>
                <a:cubicBezTo>
                  <a:pt x="233988" y="610626"/>
                  <a:pt x="255540" y="595745"/>
                  <a:pt x="240146" y="603442"/>
                </a:cubicBezTo>
                <a:cubicBezTo>
                  <a:pt x="224752" y="611139"/>
                  <a:pt x="168821" y="647059"/>
                  <a:pt x="150861" y="655782"/>
                </a:cubicBezTo>
                <a:cubicBezTo>
                  <a:pt x="132901" y="664505"/>
                  <a:pt x="138032" y="655269"/>
                  <a:pt x="132388" y="655782"/>
                </a:cubicBezTo>
                <a:cubicBezTo>
                  <a:pt x="126744" y="656295"/>
                  <a:pt x="116994" y="658861"/>
                  <a:pt x="116994" y="658861"/>
                </a:cubicBezTo>
                <a:lnTo>
                  <a:pt x="89285" y="665018"/>
                </a:lnTo>
                <a:cubicBezTo>
                  <a:pt x="82614" y="665018"/>
                  <a:pt x="76970" y="658861"/>
                  <a:pt x="76970" y="658861"/>
                </a:cubicBezTo>
                <a:cubicBezTo>
                  <a:pt x="73378" y="656809"/>
                  <a:pt x="72865" y="654242"/>
                  <a:pt x="67734" y="652703"/>
                </a:cubicBezTo>
                <a:cubicBezTo>
                  <a:pt x="62603" y="651164"/>
                  <a:pt x="52340" y="650137"/>
                  <a:pt x="46182" y="649624"/>
                </a:cubicBezTo>
                <a:cubicBezTo>
                  <a:pt x="40024" y="649111"/>
                  <a:pt x="35406" y="646545"/>
                  <a:pt x="30788" y="649624"/>
                </a:cubicBezTo>
                <a:cubicBezTo>
                  <a:pt x="26170" y="652703"/>
                  <a:pt x="20525" y="660913"/>
                  <a:pt x="18473" y="668097"/>
                </a:cubicBezTo>
                <a:cubicBezTo>
                  <a:pt x="16421" y="675281"/>
                  <a:pt x="17960" y="686056"/>
                  <a:pt x="18473" y="692727"/>
                </a:cubicBezTo>
                <a:cubicBezTo>
                  <a:pt x="18986" y="699398"/>
                  <a:pt x="21552" y="708121"/>
                  <a:pt x="21552" y="708121"/>
                </a:cubicBezTo>
                <a:cubicBezTo>
                  <a:pt x="21039" y="712739"/>
                  <a:pt x="15394" y="720436"/>
                  <a:pt x="15394" y="720436"/>
                </a:cubicBezTo>
                <a:cubicBezTo>
                  <a:pt x="13342" y="724541"/>
                  <a:pt x="10776" y="728133"/>
                  <a:pt x="9237" y="732751"/>
                </a:cubicBezTo>
                <a:cubicBezTo>
                  <a:pt x="7698" y="737369"/>
                  <a:pt x="7697" y="740961"/>
                  <a:pt x="6158" y="748145"/>
                </a:cubicBezTo>
                <a:cubicBezTo>
                  <a:pt x="4619" y="755329"/>
                  <a:pt x="2309" y="765592"/>
                  <a:pt x="0" y="775855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олилиния 30"/>
          <p:cNvSpPr/>
          <p:nvPr/>
        </p:nvSpPr>
        <p:spPr>
          <a:xfrm>
            <a:off x="3145460" y="2089741"/>
            <a:ext cx="474511" cy="775855"/>
          </a:xfrm>
          <a:custGeom>
            <a:avLst/>
            <a:gdLst>
              <a:gd name="connsiteX0" fmla="*/ 418715 w 474511"/>
              <a:gd name="connsiteY0" fmla="*/ 0 h 775855"/>
              <a:gd name="connsiteX1" fmla="*/ 464897 w 474511"/>
              <a:gd name="connsiteY1" fmla="*/ 49261 h 775855"/>
              <a:gd name="connsiteX2" fmla="*/ 464897 w 474511"/>
              <a:gd name="connsiteY2" fmla="*/ 86206 h 775855"/>
              <a:gd name="connsiteX3" fmla="*/ 464897 w 474511"/>
              <a:gd name="connsiteY3" fmla="*/ 113915 h 775855"/>
              <a:gd name="connsiteX4" fmla="*/ 461818 w 474511"/>
              <a:gd name="connsiteY4" fmla="*/ 132388 h 775855"/>
              <a:gd name="connsiteX5" fmla="*/ 474134 w 474511"/>
              <a:gd name="connsiteY5" fmla="*/ 157018 h 775855"/>
              <a:gd name="connsiteX6" fmla="*/ 471055 w 474511"/>
              <a:gd name="connsiteY6" fmla="*/ 190885 h 775855"/>
              <a:gd name="connsiteX7" fmla="*/ 467976 w 474511"/>
              <a:gd name="connsiteY7" fmla="*/ 221673 h 775855"/>
              <a:gd name="connsiteX8" fmla="*/ 446424 w 474511"/>
              <a:gd name="connsiteY8" fmla="*/ 255539 h 775855"/>
              <a:gd name="connsiteX9" fmla="*/ 434109 w 474511"/>
              <a:gd name="connsiteY9" fmla="*/ 286327 h 775855"/>
              <a:gd name="connsiteX10" fmla="*/ 415637 w 474511"/>
              <a:gd name="connsiteY10" fmla="*/ 295564 h 775855"/>
              <a:gd name="connsiteX11" fmla="*/ 384849 w 474511"/>
              <a:gd name="connsiteY11" fmla="*/ 301721 h 775855"/>
              <a:gd name="connsiteX12" fmla="*/ 375612 w 474511"/>
              <a:gd name="connsiteY12" fmla="*/ 323273 h 775855"/>
              <a:gd name="connsiteX13" fmla="*/ 375612 w 474511"/>
              <a:gd name="connsiteY13" fmla="*/ 347903 h 775855"/>
              <a:gd name="connsiteX14" fmla="*/ 375612 w 474511"/>
              <a:gd name="connsiteY14" fmla="*/ 440267 h 775855"/>
              <a:gd name="connsiteX15" fmla="*/ 375612 w 474511"/>
              <a:gd name="connsiteY15" fmla="*/ 474133 h 775855"/>
              <a:gd name="connsiteX16" fmla="*/ 366376 w 474511"/>
              <a:gd name="connsiteY16" fmla="*/ 508000 h 775855"/>
              <a:gd name="connsiteX17" fmla="*/ 354061 w 474511"/>
              <a:gd name="connsiteY17" fmla="*/ 535709 h 775855"/>
              <a:gd name="connsiteX18" fmla="*/ 335588 w 474511"/>
              <a:gd name="connsiteY18" fmla="*/ 551103 h 775855"/>
              <a:gd name="connsiteX19" fmla="*/ 310958 w 474511"/>
              <a:gd name="connsiteY19" fmla="*/ 581891 h 775855"/>
              <a:gd name="connsiteX20" fmla="*/ 295564 w 474511"/>
              <a:gd name="connsiteY20" fmla="*/ 597285 h 775855"/>
              <a:gd name="connsiteX21" fmla="*/ 243224 w 474511"/>
              <a:gd name="connsiteY21" fmla="*/ 609600 h 775855"/>
              <a:gd name="connsiteX22" fmla="*/ 240146 w 474511"/>
              <a:gd name="connsiteY22" fmla="*/ 603442 h 775855"/>
              <a:gd name="connsiteX23" fmla="*/ 150861 w 474511"/>
              <a:gd name="connsiteY23" fmla="*/ 655782 h 775855"/>
              <a:gd name="connsiteX24" fmla="*/ 132388 w 474511"/>
              <a:gd name="connsiteY24" fmla="*/ 655782 h 775855"/>
              <a:gd name="connsiteX25" fmla="*/ 116994 w 474511"/>
              <a:gd name="connsiteY25" fmla="*/ 658861 h 775855"/>
              <a:gd name="connsiteX26" fmla="*/ 89285 w 474511"/>
              <a:gd name="connsiteY26" fmla="*/ 665018 h 775855"/>
              <a:gd name="connsiteX27" fmla="*/ 76970 w 474511"/>
              <a:gd name="connsiteY27" fmla="*/ 658861 h 775855"/>
              <a:gd name="connsiteX28" fmla="*/ 67734 w 474511"/>
              <a:gd name="connsiteY28" fmla="*/ 652703 h 775855"/>
              <a:gd name="connsiteX29" fmla="*/ 46182 w 474511"/>
              <a:gd name="connsiteY29" fmla="*/ 649624 h 775855"/>
              <a:gd name="connsiteX30" fmla="*/ 30788 w 474511"/>
              <a:gd name="connsiteY30" fmla="*/ 649624 h 775855"/>
              <a:gd name="connsiteX31" fmla="*/ 18473 w 474511"/>
              <a:gd name="connsiteY31" fmla="*/ 668097 h 775855"/>
              <a:gd name="connsiteX32" fmla="*/ 18473 w 474511"/>
              <a:gd name="connsiteY32" fmla="*/ 692727 h 775855"/>
              <a:gd name="connsiteX33" fmla="*/ 21552 w 474511"/>
              <a:gd name="connsiteY33" fmla="*/ 708121 h 775855"/>
              <a:gd name="connsiteX34" fmla="*/ 15394 w 474511"/>
              <a:gd name="connsiteY34" fmla="*/ 720436 h 775855"/>
              <a:gd name="connsiteX35" fmla="*/ 9237 w 474511"/>
              <a:gd name="connsiteY35" fmla="*/ 732751 h 775855"/>
              <a:gd name="connsiteX36" fmla="*/ 6158 w 474511"/>
              <a:gd name="connsiteY36" fmla="*/ 748145 h 775855"/>
              <a:gd name="connsiteX37" fmla="*/ 0 w 474511"/>
              <a:gd name="connsiteY37" fmla="*/ 775855 h 77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74511" h="775855">
                <a:moveTo>
                  <a:pt x="418715" y="0"/>
                </a:moveTo>
                <a:cubicBezTo>
                  <a:pt x="437957" y="17446"/>
                  <a:pt x="457200" y="34893"/>
                  <a:pt x="464897" y="49261"/>
                </a:cubicBezTo>
                <a:cubicBezTo>
                  <a:pt x="472594" y="63629"/>
                  <a:pt x="464897" y="86206"/>
                  <a:pt x="464897" y="86206"/>
                </a:cubicBezTo>
                <a:cubicBezTo>
                  <a:pt x="464897" y="96982"/>
                  <a:pt x="465410" y="106218"/>
                  <a:pt x="464897" y="113915"/>
                </a:cubicBezTo>
                <a:cubicBezTo>
                  <a:pt x="464384" y="121612"/>
                  <a:pt x="460279" y="125204"/>
                  <a:pt x="461818" y="132388"/>
                </a:cubicBezTo>
                <a:cubicBezTo>
                  <a:pt x="463357" y="139572"/>
                  <a:pt x="472595" y="147269"/>
                  <a:pt x="474134" y="157018"/>
                </a:cubicBezTo>
                <a:cubicBezTo>
                  <a:pt x="475673" y="166767"/>
                  <a:pt x="472081" y="180109"/>
                  <a:pt x="471055" y="190885"/>
                </a:cubicBezTo>
                <a:cubicBezTo>
                  <a:pt x="470029" y="201661"/>
                  <a:pt x="472081" y="210897"/>
                  <a:pt x="467976" y="221673"/>
                </a:cubicBezTo>
                <a:cubicBezTo>
                  <a:pt x="463871" y="232449"/>
                  <a:pt x="452069" y="244763"/>
                  <a:pt x="446424" y="255539"/>
                </a:cubicBezTo>
                <a:cubicBezTo>
                  <a:pt x="440780" y="266315"/>
                  <a:pt x="439240" y="279656"/>
                  <a:pt x="434109" y="286327"/>
                </a:cubicBezTo>
                <a:cubicBezTo>
                  <a:pt x="428978" y="292998"/>
                  <a:pt x="423847" y="292998"/>
                  <a:pt x="415637" y="295564"/>
                </a:cubicBezTo>
                <a:cubicBezTo>
                  <a:pt x="407427" y="298130"/>
                  <a:pt x="391520" y="297103"/>
                  <a:pt x="384849" y="301721"/>
                </a:cubicBezTo>
                <a:cubicBezTo>
                  <a:pt x="378178" y="306339"/>
                  <a:pt x="377151" y="315576"/>
                  <a:pt x="375612" y="323273"/>
                </a:cubicBezTo>
                <a:cubicBezTo>
                  <a:pt x="374072" y="330970"/>
                  <a:pt x="375612" y="347903"/>
                  <a:pt x="375612" y="347903"/>
                </a:cubicBezTo>
                <a:lnTo>
                  <a:pt x="375612" y="440267"/>
                </a:lnTo>
                <a:cubicBezTo>
                  <a:pt x="375612" y="461305"/>
                  <a:pt x="377151" y="462844"/>
                  <a:pt x="375612" y="474133"/>
                </a:cubicBezTo>
                <a:cubicBezTo>
                  <a:pt x="374073" y="485422"/>
                  <a:pt x="369968" y="497737"/>
                  <a:pt x="366376" y="508000"/>
                </a:cubicBezTo>
                <a:cubicBezTo>
                  <a:pt x="362784" y="518263"/>
                  <a:pt x="359192" y="528525"/>
                  <a:pt x="354061" y="535709"/>
                </a:cubicBezTo>
                <a:cubicBezTo>
                  <a:pt x="348930" y="542893"/>
                  <a:pt x="342772" y="543406"/>
                  <a:pt x="335588" y="551103"/>
                </a:cubicBezTo>
                <a:cubicBezTo>
                  <a:pt x="328404" y="558800"/>
                  <a:pt x="317629" y="574194"/>
                  <a:pt x="310958" y="581891"/>
                </a:cubicBezTo>
                <a:cubicBezTo>
                  <a:pt x="304287" y="589588"/>
                  <a:pt x="306853" y="592667"/>
                  <a:pt x="295564" y="597285"/>
                </a:cubicBezTo>
                <a:cubicBezTo>
                  <a:pt x="284275" y="601903"/>
                  <a:pt x="252460" y="608574"/>
                  <a:pt x="243224" y="609600"/>
                </a:cubicBezTo>
                <a:cubicBezTo>
                  <a:pt x="233988" y="610626"/>
                  <a:pt x="255540" y="595745"/>
                  <a:pt x="240146" y="603442"/>
                </a:cubicBezTo>
                <a:cubicBezTo>
                  <a:pt x="224752" y="611139"/>
                  <a:pt x="168821" y="647059"/>
                  <a:pt x="150861" y="655782"/>
                </a:cubicBezTo>
                <a:cubicBezTo>
                  <a:pt x="132901" y="664505"/>
                  <a:pt x="138032" y="655269"/>
                  <a:pt x="132388" y="655782"/>
                </a:cubicBezTo>
                <a:cubicBezTo>
                  <a:pt x="126744" y="656295"/>
                  <a:pt x="116994" y="658861"/>
                  <a:pt x="116994" y="658861"/>
                </a:cubicBezTo>
                <a:lnTo>
                  <a:pt x="89285" y="665018"/>
                </a:lnTo>
                <a:cubicBezTo>
                  <a:pt x="82614" y="665018"/>
                  <a:pt x="76970" y="658861"/>
                  <a:pt x="76970" y="658861"/>
                </a:cubicBezTo>
                <a:cubicBezTo>
                  <a:pt x="73378" y="656809"/>
                  <a:pt x="72865" y="654242"/>
                  <a:pt x="67734" y="652703"/>
                </a:cubicBezTo>
                <a:cubicBezTo>
                  <a:pt x="62603" y="651164"/>
                  <a:pt x="52340" y="650137"/>
                  <a:pt x="46182" y="649624"/>
                </a:cubicBezTo>
                <a:cubicBezTo>
                  <a:pt x="40024" y="649111"/>
                  <a:pt x="35406" y="646545"/>
                  <a:pt x="30788" y="649624"/>
                </a:cubicBezTo>
                <a:cubicBezTo>
                  <a:pt x="26170" y="652703"/>
                  <a:pt x="20525" y="660913"/>
                  <a:pt x="18473" y="668097"/>
                </a:cubicBezTo>
                <a:cubicBezTo>
                  <a:pt x="16421" y="675281"/>
                  <a:pt x="17960" y="686056"/>
                  <a:pt x="18473" y="692727"/>
                </a:cubicBezTo>
                <a:cubicBezTo>
                  <a:pt x="18986" y="699398"/>
                  <a:pt x="21552" y="708121"/>
                  <a:pt x="21552" y="708121"/>
                </a:cubicBezTo>
                <a:cubicBezTo>
                  <a:pt x="21039" y="712739"/>
                  <a:pt x="15394" y="720436"/>
                  <a:pt x="15394" y="720436"/>
                </a:cubicBezTo>
                <a:cubicBezTo>
                  <a:pt x="13342" y="724541"/>
                  <a:pt x="10776" y="728133"/>
                  <a:pt x="9237" y="732751"/>
                </a:cubicBezTo>
                <a:cubicBezTo>
                  <a:pt x="7698" y="737369"/>
                  <a:pt x="7697" y="740961"/>
                  <a:pt x="6158" y="748145"/>
                </a:cubicBezTo>
                <a:cubicBezTo>
                  <a:pt x="4619" y="755329"/>
                  <a:pt x="2309" y="765592"/>
                  <a:pt x="0" y="77585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олилиния 12"/>
          <p:cNvSpPr/>
          <p:nvPr/>
        </p:nvSpPr>
        <p:spPr>
          <a:xfrm>
            <a:off x="3574473" y="1567555"/>
            <a:ext cx="1982739" cy="979055"/>
          </a:xfrm>
          <a:custGeom>
            <a:avLst/>
            <a:gdLst>
              <a:gd name="connsiteX0" fmla="*/ 1982739 w 1982739"/>
              <a:gd name="connsiteY0" fmla="*/ 979055 h 979055"/>
              <a:gd name="connsiteX1" fmla="*/ 1924242 w 1982739"/>
              <a:gd name="connsiteY1" fmla="*/ 963661 h 979055"/>
              <a:gd name="connsiteX2" fmla="*/ 1890375 w 1982739"/>
              <a:gd name="connsiteY2" fmla="*/ 948267 h 979055"/>
              <a:gd name="connsiteX3" fmla="*/ 1874982 w 1982739"/>
              <a:gd name="connsiteY3" fmla="*/ 935952 h 979055"/>
              <a:gd name="connsiteX4" fmla="*/ 1828800 w 1982739"/>
              <a:gd name="connsiteY4" fmla="*/ 935952 h 979055"/>
              <a:gd name="connsiteX5" fmla="*/ 1813406 w 1982739"/>
              <a:gd name="connsiteY5" fmla="*/ 926715 h 979055"/>
              <a:gd name="connsiteX6" fmla="*/ 1770303 w 1982739"/>
              <a:gd name="connsiteY6" fmla="*/ 935952 h 979055"/>
              <a:gd name="connsiteX7" fmla="*/ 1727200 w 1982739"/>
              <a:gd name="connsiteY7" fmla="*/ 935952 h 979055"/>
              <a:gd name="connsiteX8" fmla="*/ 1693333 w 1982739"/>
              <a:gd name="connsiteY8" fmla="*/ 935952 h 979055"/>
              <a:gd name="connsiteX9" fmla="*/ 1659466 w 1982739"/>
              <a:gd name="connsiteY9" fmla="*/ 917479 h 979055"/>
              <a:gd name="connsiteX10" fmla="*/ 1637915 w 1982739"/>
              <a:gd name="connsiteY10" fmla="*/ 902085 h 979055"/>
              <a:gd name="connsiteX11" fmla="*/ 1634836 w 1982739"/>
              <a:gd name="connsiteY11" fmla="*/ 886691 h 979055"/>
              <a:gd name="connsiteX12" fmla="*/ 1634836 w 1982739"/>
              <a:gd name="connsiteY12" fmla="*/ 871297 h 979055"/>
              <a:gd name="connsiteX13" fmla="*/ 1640994 w 1982739"/>
              <a:gd name="connsiteY13" fmla="*/ 855903 h 979055"/>
              <a:gd name="connsiteX14" fmla="*/ 1647151 w 1982739"/>
              <a:gd name="connsiteY14" fmla="*/ 837431 h 979055"/>
              <a:gd name="connsiteX15" fmla="*/ 1628679 w 1982739"/>
              <a:gd name="connsiteY15" fmla="*/ 822037 h 979055"/>
              <a:gd name="connsiteX16" fmla="*/ 1570182 w 1982739"/>
              <a:gd name="connsiteY16" fmla="*/ 803564 h 979055"/>
              <a:gd name="connsiteX17" fmla="*/ 1520921 w 1982739"/>
              <a:gd name="connsiteY17" fmla="*/ 782012 h 979055"/>
              <a:gd name="connsiteX18" fmla="*/ 1434715 w 1982739"/>
              <a:gd name="connsiteY18" fmla="*/ 775855 h 979055"/>
              <a:gd name="connsiteX19" fmla="*/ 1379297 w 1982739"/>
              <a:gd name="connsiteY19" fmla="*/ 775855 h 979055"/>
              <a:gd name="connsiteX20" fmla="*/ 1311563 w 1982739"/>
              <a:gd name="connsiteY20" fmla="*/ 788170 h 979055"/>
              <a:gd name="connsiteX21" fmla="*/ 1268460 w 1982739"/>
              <a:gd name="connsiteY21" fmla="*/ 797406 h 979055"/>
              <a:gd name="connsiteX22" fmla="*/ 1259224 w 1982739"/>
              <a:gd name="connsiteY22" fmla="*/ 797406 h 979055"/>
              <a:gd name="connsiteX23" fmla="*/ 1253066 w 1982739"/>
              <a:gd name="connsiteY23" fmla="*/ 778934 h 979055"/>
              <a:gd name="connsiteX24" fmla="*/ 1234594 w 1982739"/>
              <a:gd name="connsiteY24" fmla="*/ 772776 h 979055"/>
              <a:gd name="connsiteX25" fmla="*/ 1203806 w 1982739"/>
              <a:gd name="connsiteY25" fmla="*/ 782012 h 979055"/>
              <a:gd name="connsiteX26" fmla="*/ 1154545 w 1982739"/>
              <a:gd name="connsiteY26" fmla="*/ 763540 h 979055"/>
              <a:gd name="connsiteX27" fmla="*/ 1136072 w 1982739"/>
              <a:gd name="connsiteY27" fmla="*/ 754303 h 979055"/>
              <a:gd name="connsiteX28" fmla="*/ 1111442 w 1982739"/>
              <a:gd name="connsiteY28" fmla="*/ 760461 h 979055"/>
              <a:gd name="connsiteX29" fmla="*/ 1068339 w 1982739"/>
              <a:gd name="connsiteY29" fmla="*/ 757382 h 979055"/>
              <a:gd name="connsiteX30" fmla="*/ 1043709 w 1982739"/>
              <a:gd name="connsiteY30" fmla="*/ 754303 h 979055"/>
              <a:gd name="connsiteX31" fmla="*/ 1028315 w 1982739"/>
              <a:gd name="connsiteY31" fmla="*/ 766618 h 979055"/>
              <a:gd name="connsiteX32" fmla="*/ 1006763 w 1982739"/>
              <a:gd name="connsiteY32" fmla="*/ 772776 h 979055"/>
              <a:gd name="connsiteX33" fmla="*/ 975975 w 1982739"/>
              <a:gd name="connsiteY33" fmla="*/ 751224 h 979055"/>
              <a:gd name="connsiteX34" fmla="*/ 963660 w 1982739"/>
              <a:gd name="connsiteY34" fmla="*/ 732752 h 979055"/>
              <a:gd name="connsiteX35" fmla="*/ 954424 w 1982739"/>
              <a:gd name="connsiteY35" fmla="*/ 732752 h 979055"/>
              <a:gd name="connsiteX36" fmla="*/ 948266 w 1982739"/>
              <a:gd name="connsiteY36" fmla="*/ 748146 h 979055"/>
              <a:gd name="connsiteX37" fmla="*/ 923636 w 1982739"/>
              <a:gd name="connsiteY37" fmla="*/ 766618 h 979055"/>
              <a:gd name="connsiteX38" fmla="*/ 908242 w 1982739"/>
              <a:gd name="connsiteY38" fmla="*/ 772776 h 979055"/>
              <a:gd name="connsiteX39" fmla="*/ 908242 w 1982739"/>
              <a:gd name="connsiteY39" fmla="*/ 757382 h 979055"/>
              <a:gd name="connsiteX40" fmla="*/ 905163 w 1982739"/>
              <a:gd name="connsiteY40" fmla="*/ 732752 h 979055"/>
              <a:gd name="connsiteX41" fmla="*/ 880533 w 1982739"/>
              <a:gd name="connsiteY41" fmla="*/ 717358 h 979055"/>
              <a:gd name="connsiteX42" fmla="*/ 852824 w 1982739"/>
              <a:gd name="connsiteY42" fmla="*/ 711200 h 979055"/>
              <a:gd name="connsiteX43" fmla="*/ 803563 w 1982739"/>
              <a:gd name="connsiteY43" fmla="*/ 698885 h 979055"/>
              <a:gd name="connsiteX44" fmla="*/ 760460 w 1982739"/>
              <a:gd name="connsiteY44" fmla="*/ 686570 h 979055"/>
              <a:gd name="connsiteX45" fmla="*/ 723515 w 1982739"/>
              <a:gd name="connsiteY45" fmla="*/ 668097 h 979055"/>
              <a:gd name="connsiteX46" fmla="*/ 689648 w 1982739"/>
              <a:gd name="connsiteY46" fmla="*/ 640388 h 979055"/>
              <a:gd name="connsiteX47" fmla="*/ 658860 w 1982739"/>
              <a:gd name="connsiteY47" fmla="*/ 624994 h 979055"/>
              <a:gd name="connsiteX48" fmla="*/ 628072 w 1982739"/>
              <a:gd name="connsiteY48" fmla="*/ 624994 h 979055"/>
              <a:gd name="connsiteX49" fmla="*/ 603442 w 1982739"/>
              <a:gd name="connsiteY49" fmla="*/ 621915 h 979055"/>
              <a:gd name="connsiteX50" fmla="*/ 575733 w 1982739"/>
              <a:gd name="connsiteY50" fmla="*/ 600364 h 979055"/>
              <a:gd name="connsiteX51" fmla="*/ 551103 w 1982739"/>
              <a:gd name="connsiteY51" fmla="*/ 591128 h 979055"/>
              <a:gd name="connsiteX52" fmla="*/ 523394 w 1982739"/>
              <a:gd name="connsiteY52" fmla="*/ 588049 h 979055"/>
              <a:gd name="connsiteX53" fmla="*/ 498763 w 1982739"/>
              <a:gd name="connsiteY53" fmla="*/ 597285 h 979055"/>
              <a:gd name="connsiteX54" fmla="*/ 489527 w 1982739"/>
              <a:gd name="connsiteY54" fmla="*/ 597285 h 979055"/>
              <a:gd name="connsiteX55" fmla="*/ 483369 w 1982739"/>
              <a:gd name="connsiteY55" fmla="*/ 578812 h 979055"/>
              <a:gd name="connsiteX56" fmla="*/ 464897 w 1982739"/>
              <a:gd name="connsiteY56" fmla="*/ 523394 h 979055"/>
              <a:gd name="connsiteX57" fmla="*/ 464897 w 1982739"/>
              <a:gd name="connsiteY57" fmla="*/ 504921 h 979055"/>
              <a:gd name="connsiteX58" fmla="*/ 452582 w 1982739"/>
              <a:gd name="connsiteY58" fmla="*/ 461818 h 979055"/>
              <a:gd name="connsiteX59" fmla="*/ 427951 w 1982739"/>
              <a:gd name="connsiteY59" fmla="*/ 400243 h 979055"/>
              <a:gd name="connsiteX60" fmla="*/ 403321 w 1982739"/>
              <a:gd name="connsiteY60" fmla="*/ 338667 h 979055"/>
              <a:gd name="connsiteX61" fmla="*/ 387927 w 1982739"/>
              <a:gd name="connsiteY61" fmla="*/ 295564 h 979055"/>
              <a:gd name="connsiteX62" fmla="*/ 369454 w 1982739"/>
              <a:gd name="connsiteY62" fmla="*/ 255540 h 979055"/>
              <a:gd name="connsiteX63" fmla="*/ 344824 w 1982739"/>
              <a:gd name="connsiteY63" fmla="*/ 215515 h 979055"/>
              <a:gd name="connsiteX64" fmla="*/ 295563 w 1982739"/>
              <a:gd name="connsiteY64" fmla="*/ 184728 h 979055"/>
              <a:gd name="connsiteX65" fmla="*/ 261697 w 1982739"/>
              <a:gd name="connsiteY65" fmla="*/ 160097 h 979055"/>
              <a:gd name="connsiteX66" fmla="*/ 218594 w 1982739"/>
              <a:gd name="connsiteY66" fmla="*/ 132388 h 979055"/>
              <a:gd name="connsiteX67" fmla="*/ 175491 w 1982739"/>
              <a:gd name="connsiteY67" fmla="*/ 107758 h 979055"/>
              <a:gd name="connsiteX68" fmla="*/ 144703 w 1982739"/>
              <a:gd name="connsiteY68" fmla="*/ 104679 h 979055"/>
              <a:gd name="connsiteX69" fmla="*/ 104679 w 1982739"/>
              <a:gd name="connsiteY69" fmla="*/ 104679 h 979055"/>
              <a:gd name="connsiteX70" fmla="*/ 83127 w 1982739"/>
              <a:gd name="connsiteY70" fmla="*/ 92364 h 979055"/>
              <a:gd name="connsiteX71" fmla="*/ 58497 w 1982739"/>
              <a:gd name="connsiteY71" fmla="*/ 61576 h 979055"/>
              <a:gd name="connsiteX72" fmla="*/ 40024 w 1982739"/>
              <a:gd name="connsiteY72" fmla="*/ 40024 h 979055"/>
              <a:gd name="connsiteX73" fmla="*/ 9236 w 1982739"/>
              <a:gd name="connsiteY73" fmla="*/ 9237 h 979055"/>
              <a:gd name="connsiteX74" fmla="*/ 0 w 1982739"/>
              <a:gd name="connsiteY74" fmla="*/ 0 h 979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982739" h="979055">
                <a:moveTo>
                  <a:pt x="1982739" y="979055"/>
                </a:moveTo>
                <a:cubicBezTo>
                  <a:pt x="1961187" y="973923"/>
                  <a:pt x="1939636" y="968792"/>
                  <a:pt x="1924242" y="963661"/>
                </a:cubicBezTo>
                <a:cubicBezTo>
                  <a:pt x="1908848" y="958530"/>
                  <a:pt x="1898585" y="952885"/>
                  <a:pt x="1890375" y="948267"/>
                </a:cubicBezTo>
                <a:cubicBezTo>
                  <a:pt x="1882165" y="943649"/>
                  <a:pt x="1885244" y="938004"/>
                  <a:pt x="1874982" y="935952"/>
                </a:cubicBezTo>
                <a:cubicBezTo>
                  <a:pt x="1864720" y="933900"/>
                  <a:pt x="1839063" y="937491"/>
                  <a:pt x="1828800" y="935952"/>
                </a:cubicBezTo>
                <a:cubicBezTo>
                  <a:pt x="1818537" y="934413"/>
                  <a:pt x="1823155" y="926715"/>
                  <a:pt x="1813406" y="926715"/>
                </a:cubicBezTo>
                <a:cubicBezTo>
                  <a:pt x="1803657" y="926715"/>
                  <a:pt x="1784671" y="934412"/>
                  <a:pt x="1770303" y="935952"/>
                </a:cubicBezTo>
                <a:cubicBezTo>
                  <a:pt x="1755935" y="937491"/>
                  <a:pt x="1727200" y="935952"/>
                  <a:pt x="1727200" y="935952"/>
                </a:cubicBezTo>
                <a:cubicBezTo>
                  <a:pt x="1714372" y="935952"/>
                  <a:pt x="1704622" y="939031"/>
                  <a:pt x="1693333" y="935952"/>
                </a:cubicBezTo>
                <a:cubicBezTo>
                  <a:pt x="1682044" y="932873"/>
                  <a:pt x="1668702" y="923123"/>
                  <a:pt x="1659466" y="917479"/>
                </a:cubicBezTo>
                <a:cubicBezTo>
                  <a:pt x="1650230" y="911834"/>
                  <a:pt x="1637915" y="902085"/>
                  <a:pt x="1637915" y="902085"/>
                </a:cubicBezTo>
                <a:cubicBezTo>
                  <a:pt x="1633810" y="896954"/>
                  <a:pt x="1635349" y="891822"/>
                  <a:pt x="1634836" y="886691"/>
                </a:cubicBezTo>
                <a:cubicBezTo>
                  <a:pt x="1634323" y="881560"/>
                  <a:pt x="1633810" y="876428"/>
                  <a:pt x="1634836" y="871297"/>
                </a:cubicBezTo>
                <a:cubicBezTo>
                  <a:pt x="1635862" y="866166"/>
                  <a:pt x="1638942" y="861547"/>
                  <a:pt x="1640994" y="855903"/>
                </a:cubicBezTo>
                <a:cubicBezTo>
                  <a:pt x="1643046" y="850259"/>
                  <a:pt x="1649203" y="843075"/>
                  <a:pt x="1647151" y="837431"/>
                </a:cubicBezTo>
                <a:cubicBezTo>
                  <a:pt x="1645099" y="831787"/>
                  <a:pt x="1641507" y="827681"/>
                  <a:pt x="1628679" y="822037"/>
                </a:cubicBezTo>
                <a:cubicBezTo>
                  <a:pt x="1615851" y="816393"/>
                  <a:pt x="1588142" y="810235"/>
                  <a:pt x="1570182" y="803564"/>
                </a:cubicBezTo>
                <a:cubicBezTo>
                  <a:pt x="1552222" y="796893"/>
                  <a:pt x="1543499" y="786630"/>
                  <a:pt x="1520921" y="782012"/>
                </a:cubicBezTo>
                <a:cubicBezTo>
                  <a:pt x="1498343" y="777394"/>
                  <a:pt x="1458319" y="776881"/>
                  <a:pt x="1434715" y="775855"/>
                </a:cubicBezTo>
                <a:cubicBezTo>
                  <a:pt x="1411111" y="774829"/>
                  <a:pt x="1399822" y="773803"/>
                  <a:pt x="1379297" y="775855"/>
                </a:cubicBezTo>
                <a:cubicBezTo>
                  <a:pt x="1358772" y="777907"/>
                  <a:pt x="1330036" y="784578"/>
                  <a:pt x="1311563" y="788170"/>
                </a:cubicBezTo>
                <a:cubicBezTo>
                  <a:pt x="1293090" y="791762"/>
                  <a:pt x="1268460" y="797406"/>
                  <a:pt x="1268460" y="797406"/>
                </a:cubicBezTo>
                <a:cubicBezTo>
                  <a:pt x="1259737" y="798945"/>
                  <a:pt x="1261790" y="800485"/>
                  <a:pt x="1259224" y="797406"/>
                </a:cubicBezTo>
                <a:cubicBezTo>
                  <a:pt x="1256658" y="794327"/>
                  <a:pt x="1257171" y="783039"/>
                  <a:pt x="1253066" y="778934"/>
                </a:cubicBezTo>
                <a:cubicBezTo>
                  <a:pt x="1248961" y="774829"/>
                  <a:pt x="1242804" y="772263"/>
                  <a:pt x="1234594" y="772776"/>
                </a:cubicBezTo>
                <a:cubicBezTo>
                  <a:pt x="1226384" y="773289"/>
                  <a:pt x="1217147" y="783551"/>
                  <a:pt x="1203806" y="782012"/>
                </a:cubicBezTo>
                <a:cubicBezTo>
                  <a:pt x="1190465" y="780473"/>
                  <a:pt x="1165834" y="768158"/>
                  <a:pt x="1154545" y="763540"/>
                </a:cubicBezTo>
                <a:cubicBezTo>
                  <a:pt x="1143256" y="758922"/>
                  <a:pt x="1143256" y="754816"/>
                  <a:pt x="1136072" y="754303"/>
                </a:cubicBezTo>
                <a:cubicBezTo>
                  <a:pt x="1128888" y="753790"/>
                  <a:pt x="1122731" y="759948"/>
                  <a:pt x="1111442" y="760461"/>
                </a:cubicBezTo>
                <a:cubicBezTo>
                  <a:pt x="1100153" y="760974"/>
                  <a:pt x="1079628" y="758408"/>
                  <a:pt x="1068339" y="757382"/>
                </a:cubicBezTo>
                <a:cubicBezTo>
                  <a:pt x="1057050" y="756356"/>
                  <a:pt x="1050380" y="752764"/>
                  <a:pt x="1043709" y="754303"/>
                </a:cubicBezTo>
                <a:cubicBezTo>
                  <a:pt x="1037038" y="755842"/>
                  <a:pt x="1034473" y="763539"/>
                  <a:pt x="1028315" y="766618"/>
                </a:cubicBezTo>
                <a:cubicBezTo>
                  <a:pt x="1022157" y="769697"/>
                  <a:pt x="1015486" y="775342"/>
                  <a:pt x="1006763" y="772776"/>
                </a:cubicBezTo>
                <a:cubicBezTo>
                  <a:pt x="998040" y="770210"/>
                  <a:pt x="975975" y="751224"/>
                  <a:pt x="975975" y="751224"/>
                </a:cubicBezTo>
                <a:cubicBezTo>
                  <a:pt x="968791" y="744553"/>
                  <a:pt x="963660" y="732752"/>
                  <a:pt x="963660" y="732752"/>
                </a:cubicBezTo>
                <a:cubicBezTo>
                  <a:pt x="960068" y="729673"/>
                  <a:pt x="956990" y="730186"/>
                  <a:pt x="954424" y="732752"/>
                </a:cubicBezTo>
                <a:cubicBezTo>
                  <a:pt x="951858" y="735318"/>
                  <a:pt x="953397" y="742502"/>
                  <a:pt x="948266" y="748146"/>
                </a:cubicBezTo>
                <a:cubicBezTo>
                  <a:pt x="943135" y="753790"/>
                  <a:pt x="930307" y="762513"/>
                  <a:pt x="923636" y="766618"/>
                </a:cubicBezTo>
                <a:cubicBezTo>
                  <a:pt x="916965" y="770723"/>
                  <a:pt x="908242" y="772776"/>
                  <a:pt x="908242" y="772776"/>
                </a:cubicBezTo>
                <a:cubicBezTo>
                  <a:pt x="905676" y="771237"/>
                  <a:pt x="908755" y="764053"/>
                  <a:pt x="908242" y="757382"/>
                </a:cubicBezTo>
                <a:cubicBezTo>
                  <a:pt x="907729" y="750711"/>
                  <a:pt x="905163" y="732752"/>
                  <a:pt x="905163" y="732752"/>
                </a:cubicBezTo>
                <a:cubicBezTo>
                  <a:pt x="900545" y="726081"/>
                  <a:pt x="889256" y="720950"/>
                  <a:pt x="880533" y="717358"/>
                </a:cubicBezTo>
                <a:cubicBezTo>
                  <a:pt x="871810" y="713766"/>
                  <a:pt x="852824" y="711200"/>
                  <a:pt x="852824" y="711200"/>
                </a:cubicBezTo>
                <a:lnTo>
                  <a:pt x="803563" y="698885"/>
                </a:lnTo>
                <a:cubicBezTo>
                  <a:pt x="788169" y="694780"/>
                  <a:pt x="773801" y="691701"/>
                  <a:pt x="760460" y="686570"/>
                </a:cubicBezTo>
                <a:cubicBezTo>
                  <a:pt x="747119" y="681439"/>
                  <a:pt x="735317" y="675794"/>
                  <a:pt x="723515" y="668097"/>
                </a:cubicBezTo>
                <a:cubicBezTo>
                  <a:pt x="711713" y="660400"/>
                  <a:pt x="700424" y="647572"/>
                  <a:pt x="689648" y="640388"/>
                </a:cubicBezTo>
                <a:cubicBezTo>
                  <a:pt x="678872" y="633204"/>
                  <a:pt x="669123" y="627560"/>
                  <a:pt x="658860" y="624994"/>
                </a:cubicBezTo>
                <a:cubicBezTo>
                  <a:pt x="648597" y="622428"/>
                  <a:pt x="637308" y="625507"/>
                  <a:pt x="628072" y="624994"/>
                </a:cubicBezTo>
                <a:cubicBezTo>
                  <a:pt x="618836" y="624481"/>
                  <a:pt x="612165" y="626020"/>
                  <a:pt x="603442" y="621915"/>
                </a:cubicBezTo>
                <a:cubicBezTo>
                  <a:pt x="594719" y="617810"/>
                  <a:pt x="584456" y="605495"/>
                  <a:pt x="575733" y="600364"/>
                </a:cubicBezTo>
                <a:cubicBezTo>
                  <a:pt x="567010" y="595233"/>
                  <a:pt x="559826" y="593181"/>
                  <a:pt x="551103" y="591128"/>
                </a:cubicBezTo>
                <a:cubicBezTo>
                  <a:pt x="542380" y="589075"/>
                  <a:pt x="532117" y="587023"/>
                  <a:pt x="523394" y="588049"/>
                </a:cubicBezTo>
                <a:cubicBezTo>
                  <a:pt x="514671" y="589075"/>
                  <a:pt x="498763" y="597285"/>
                  <a:pt x="498763" y="597285"/>
                </a:cubicBezTo>
                <a:cubicBezTo>
                  <a:pt x="493118" y="598824"/>
                  <a:pt x="492093" y="600364"/>
                  <a:pt x="489527" y="597285"/>
                </a:cubicBezTo>
                <a:cubicBezTo>
                  <a:pt x="486961" y="594206"/>
                  <a:pt x="483369" y="578812"/>
                  <a:pt x="483369" y="578812"/>
                </a:cubicBezTo>
                <a:cubicBezTo>
                  <a:pt x="479264" y="566497"/>
                  <a:pt x="467976" y="535709"/>
                  <a:pt x="464897" y="523394"/>
                </a:cubicBezTo>
                <a:cubicBezTo>
                  <a:pt x="461818" y="511079"/>
                  <a:pt x="466949" y="515184"/>
                  <a:pt x="464897" y="504921"/>
                </a:cubicBezTo>
                <a:cubicBezTo>
                  <a:pt x="462845" y="494658"/>
                  <a:pt x="458740" y="479264"/>
                  <a:pt x="452582" y="461818"/>
                </a:cubicBezTo>
                <a:cubicBezTo>
                  <a:pt x="446424" y="444372"/>
                  <a:pt x="427951" y="400243"/>
                  <a:pt x="427951" y="400243"/>
                </a:cubicBezTo>
                <a:cubicBezTo>
                  <a:pt x="419741" y="379718"/>
                  <a:pt x="409992" y="356113"/>
                  <a:pt x="403321" y="338667"/>
                </a:cubicBezTo>
                <a:cubicBezTo>
                  <a:pt x="396650" y="321221"/>
                  <a:pt x="393571" y="309418"/>
                  <a:pt x="387927" y="295564"/>
                </a:cubicBezTo>
                <a:cubicBezTo>
                  <a:pt x="382282" y="281709"/>
                  <a:pt x="376638" y="268881"/>
                  <a:pt x="369454" y="255540"/>
                </a:cubicBezTo>
                <a:cubicBezTo>
                  <a:pt x="362270" y="242199"/>
                  <a:pt x="357139" y="227317"/>
                  <a:pt x="344824" y="215515"/>
                </a:cubicBezTo>
                <a:cubicBezTo>
                  <a:pt x="332509" y="203713"/>
                  <a:pt x="309417" y="193964"/>
                  <a:pt x="295563" y="184728"/>
                </a:cubicBezTo>
                <a:cubicBezTo>
                  <a:pt x="281708" y="175492"/>
                  <a:pt x="274525" y="168820"/>
                  <a:pt x="261697" y="160097"/>
                </a:cubicBezTo>
                <a:cubicBezTo>
                  <a:pt x="248869" y="151374"/>
                  <a:pt x="232962" y="141111"/>
                  <a:pt x="218594" y="132388"/>
                </a:cubicBezTo>
                <a:cubicBezTo>
                  <a:pt x="204226" y="123665"/>
                  <a:pt x="187806" y="112376"/>
                  <a:pt x="175491" y="107758"/>
                </a:cubicBezTo>
                <a:cubicBezTo>
                  <a:pt x="163176" y="103140"/>
                  <a:pt x="156505" y="105192"/>
                  <a:pt x="144703" y="104679"/>
                </a:cubicBezTo>
                <a:cubicBezTo>
                  <a:pt x="132901" y="104166"/>
                  <a:pt x="114942" y="106731"/>
                  <a:pt x="104679" y="104679"/>
                </a:cubicBezTo>
                <a:cubicBezTo>
                  <a:pt x="94416" y="102627"/>
                  <a:pt x="90824" y="99548"/>
                  <a:pt x="83127" y="92364"/>
                </a:cubicBezTo>
                <a:cubicBezTo>
                  <a:pt x="75430" y="85180"/>
                  <a:pt x="65681" y="70299"/>
                  <a:pt x="58497" y="61576"/>
                </a:cubicBezTo>
                <a:cubicBezTo>
                  <a:pt x="51313" y="52853"/>
                  <a:pt x="48234" y="48747"/>
                  <a:pt x="40024" y="40024"/>
                </a:cubicBezTo>
                <a:cubicBezTo>
                  <a:pt x="31814" y="31301"/>
                  <a:pt x="9236" y="9237"/>
                  <a:pt x="9236" y="9237"/>
                </a:cubicBezTo>
                <a:lnTo>
                  <a:pt x="0" y="0"/>
                </a:ln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олилиния 33"/>
          <p:cNvSpPr/>
          <p:nvPr/>
        </p:nvSpPr>
        <p:spPr>
          <a:xfrm>
            <a:off x="3572930" y="1565560"/>
            <a:ext cx="1982739" cy="979055"/>
          </a:xfrm>
          <a:custGeom>
            <a:avLst/>
            <a:gdLst>
              <a:gd name="connsiteX0" fmla="*/ 1982739 w 1982739"/>
              <a:gd name="connsiteY0" fmla="*/ 979055 h 979055"/>
              <a:gd name="connsiteX1" fmla="*/ 1924242 w 1982739"/>
              <a:gd name="connsiteY1" fmla="*/ 963661 h 979055"/>
              <a:gd name="connsiteX2" fmla="*/ 1890375 w 1982739"/>
              <a:gd name="connsiteY2" fmla="*/ 948267 h 979055"/>
              <a:gd name="connsiteX3" fmla="*/ 1874982 w 1982739"/>
              <a:gd name="connsiteY3" fmla="*/ 935952 h 979055"/>
              <a:gd name="connsiteX4" fmla="*/ 1828800 w 1982739"/>
              <a:gd name="connsiteY4" fmla="*/ 935952 h 979055"/>
              <a:gd name="connsiteX5" fmla="*/ 1813406 w 1982739"/>
              <a:gd name="connsiteY5" fmla="*/ 926715 h 979055"/>
              <a:gd name="connsiteX6" fmla="*/ 1770303 w 1982739"/>
              <a:gd name="connsiteY6" fmla="*/ 935952 h 979055"/>
              <a:gd name="connsiteX7" fmla="*/ 1727200 w 1982739"/>
              <a:gd name="connsiteY7" fmla="*/ 935952 h 979055"/>
              <a:gd name="connsiteX8" fmla="*/ 1693333 w 1982739"/>
              <a:gd name="connsiteY8" fmla="*/ 935952 h 979055"/>
              <a:gd name="connsiteX9" fmla="*/ 1659466 w 1982739"/>
              <a:gd name="connsiteY9" fmla="*/ 917479 h 979055"/>
              <a:gd name="connsiteX10" fmla="*/ 1637915 w 1982739"/>
              <a:gd name="connsiteY10" fmla="*/ 902085 h 979055"/>
              <a:gd name="connsiteX11" fmla="*/ 1634836 w 1982739"/>
              <a:gd name="connsiteY11" fmla="*/ 886691 h 979055"/>
              <a:gd name="connsiteX12" fmla="*/ 1634836 w 1982739"/>
              <a:gd name="connsiteY12" fmla="*/ 871297 h 979055"/>
              <a:gd name="connsiteX13" fmla="*/ 1640994 w 1982739"/>
              <a:gd name="connsiteY13" fmla="*/ 855903 h 979055"/>
              <a:gd name="connsiteX14" fmla="*/ 1647151 w 1982739"/>
              <a:gd name="connsiteY14" fmla="*/ 837431 h 979055"/>
              <a:gd name="connsiteX15" fmla="*/ 1628679 w 1982739"/>
              <a:gd name="connsiteY15" fmla="*/ 822037 h 979055"/>
              <a:gd name="connsiteX16" fmla="*/ 1570182 w 1982739"/>
              <a:gd name="connsiteY16" fmla="*/ 803564 h 979055"/>
              <a:gd name="connsiteX17" fmla="*/ 1520921 w 1982739"/>
              <a:gd name="connsiteY17" fmla="*/ 782012 h 979055"/>
              <a:gd name="connsiteX18" fmla="*/ 1434715 w 1982739"/>
              <a:gd name="connsiteY18" fmla="*/ 775855 h 979055"/>
              <a:gd name="connsiteX19" fmla="*/ 1379297 w 1982739"/>
              <a:gd name="connsiteY19" fmla="*/ 775855 h 979055"/>
              <a:gd name="connsiteX20" fmla="*/ 1311563 w 1982739"/>
              <a:gd name="connsiteY20" fmla="*/ 788170 h 979055"/>
              <a:gd name="connsiteX21" fmla="*/ 1268460 w 1982739"/>
              <a:gd name="connsiteY21" fmla="*/ 797406 h 979055"/>
              <a:gd name="connsiteX22" fmla="*/ 1259224 w 1982739"/>
              <a:gd name="connsiteY22" fmla="*/ 797406 h 979055"/>
              <a:gd name="connsiteX23" fmla="*/ 1253066 w 1982739"/>
              <a:gd name="connsiteY23" fmla="*/ 778934 h 979055"/>
              <a:gd name="connsiteX24" fmla="*/ 1234594 w 1982739"/>
              <a:gd name="connsiteY24" fmla="*/ 772776 h 979055"/>
              <a:gd name="connsiteX25" fmla="*/ 1203806 w 1982739"/>
              <a:gd name="connsiteY25" fmla="*/ 782012 h 979055"/>
              <a:gd name="connsiteX26" fmla="*/ 1154545 w 1982739"/>
              <a:gd name="connsiteY26" fmla="*/ 763540 h 979055"/>
              <a:gd name="connsiteX27" fmla="*/ 1136072 w 1982739"/>
              <a:gd name="connsiteY27" fmla="*/ 754303 h 979055"/>
              <a:gd name="connsiteX28" fmla="*/ 1111442 w 1982739"/>
              <a:gd name="connsiteY28" fmla="*/ 760461 h 979055"/>
              <a:gd name="connsiteX29" fmla="*/ 1068339 w 1982739"/>
              <a:gd name="connsiteY29" fmla="*/ 757382 h 979055"/>
              <a:gd name="connsiteX30" fmla="*/ 1043709 w 1982739"/>
              <a:gd name="connsiteY30" fmla="*/ 754303 h 979055"/>
              <a:gd name="connsiteX31" fmla="*/ 1028315 w 1982739"/>
              <a:gd name="connsiteY31" fmla="*/ 766618 h 979055"/>
              <a:gd name="connsiteX32" fmla="*/ 1006763 w 1982739"/>
              <a:gd name="connsiteY32" fmla="*/ 772776 h 979055"/>
              <a:gd name="connsiteX33" fmla="*/ 975975 w 1982739"/>
              <a:gd name="connsiteY33" fmla="*/ 751224 h 979055"/>
              <a:gd name="connsiteX34" fmla="*/ 963660 w 1982739"/>
              <a:gd name="connsiteY34" fmla="*/ 732752 h 979055"/>
              <a:gd name="connsiteX35" fmla="*/ 954424 w 1982739"/>
              <a:gd name="connsiteY35" fmla="*/ 732752 h 979055"/>
              <a:gd name="connsiteX36" fmla="*/ 948266 w 1982739"/>
              <a:gd name="connsiteY36" fmla="*/ 748146 h 979055"/>
              <a:gd name="connsiteX37" fmla="*/ 923636 w 1982739"/>
              <a:gd name="connsiteY37" fmla="*/ 766618 h 979055"/>
              <a:gd name="connsiteX38" fmla="*/ 908242 w 1982739"/>
              <a:gd name="connsiteY38" fmla="*/ 772776 h 979055"/>
              <a:gd name="connsiteX39" fmla="*/ 908242 w 1982739"/>
              <a:gd name="connsiteY39" fmla="*/ 757382 h 979055"/>
              <a:gd name="connsiteX40" fmla="*/ 905163 w 1982739"/>
              <a:gd name="connsiteY40" fmla="*/ 732752 h 979055"/>
              <a:gd name="connsiteX41" fmla="*/ 880533 w 1982739"/>
              <a:gd name="connsiteY41" fmla="*/ 717358 h 979055"/>
              <a:gd name="connsiteX42" fmla="*/ 852824 w 1982739"/>
              <a:gd name="connsiteY42" fmla="*/ 711200 h 979055"/>
              <a:gd name="connsiteX43" fmla="*/ 803563 w 1982739"/>
              <a:gd name="connsiteY43" fmla="*/ 698885 h 979055"/>
              <a:gd name="connsiteX44" fmla="*/ 760460 w 1982739"/>
              <a:gd name="connsiteY44" fmla="*/ 686570 h 979055"/>
              <a:gd name="connsiteX45" fmla="*/ 723515 w 1982739"/>
              <a:gd name="connsiteY45" fmla="*/ 668097 h 979055"/>
              <a:gd name="connsiteX46" fmla="*/ 689648 w 1982739"/>
              <a:gd name="connsiteY46" fmla="*/ 640388 h 979055"/>
              <a:gd name="connsiteX47" fmla="*/ 658860 w 1982739"/>
              <a:gd name="connsiteY47" fmla="*/ 624994 h 979055"/>
              <a:gd name="connsiteX48" fmla="*/ 628072 w 1982739"/>
              <a:gd name="connsiteY48" fmla="*/ 624994 h 979055"/>
              <a:gd name="connsiteX49" fmla="*/ 603442 w 1982739"/>
              <a:gd name="connsiteY49" fmla="*/ 621915 h 979055"/>
              <a:gd name="connsiteX50" fmla="*/ 575733 w 1982739"/>
              <a:gd name="connsiteY50" fmla="*/ 600364 h 979055"/>
              <a:gd name="connsiteX51" fmla="*/ 551103 w 1982739"/>
              <a:gd name="connsiteY51" fmla="*/ 591128 h 979055"/>
              <a:gd name="connsiteX52" fmla="*/ 523394 w 1982739"/>
              <a:gd name="connsiteY52" fmla="*/ 588049 h 979055"/>
              <a:gd name="connsiteX53" fmla="*/ 498763 w 1982739"/>
              <a:gd name="connsiteY53" fmla="*/ 597285 h 979055"/>
              <a:gd name="connsiteX54" fmla="*/ 489527 w 1982739"/>
              <a:gd name="connsiteY54" fmla="*/ 597285 h 979055"/>
              <a:gd name="connsiteX55" fmla="*/ 483369 w 1982739"/>
              <a:gd name="connsiteY55" fmla="*/ 578812 h 979055"/>
              <a:gd name="connsiteX56" fmla="*/ 464897 w 1982739"/>
              <a:gd name="connsiteY56" fmla="*/ 523394 h 979055"/>
              <a:gd name="connsiteX57" fmla="*/ 464897 w 1982739"/>
              <a:gd name="connsiteY57" fmla="*/ 504921 h 979055"/>
              <a:gd name="connsiteX58" fmla="*/ 452582 w 1982739"/>
              <a:gd name="connsiteY58" fmla="*/ 461818 h 979055"/>
              <a:gd name="connsiteX59" fmla="*/ 427951 w 1982739"/>
              <a:gd name="connsiteY59" fmla="*/ 400243 h 979055"/>
              <a:gd name="connsiteX60" fmla="*/ 403321 w 1982739"/>
              <a:gd name="connsiteY60" fmla="*/ 338667 h 979055"/>
              <a:gd name="connsiteX61" fmla="*/ 387927 w 1982739"/>
              <a:gd name="connsiteY61" fmla="*/ 295564 h 979055"/>
              <a:gd name="connsiteX62" fmla="*/ 369454 w 1982739"/>
              <a:gd name="connsiteY62" fmla="*/ 255540 h 979055"/>
              <a:gd name="connsiteX63" fmla="*/ 344824 w 1982739"/>
              <a:gd name="connsiteY63" fmla="*/ 215515 h 979055"/>
              <a:gd name="connsiteX64" fmla="*/ 295563 w 1982739"/>
              <a:gd name="connsiteY64" fmla="*/ 184728 h 979055"/>
              <a:gd name="connsiteX65" fmla="*/ 261697 w 1982739"/>
              <a:gd name="connsiteY65" fmla="*/ 160097 h 979055"/>
              <a:gd name="connsiteX66" fmla="*/ 218594 w 1982739"/>
              <a:gd name="connsiteY66" fmla="*/ 132388 h 979055"/>
              <a:gd name="connsiteX67" fmla="*/ 175491 w 1982739"/>
              <a:gd name="connsiteY67" fmla="*/ 107758 h 979055"/>
              <a:gd name="connsiteX68" fmla="*/ 144703 w 1982739"/>
              <a:gd name="connsiteY68" fmla="*/ 104679 h 979055"/>
              <a:gd name="connsiteX69" fmla="*/ 104679 w 1982739"/>
              <a:gd name="connsiteY69" fmla="*/ 104679 h 979055"/>
              <a:gd name="connsiteX70" fmla="*/ 83127 w 1982739"/>
              <a:gd name="connsiteY70" fmla="*/ 92364 h 979055"/>
              <a:gd name="connsiteX71" fmla="*/ 58497 w 1982739"/>
              <a:gd name="connsiteY71" fmla="*/ 61576 h 979055"/>
              <a:gd name="connsiteX72" fmla="*/ 40024 w 1982739"/>
              <a:gd name="connsiteY72" fmla="*/ 40024 h 979055"/>
              <a:gd name="connsiteX73" fmla="*/ 9236 w 1982739"/>
              <a:gd name="connsiteY73" fmla="*/ 9237 h 979055"/>
              <a:gd name="connsiteX74" fmla="*/ 0 w 1982739"/>
              <a:gd name="connsiteY74" fmla="*/ 0 h 979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982739" h="979055">
                <a:moveTo>
                  <a:pt x="1982739" y="979055"/>
                </a:moveTo>
                <a:cubicBezTo>
                  <a:pt x="1961187" y="973923"/>
                  <a:pt x="1939636" y="968792"/>
                  <a:pt x="1924242" y="963661"/>
                </a:cubicBezTo>
                <a:cubicBezTo>
                  <a:pt x="1908848" y="958530"/>
                  <a:pt x="1898585" y="952885"/>
                  <a:pt x="1890375" y="948267"/>
                </a:cubicBezTo>
                <a:cubicBezTo>
                  <a:pt x="1882165" y="943649"/>
                  <a:pt x="1885244" y="938004"/>
                  <a:pt x="1874982" y="935952"/>
                </a:cubicBezTo>
                <a:cubicBezTo>
                  <a:pt x="1864720" y="933900"/>
                  <a:pt x="1839063" y="937491"/>
                  <a:pt x="1828800" y="935952"/>
                </a:cubicBezTo>
                <a:cubicBezTo>
                  <a:pt x="1818537" y="934413"/>
                  <a:pt x="1823155" y="926715"/>
                  <a:pt x="1813406" y="926715"/>
                </a:cubicBezTo>
                <a:cubicBezTo>
                  <a:pt x="1803657" y="926715"/>
                  <a:pt x="1784671" y="934412"/>
                  <a:pt x="1770303" y="935952"/>
                </a:cubicBezTo>
                <a:cubicBezTo>
                  <a:pt x="1755935" y="937491"/>
                  <a:pt x="1727200" y="935952"/>
                  <a:pt x="1727200" y="935952"/>
                </a:cubicBezTo>
                <a:cubicBezTo>
                  <a:pt x="1714372" y="935952"/>
                  <a:pt x="1704622" y="939031"/>
                  <a:pt x="1693333" y="935952"/>
                </a:cubicBezTo>
                <a:cubicBezTo>
                  <a:pt x="1682044" y="932873"/>
                  <a:pt x="1668702" y="923123"/>
                  <a:pt x="1659466" y="917479"/>
                </a:cubicBezTo>
                <a:cubicBezTo>
                  <a:pt x="1650230" y="911834"/>
                  <a:pt x="1637915" y="902085"/>
                  <a:pt x="1637915" y="902085"/>
                </a:cubicBezTo>
                <a:cubicBezTo>
                  <a:pt x="1633810" y="896954"/>
                  <a:pt x="1635349" y="891822"/>
                  <a:pt x="1634836" y="886691"/>
                </a:cubicBezTo>
                <a:cubicBezTo>
                  <a:pt x="1634323" y="881560"/>
                  <a:pt x="1633810" y="876428"/>
                  <a:pt x="1634836" y="871297"/>
                </a:cubicBezTo>
                <a:cubicBezTo>
                  <a:pt x="1635862" y="866166"/>
                  <a:pt x="1638942" y="861547"/>
                  <a:pt x="1640994" y="855903"/>
                </a:cubicBezTo>
                <a:cubicBezTo>
                  <a:pt x="1643046" y="850259"/>
                  <a:pt x="1649203" y="843075"/>
                  <a:pt x="1647151" y="837431"/>
                </a:cubicBezTo>
                <a:cubicBezTo>
                  <a:pt x="1645099" y="831787"/>
                  <a:pt x="1641507" y="827681"/>
                  <a:pt x="1628679" y="822037"/>
                </a:cubicBezTo>
                <a:cubicBezTo>
                  <a:pt x="1615851" y="816393"/>
                  <a:pt x="1588142" y="810235"/>
                  <a:pt x="1570182" y="803564"/>
                </a:cubicBezTo>
                <a:cubicBezTo>
                  <a:pt x="1552222" y="796893"/>
                  <a:pt x="1543499" y="786630"/>
                  <a:pt x="1520921" y="782012"/>
                </a:cubicBezTo>
                <a:cubicBezTo>
                  <a:pt x="1498343" y="777394"/>
                  <a:pt x="1458319" y="776881"/>
                  <a:pt x="1434715" y="775855"/>
                </a:cubicBezTo>
                <a:cubicBezTo>
                  <a:pt x="1411111" y="774829"/>
                  <a:pt x="1399822" y="773803"/>
                  <a:pt x="1379297" y="775855"/>
                </a:cubicBezTo>
                <a:cubicBezTo>
                  <a:pt x="1358772" y="777907"/>
                  <a:pt x="1330036" y="784578"/>
                  <a:pt x="1311563" y="788170"/>
                </a:cubicBezTo>
                <a:cubicBezTo>
                  <a:pt x="1293090" y="791762"/>
                  <a:pt x="1268460" y="797406"/>
                  <a:pt x="1268460" y="797406"/>
                </a:cubicBezTo>
                <a:cubicBezTo>
                  <a:pt x="1259737" y="798945"/>
                  <a:pt x="1261790" y="800485"/>
                  <a:pt x="1259224" y="797406"/>
                </a:cubicBezTo>
                <a:cubicBezTo>
                  <a:pt x="1256658" y="794327"/>
                  <a:pt x="1257171" y="783039"/>
                  <a:pt x="1253066" y="778934"/>
                </a:cubicBezTo>
                <a:cubicBezTo>
                  <a:pt x="1248961" y="774829"/>
                  <a:pt x="1242804" y="772263"/>
                  <a:pt x="1234594" y="772776"/>
                </a:cubicBezTo>
                <a:cubicBezTo>
                  <a:pt x="1226384" y="773289"/>
                  <a:pt x="1217147" y="783551"/>
                  <a:pt x="1203806" y="782012"/>
                </a:cubicBezTo>
                <a:cubicBezTo>
                  <a:pt x="1190465" y="780473"/>
                  <a:pt x="1165834" y="768158"/>
                  <a:pt x="1154545" y="763540"/>
                </a:cubicBezTo>
                <a:cubicBezTo>
                  <a:pt x="1143256" y="758922"/>
                  <a:pt x="1143256" y="754816"/>
                  <a:pt x="1136072" y="754303"/>
                </a:cubicBezTo>
                <a:cubicBezTo>
                  <a:pt x="1128888" y="753790"/>
                  <a:pt x="1122731" y="759948"/>
                  <a:pt x="1111442" y="760461"/>
                </a:cubicBezTo>
                <a:cubicBezTo>
                  <a:pt x="1100153" y="760974"/>
                  <a:pt x="1079628" y="758408"/>
                  <a:pt x="1068339" y="757382"/>
                </a:cubicBezTo>
                <a:cubicBezTo>
                  <a:pt x="1057050" y="756356"/>
                  <a:pt x="1050380" y="752764"/>
                  <a:pt x="1043709" y="754303"/>
                </a:cubicBezTo>
                <a:cubicBezTo>
                  <a:pt x="1037038" y="755842"/>
                  <a:pt x="1034473" y="763539"/>
                  <a:pt x="1028315" y="766618"/>
                </a:cubicBezTo>
                <a:cubicBezTo>
                  <a:pt x="1022157" y="769697"/>
                  <a:pt x="1015486" y="775342"/>
                  <a:pt x="1006763" y="772776"/>
                </a:cubicBezTo>
                <a:cubicBezTo>
                  <a:pt x="998040" y="770210"/>
                  <a:pt x="975975" y="751224"/>
                  <a:pt x="975975" y="751224"/>
                </a:cubicBezTo>
                <a:cubicBezTo>
                  <a:pt x="968791" y="744553"/>
                  <a:pt x="963660" y="732752"/>
                  <a:pt x="963660" y="732752"/>
                </a:cubicBezTo>
                <a:cubicBezTo>
                  <a:pt x="960068" y="729673"/>
                  <a:pt x="956990" y="730186"/>
                  <a:pt x="954424" y="732752"/>
                </a:cubicBezTo>
                <a:cubicBezTo>
                  <a:pt x="951858" y="735318"/>
                  <a:pt x="953397" y="742502"/>
                  <a:pt x="948266" y="748146"/>
                </a:cubicBezTo>
                <a:cubicBezTo>
                  <a:pt x="943135" y="753790"/>
                  <a:pt x="930307" y="762513"/>
                  <a:pt x="923636" y="766618"/>
                </a:cubicBezTo>
                <a:cubicBezTo>
                  <a:pt x="916965" y="770723"/>
                  <a:pt x="908242" y="772776"/>
                  <a:pt x="908242" y="772776"/>
                </a:cubicBezTo>
                <a:cubicBezTo>
                  <a:pt x="905676" y="771237"/>
                  <a:pt x="908755" y="764053"/>
                  <a:pt x="908242" y="757382"/>
                </a:cubicBezTo>
                <a:cubicBezTo>
                  <a:pt x="907729" y="750711"/>
                  <a:pt x="905163" y="732752"/>
                  <a:pt x="905163" y="732752"/>
                </a:cubicBezTo>
                <a:cubicBezTo>
                  <a:pt x="900545" y="726081"/>
                  <a:pt x="889256" y="720950"/>
                  <a:pt x="880533" y="717358"/>
                </a:cubicBezTo>
                <a:cubicBezTo>
                  <a:pt x="871810" y="713766"/>
                  <a:pt x="852824" y="711200"/>
                  <a:pt x="852824" y="711200"/>
                </a:cubicBezTo>
                <a:lnTo>
                  <a:pt x="803563" y="698885"/>
                </a:lnTo>
                <a:cubicBezTo>
                  <a:pt x="788169" y="694780"/>
                  <a:pt x="773801" y="691701"/>
                  <a:pt x="760460" y="686570"/>
                </a:cubicBezTo>
                <a:cubicBezTo>
                  <a:pt x="747119" y="681439"/>
                  <a:pt x="735317" y="675794"/>
                  <a:pt x="723515" y="668097"/>
                </a:cubicBezTo>
                <a:cubicBezTo>
                  <a:pt x="711713" y="660400"/>
                  <a:pt x="700424" y="647572"/>
                  <a:pt x="689648" y="640388"/>
                </a:cubicBezTo>
                <a:cubicBezTo>
                  <a:pt x="678872" y="633204"/>
                  <a:pt x="669123" y="627560"/>
                  <a:pt x="658860" y="624994"/>
                </a:cubicBezTo>
                <a:cubicBezTo>
                  <a:pt x="648597" y="622428"/>
                  <a:pt x="637308" y="625507"/>
                  <a:pt x="628072" y="624994"/>
                </a:cubicBezTo>
                <a:cubicBezTo>
                  <a:pt x="618836" y="624481"/>
                  <a:pt x="612165" y="626020"/>
                  <a:pt x="603442" y="621915"/>
                </a:cubicBezTo>
                <a:cubicBezTo>
                  <a:pt x="594719" y="617810"/>
                  <a:pt x="584456" y="605495"/>
                  <a:pt x="575733" y="600364"/>
                </a:cubicBezTo>
                <a:cubicBezTo>
                  <a:pt x="567010" y="595233"/>
                  <a:pt x="559826" y="593181"/>
                  <a:pt x="551103" y="591128"/>
                </a:cubicBezTo>
                <a:cubicBezTo>
                  <a:pt x="542380" y="589075"/>
                  <a:pt x="532117" y="587023"/>
                  <a:pt x="523394" y="588049"/>
                </a:cubicBezTo>
                <a:cubicBezTo>
                  <a:pt x="514671" y="589075"/>
                  <a:pt x="498763" y="597285"/>
                  <a:pt x="498763" y="597285"/>
                </a:cubicBezTo>
                <a:cubicBezTo>
                  <a:pt x="493118" y="598824"/>
                  <a:pt x="492093" y="600364"/>
                  <a:pt x="489527" y="597285"/>
                </a:cubicBezTo>
                <a:cubicBezTo>
                  <a:pt x="486961" y="594206"/>
                  <a:pt x="483369" y="578812"/>
                  <a:pt x="483369" y="578812"/>
                </a:cubicBezTo>
                <a:cubicBezTo>
                  <a:pt x="479264" y="566497"/>
                  <a:pt x="467976" y="535709"/>
                  <a:pt x="464897" y="523394"/>
                </a:cubicBezTo>
                <a:cubicBezTo>
                  <a:pt x="461818" y="511079"/>
                  <a:pt x="466949" y="515184"/>
                  <a:pt x="464897" y="504921"/>
                </a:cubicBezTo>
                <a:cubicBezTo>
                  <a:pt x="462845" y="494658"/>
                  <a:pt x="458740" y="479264"/>
                  <a:pt x="452582" y="461818"/>
                </a:cubicBezTo>
                <a:cubicBezTo>
                  <a:pt x="446424" y="444372"/>
                  <a:pt x="427951" y="400243"/>
                  <a:pt x="427951" y="400243"/>
                </a:cubicBezTo>
                <a:cubicBezTo>
                  <a:pt x="419741" y="379718"/>
                  <a:pt x="409992" y="356113"/>
                  <a:pt x="403321" y="338667"/>
                </a:cubicBezTo>
                <a:cubicBezTo>
                  <a:pt x="396650" y="321221"/>
                  <a:pt x="393571" y="309418"/>
                  <a:pt x="387927" y="295564"/>
                </a:cubicBezTo>
                <a:cubicBezTo>
                  <a:pt x="382282" y="281709"/>
                  <a:pt x="376638" y="268881"/>
                  <a:pt x="369454" y="255540"/>
                </a:cubicBezTo>
                <a:cubicBezTo>
                  <a:pt x="362270" y="242199"/>
                  <a:pt x="357139" y="227317"/>
                  <a:pt x="344824" y="215515"/>
                </a:cubicBezTo>
                <a:cubicBezTo>
                  <a:pt x="332509" y="203713"/>
                  <a:pt x="309417" y="193964"/>
                  <a:pt x="295563" y="184728"/>
                </a:cubicBezTo>
                <a:cubicBezTo>
                  <a:pt x="281708" y="175492"/>
                  <a:pt x="274525" y="168820"/>
                  <a:pt x="261697" y="160097"/>
                </a:cubicBezTo>
                <a:cubicBezTo>
                  <a:pt x="248869" y="151374"/>
                  <a:pt x="232962" y="141111"/>
                  <a:pt x="218594" y="132388"/>
                </a:cubicBezTo>
                <a:cubicBezTo>
                  <a:pt x="204226" y="123665"/>
                  <a:pt x="187806" y="112376"/>
                  <a:pt x="175491" y="107758"/>
                </a:cubicBezTo>
                <a:cubicBezTo>
                  <a:pt x="163176" y="103140"/>
                  <a:pt x="156505" y="105192"/>
                  <a:pt x="144703" y="104679"/>
                </a:cubicBezTo>
                <a:cubicBezTo>
                  <a:pt x="132901" y="104166"/>
                  <a:pt x="114942" y="106731"/>
                  <a:pt x="104679" y="104679"/>
                </a:cubicBezTo>
                <a:cubicBezTo>
                  <a:pt x="94416" y="102627"/>
                  <a:pt x="90824" y="99548"/>
                  <a:pt x="83127" y="92364"/>
                </a:cubicBezTo>
                <a:cubicBezTo>
                  <a:pt x="75430" y="85180"/>
                  <a:pt x="65681" y="70299"/>
                  <a:pt x="58497" y="61576"/>
                </a:cubicBezTo>
                <a:cubicBezTo>
                  <a:pt x="51313" y="52853"/>
                  <a:pt x="48234" y="48747"/>
                  <a:pt x="40024" y="40024"/>
                </a:cubicBezTo>
                <a:cubicBezTo>
                  <a:pt x="31814" y="31301"/>
                  <a:pt x="9236" y="9237"/>
                  <a:pt x="9236" y="9237"/>
                </a:cubicBezTo>
                <a:lnTo>
                  <a:pt x="0" y="0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 14"/>
          <p:cNvSpPr/>
          <p:nvPr/>
        </p:nvSpPr>
        <p:spPr>
          <a:xfrm>
            <a:off x="6213682" y="1588725"/>
            <a:ext cx="437783" cy="451905"/>
          </a:xfrm>
          <a:custGeom>
            <a:avLst/>
            <a:gdLst>
              <a:gd name="connsiteX0" fmla="*/ 0 w 437783"/>
              <a:gd name="connsiteY0" fmla="*/ 0 h 451905"/>
              <a:gd name="connsiteX1" fmla="*/ 42366 w 437783"/>
              <a:gd name="connsiteY1" fmla="*/ 52958 h 451905"/>
              <a:gd name="connsiteX2" fmla="*/ 56488 w 437783"/>
              <a:gd name="connsiteY2" fmla="*/ 70610 h 451905"/>
              <a:gd name="connsiteX3" fmla="*/ 74141 w 437783"/>
              <a:gd name="connsiteY3" fmla="*/ 77671 h 451905"/>
              <a:gd name="connsiteX4" fmla="*/ 88263 w 437783"/>
              <a:gd name="connsiteY4" fmla="*/ 81202 h 451905"/>
              <a:gd name="connsiteX5" fmla="*/ 102385 w 437783"/>
              <a:gd name="connsiteY5" fmla="*/ 102385 h 451905"/>
              <a:gd name="connsiteX6" fmla="*/ 127098 w 437783"/>
              <a:gd name="connsiteY6" fmla="*/ 127098 h 451905"/>
              <a:gd name="connsiteX7" fmla="*/ 144751 w 437783"/>
              <a:gd name="connsiteY7" fmla="*/ 151812 h 451905"/>
              <a:gd name="connsiteX8" fmla="*/ 165934 w 437783"/>
              <a:gd name="connsiteY8" fmla="*/ 172995 h 451905"/>
              <a:gd name="connsiteX9" fmla="*/ 180056 w 437783"/>
              <a:gd name="connsiteY9" fmla="*/ 190647 h 451905"/>
              <a:gd name="connsiteX10" fmla="*/ 197709 w 437783"/>
              <a:gd name="connsiteY10" fmla="*/ 197708 h 451905"/>
              <a:gd name="connsiteX11" fmla="*/ 215361 w 437783"/>
              <a:gd name="connsiteY11" fmla="*/ 208300 h 451905"/>
              <a:gd name="connsiteX12" fmla="*/ 236544 w 437783"/>
              <a:gd name="connsiteY12" fmla="*/ 211830 h 451905"/>
              <a:gd name="connsiteX13" fmla="*/ 275380 w 437783"/>
              <a:gd name="connsiteY13" fmla="*/ 218891 h 451905"/>
              <a:gd name="connsiteX14" fmla="*/ 307154 w 437783"/>
              <a:gd name="connsiteY14" fmla="*/ 236544 h 451905"/>
              <a:gd name="connsiteX15" fmla="*/ 349520 w 437783"/>
              <a:gd name="connsiteY15" fmla="*/ 264788 h 451905"/>
              <a:gd name="connsiteX16" fmla="*/ 374234 w 437783"/>
              <a:gd name="connsiteY16" fmla="*/ 307154 h 451905"/>
              <a:gd name="connsiteX17" fmla="*/ 388356 w 437783"/>
              <a:gd name="connsiteY17" fmla="*/ 335398 h 451905"/>
              <a:gd name="connsiteX18" fmla="*/ 416600 w 437783"/>
              <a:gd name="connsiteY18" fmla="*/ 370703 h 451905"/>
              <a:gd name="connsiteX19" fmla="*/ 434252 w 437783"/>
              <a:gd name="connsiteY19" fmla="*/ 427191 h 451905"/>
              <a:gd name="connsiteX20" fmla="*/ 437783 w 437783"/>
              <a:gd name="connsiteY20" fmla="*/ 451905 h 451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7783" h="451905">
                <a:moveTo>
                  <a:pt x="0" y="0"/>
                </a:moveTo>
                <a:lnTo>
                  <a:pt x="42366" y="52958"/>
                </a:lnTo>
                <a:cubicBezTo>
                  <a:pt x="51781" y="64726"/>
                  <a:pt x="51192" y="66491"/>
                  <a:pt x="56488" y="70610"/>
                </a:cubicBezTo>
                <a:cubicBezTo>
                  <a:pt x="61784" y="74729"/>
                  <a:pt x="74141" y="77671"/>
                  <a:pt x="74141" y="77671"/>
                </a:cubicBezTo>
                <a:cubicBezTo>
                  <a:pt x="79437" y="79436"/>
                  <a:pt x="83556" y="77083"/>
                  <a:pt x="88263" y="81202"/>
                </a:cubicBezTo>
                <a:cubicBezTo>
                  <a:pt x="92970" y="85321"/>
                  <a:pt x="95913" y="94736"/>
                  <a:pt x="102385" y="102385"/>
                </a:cubicBezTo>
                <a:cubicBezTo>
                  <a:pt x="108857" y="110034"/>
                  <a:pt x="120037" y="118860"/>
                  <a:pt x="127098" y="127098"/>
                </a:cubicBezTo>
                <a:cubicBezTo>
                  <a:pt x="134159" y="135336"/>
                  <a:pt x="138278" y="144163"/>
                  <a:pt x="144751" y="151812"/>
                </a:cubicBezTo>
                <a:cubicBezTo>
                  <a:pt x="151224" y="159461"/>
                  <a:pt x="160050" y="166523"/>
                  <a:pt x="165934" y="172995"/>
                </a:cubicBezTo>
                <a:cubicBezTo>
                  <a:pt x="171818" y="179467"/>
                  <a:pt x="180056" y="190647"/>
                  <a:pt x="180056" y="190647"/>
                </a:cubicBezTo>
                <a:cubicBezTo>
                  <a:pt x="185352" y="194766"/>
                  <a:pt x="191825" y="194766"/>
                  <a:pt x="197709" y="197708"/>
                </a:cubicBezTo>
                <a:cubicBezTo>
                  <a:pt x="203593" y="200650"/>
                  <a:pt x="208889" y="205946"/>
                  <a:pt x="215361" y="208300"/>
                </a:cubicBezTo>
                <a:cubicBezTo>
                  <a:pt x="221833" y="210654"/>
                  <a:pt x="236544" y="211830"/>
                  <a:pt x="236544" y="211830"/>
                </a:cubicBezTo>
                <a:cubicBezTo>
                  <a:pt x="246547" y="213595"/>
                  <a:pt x="263612" y="214772"/>
                  <a:pt x="275380" y="218891"/>
                </a:cubicBezTo>
                <a:cubicBezTo>
                  <a:pt x="287148" y="223010"/>
                  <a:pt x="294797" y="228895"/>
                  <a:pt x="307154" y="236544"/>
                </a:cubicBezTo>
                <a:cubicBezTo>
                  <a:pt x="319511" y="244194"/>
                  <a:pt x="338340" y="253020"/>
                  <a:pt x="349520" y="264788"/>
                </a:cubicBezTo>
                <a:cubicBezTo>
                  <a:pt x="360700" y="276556"/>
                  <a:pt x="367761" y="295386"/>
                  <a:pt x="374234" y="307154"/>
                </a:cubicBezTo>
                <a:cubicBezTo>
                  <a:pt x="380707" y="318922"/>
                  <a:pt x="381295" y="324807"/>
                  <a:pt x="388356" y="335398"/>
                </a:cubicBezTo>
                <a:cubicBezTo>
                  <a:pt x="395417" y="345989"/>
                  <a:pt x="408951" y="355404"/>
                  <a:pt x="416600" y="370703"/>
                </a:cubicBezTo>
                <a:cubicBezTo>
                  <a:pt x="424249" y="386002"/>
                  <a:pt x="430722" y="413657"/>
                  <a:pt x="434252" y="427191"/>
                </a:cubicBezTo>
                <a:cubicBezTo>
                  <a:pt x="437782" y="440725"/>
                  <a:pt x="437782" y="446315"/>
                  <a:pt x="437783" y="451905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олилиния 35"/>
          <p:cNvSpPr/>
          <p:nvPr/>
        </p:nvSpPr>
        <p:spPr>
          <a:xfrm>
            <a:off x="6210737" y="1585775"/>
            <a:ext cx="437783" cy="451905"/>
          </a:xfrm>
          <a:custGeom>
            <a:avLst/>
            <a:gdLst>
              <a:gd name="connsiteX0" fmla="*/ 0 w 437783"/>
              <a:gd name="connsiteY0" fmla="*/ 0 h 451905"/>
              <a:gd name="connsiteX1" fmla="*/ 42366 w 437783"/>
              <a:gd name="connsiteY1" fmla="*/ 52958 h 451905"/>
              <a:gd name="connsiteX2" fmla="*/ 56488 w 437783"/>
              <a:gd name="connsiteY2" fmla="*/ 70610 h 451905"/>
              <a:gd name="connsiteX3" fmla="*/ 74141 w 437783"/>
              <a:gd name="connsiteY3" fmla="*/ 77671 h 451905"/>
              <a:gd name="connsiteX4" fmla="*/ 88263 w 437783"/>
              <a:gd name="connsiteY4" fmla="*/ 81202 h 451905"/>
              <a:gd name="connsiteX5" fmla="*/ 102385 w 437783"/>
              <a:gd name="connsiteY5" fmla="*/ 102385 h 451905"/>
              <a:gd name="connsiteX6" fmla="*/ 127098 w 437783"/>
              <a:gd name="connsiteY6" fmla="*/ 127098 h 451905"/>
              <a:gd name="connsiteX7" fmla="*/ 144751 w 437783"/>
              <a:gd name="connsiteY7" fmla="*/ 151812 h 451905"/>
              <a:gd name="connsiteX8" fmla="*/ 165934 w 437783"/>
              <a:gd name="connsiteY8" fmla="*/ 172995 h 451905"/>
              <a:gd name="connsiteX9" fmla="*/ 180056 w 437783"/>
              <a:gd name="connsiteY9" fmla="*/ 190647 h 451905"/>
              <a:gd name="connsiteX10" fmla="*/ 197709 w 437783"/>
              <a:gd name="connsiteY10" fmla="*/ 197708 h 451905"/>
              <a:gd name="connsiteX11" fmla="*/ 215361 w 437783"/>
              <a:gd name="connsiteY11" fmla="*/ 208300 h 451905"/>
              <a:gd name="connsiteX12" fmla="*/ 236544 w 437783"/>
              <a:gd name="connsiteY12" fmla="*/ 211830 h 451905"/>
              <a:gd name="connsiteX13" fmla="*/ 275380 w 437783"/>
              <a:gd name="connsiteY13" fmla="*/ 218891 h 451905"/>
              <a:gd name="connsiteX14" fmla="*/ 307154 w 437783"/>
              <a:gd name="connsiteY14" fmla="*/ 236544 h 451905"/>
              <a:gd name="connsiteX15" fmla="*/ 349520 w 437783"/>
              <a:gd name="connsiteY15" fmla="*/ 264788 h 451905"/>
              <a:gd name="connsiteX16" fmla="*/ 374234 w 437783"/>
              <a:gd name="connsiteY16" fmla="*/ 307154 h 451905"/>
              <a:gd name="connsiteX17" fmla="*/ 388356 w 437783"/>
              <a:gd name="connsiteY17" fmla="*/ 335398 h 451905"/>
              <a:gd name="connsiteX18" fmla="*/ 416600 w 437783"/>
              <a:gd name="connsiteY18" fmla="*/ 370703 h 451905"/>
              <a:gd name="connsiteX19" fmla="*/ 434252 w 437783"/>
              <a:gd name="connsiteY19" fmla="*/ 427191 h 451905"/>
              <a:gd name="connsiteX20" fmla="*/ 437783 w 437783"/>
              <a:gd name="connsiteY20" fmla="*/ 451905 h 451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7783" h="451905">
                <a:moveTo>
                  <a:pt x="0" y="0"/>
                </a:moveTo>
                <a:lnTo>
                  <a:pt x="42366" y="52958"/>
                </a:lnTo>
                <a:cubicBezTo>
                  <a:pt x="51781" y="64726"/>
                  <a:pt x="51192" y="66491"/>
                  <a:pt x="56488" y="70610"/>
                </a:cubicBezTo>
                <a:cubicBezTo>
                  <a:pt x="61784" y="74729"/>
                  <a:pt x="74141" y="77671"/>
                  <a:pt x="74141" y="77671"/>
                </a:cubicBezTo>
                <a:cubicBezTo>
                  <a:pt x="79437" y="79436"/>
                  <a:pt x="83556" y="77083"/>
                  <a:pt x="88263" y="81202"/>
                </a:cubicBezTo>
                <a:cubicBezTo>
                  <a:pt x="92970" y="85321"/>
                  <a:pt x="95913" y="94736"/>
                  <a:pt x="102385" y="102385"/>
                </a:cubicBezTo>
                <a:cubicBezTo>
                  <a:pt x="108857" y="110034"/>
                  <a:pt x="120037" y="118860"/>
                  <a:pt x="127098" y="127098"/>
                </a:cubicBezTo>
                <a:cubicBezTo>
                  <a:pt x="134159" y="135336"/>
                  <a:pt x="138278" y="144163"/>
                  <a:pt x="144751" y="151812"/>
                </a:cubicBezTo>
                <a:cubicBezTo>
                  <a:pt x="151224" y="159461"/>
                  <a:pt x="160050" y="166523"/>
                  <a:pt x="165934" y="172995"/>
                </a:cubicBezTo>
                <a:cubicBezTo>
                  <a:pt x="171818" y="179467"/>
                  <a:pt x="180056" y="190647"/>
                  <a:pt x="180056" y="190647"/>
                </a:cubicBezTo>
                <a:cubicBezTo>
                  <a:pt x="185352" y="194766"/>
                  <a:pt x="191825" y="194766"/>
                  <a:pt x="197709" y="197708"/>
                </a:cubicBezTo>
                <a:cubicBezTo>
                  <a:pt x="203593" y="200650"/>
                  <a:pt x="208889" y="205946"/>
                  <a:pt x="215361" y="208300"/>
                </a:cubicBezTo>
                <a:cubicBezTo>
                  <a:pt x="221833" y="210654"/>
                  <a:pt x="236544" y="211830"/>
                  <a:pt x="236544" y="211830"/>
                </a:cubicBezTo>
                <a:cubicBezTo>
                  <a:pt x="246547" y="213595"/>
                  <a:pt x="263612" y="214772"/>
                  <a:pt x="275380" y="218891"/>
                </a:cubicBezTo>
                <a:cubicBezTo>
                  <a:pt x="287148" y="223010"/>
                  <a:pt x="294797" y="228895"/>
                  <a:pt x="307154" y="236544"/>
                </a:cubicBezTo>
                <a:cubicBezTo>
                  <a:pt x="319511" y="244194"/>
                  <a:pt x="338340" y="253020"/>
                  <a:pt x="349520" y="264788"/>
                </a:cubicBezTo>
                <a:cubicBezTo>
                  <a:pt x="360700" y="276556"/>
                  <a:pt x="367761" y="295386"/>
                  <a:pt x="374234" y="307154"/>
                </a:cubicBezTo>
                <a:cubicBezTo>
                  <a:pt x="380707" y="318922"/>
                  <a:pt x="381295" y="324807"/>
                  <a:pt x="388356" y="335398"/>
                </a:cubicBezTo>
                <a:cubicBezTo>
                  <a:pt x="395417" y="345989"/>
                  <a:pt x="408951" y="355404"/>
                  <a:pt x="416600" y="370703"/>
                </a:cubicBezTo>
                <a:cubicBezTo>
                  <a:pt x="424249" y="386002"/>
                  <a:pt x="430722" y="413657"/>
                  <a:pt x="434252" y="427191"/>
                </a:cubicBezTo>
                <a:cubicBezTo>
                  <a:pt x="437782" y="440725"/>
                  <a:pt x="437782" y="446315"/>
                  <a:pt x="437783" y="45190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олилиния 31"/>
          <p:cNvSpPr/>
          <p:nvPr/>
        </p:nvSpPr>
        <p:spPr>
          <a:xfrm>
            <a:off x="5038026" y="1316877"/>
            <a:ext cx="81202" cy="547228"/>
          </a:xfrm>
          <a:custGeom>
            <a:avLst/>
            <a:gdLst>
              <a:gd name="connsiteX0" fmla="*/ 0 w 81202"/>
              <a:gd name="connsiteY0" fmla="*/ 0 h 547228"/>
              <a:gd name="connsiteX1" fmla="*/ 7061 w 81202"/>
              <a:gd name="connsiteY1" fmla="*/ 84732 h 547228"/>
              <a:gd name="connsiteX2" fmla="*/ 21183 w 81202"/>
              <a:gd name="connsiteY2" fmla="*/ 112976 h 547228"/>
              <a:gd name="connsiteX3" fmla="*/ 28244 w 81202"/>
              <a:gd name="connsiteY3" fmla="*/ 134159 h 547228"/>
              <a:gd name="connsiteX4" fmla="*/ 35305 w 81202"/>
              <a:gd name="connsiteY4" fmla="*/ 155342 h 547228"/>
              <a:gd name="connsiteX5" fmla="*/ 21183 w 81202"/>
              <a:gd name="connsiteY5" fmla="*/ 194178 h 547228"/>
              <a:gd name="connsiteX6" fmla="*/ 10592 w 81202"/>
              <a:gd name="connsiteY6" fmla="*/ 233013 h 547228"/>
              <a:gd name="connsiteX7" fmla="*/ 10592 w 81202"/>
              <a:gd name="connsiteY7" fmla="*/ 275379 h 547228"/>
              <a:gd name="connsiteX8" fmla="*/ 17653 w 81202"/>
              <a:gd name="connsiteY8" fmla="*/ 307154 h 547228"/>
              <a:gd name="connsiteX9" fmla="*/ 24714 w 81202"/>
              <a:gd name="connsiteY9" fmla="*/ 321276 h 547228"/>
              <a:gd name="connsiteX10" fmla="*/ 35305 w 81202"/>
              <a:gd name="connsiteY10" fmla="*/ 335398 h 547228"/>
              <a:gd name="connsiteX11" fmla="*/ 52958 w 81202"/>
              <a:gd name="connsiteY11" fmla="*/ 356581 h 547228"/>
              <a:gd name="connsiteX12" fmla="*/ 74141 w 81202"/>
              <a:gd name="connsiteY12" fmla="*/ 391886 h 547228"/>
              <a:gd name="connsiteX13" fmla="*/ 81202 w 81202"/>
              <a:gd name="connsiteY13" fmla="*/ 444843 h 547228"/>
              <a:gd name="connsiteX14" fmla="*/ 74141 w 81202"/>
              <a:gd name="connsiteY14" fmla="*/ 480148 h 547228"/>
              <a:gd name="connsiteX15" fmla="*/ 70610 w 81202"/>
              <a:gd name="connsiteY15" fmla="*/ 529576 h 547228"/>
              <a:gd name="connsiteX16" fmla="*/ 63549 w 81202"/>
              <a:gd name="connsiteY16" fmla="*/ 547228 h 547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1202" h="547228">
                <a:moveTo>
                  <a:pt x="0" y="0"/>
                </a:moveTo>
                <a:cubicBezTo>
                  <a:pt x="1765" y="32951"/>
                  <a:pt x="3531" y="65903"/>
                  <a:pt x="7061" y="84732"/>
                </a:cubicBezTo>
                <a:cubicBezTo>
                  <a:pt x="10591" y="103561"/>
                  <a:pt x="21183" y="112976"/>
                  <a:pt x="21183" y="112976"/>
                </a:cubicBezTo>
                <a:cubicBezTo>
                  <a:pt x="24713" y="121214"/>
                  <a:pt x="28244" y="134159"/>
                  <a:pt x="28244" y="134159"/>
                </a:cubicBezTo>
                <a:cubicBezTo>
                  <a:pt x="30598" y="141220"/>
                  <a:pt x="36482" y="145339"/>
                  <a:pt x="35305" y="155342"/>
                </a:cubicBezTo>
                <a:cubicBezTo>
                  <a:pt x="34128" y="165345"/>
                  <a:pt x="25302" y="181233"/>
                  <a:pt x="21183" y="194178"/>
                </a:cubicBezTo>
                <a:cubicBezTo>
                  <a:pt x="17064" y="207123"/>
                  <a:pt x="12357" y="219479"/>
                  <a:pt x="10592" y="233013"/>
                </a:cubicBezTo>
                <a:cubicBezTo>
                  <a:pt x="8827" y="246547"/>
                  <a:pt x="9415" y="263022"/>
                  <a:pt x="10592" y="275379"/>
                </a:cubicBezTo>
                <a:cubicBezTo>
                  <a:pt x="11769" y="287736"/>
                  <a:pt x="17653" y="307154"/>
                  <a:pt x="17653" y="307154"/>
                </a:cubicBezTo>
                <a:cubicBezTo>
                  <a:pt x="20007" y="314804"/>
                  <a:pt x="24714" y="321276"/>
                  <a:pt x="24714" y="321276"/>
                </a:cubicBezTo>
                <a:cubicBezTo>
                  <a:pt x="27656" y="325983"/>
                  <a:pt x="30598" y="329514"/>
                  <a:pt x="35305" y="335398"/>
                </a:cubicBezTo>
                <a:cubicBezTo>
                  <a:pt x="40012" y="341282"/>
                  <a:pt x="46485" y="347166"/>
                  <a:pt x="52958" y="356581"/>
                </a:cubicBezTo>
                <a:cubicBezTo>
                  <a:pt x="59431" y="365996"/>
                  <a:pt x="69434" y="377176"/>
                  <a:pt x="74141" y="391886"/>
                </a:cubicBezTo>
                <a:cubicBezTo>
                  <a:pt x="78848" y="406596"/>
                  <a:pt x="81202" y="430133"/>
                  <a:pt x="81202" y="444843"/>
                </a:cubicBezTo>
                <a:cubicBezTo>
                  <a:pt x="81202" y="459553"/>
                  <a:pt x="75906" y="466026"/>
                  <a:pt x="74141" y="480148"/>
                </a:cubicBezTo>
                <a:cubicBezTo>
                  <a:pt x="72376" y="494270"/>
                  <a:pt x="72375" y="518396"/>
                  <a:pt x="70610" y="529576"/>
                </a:cubicBezTo>
                <a:cubicBezTo>
                  <a:pt x="68845" y="540756"/>
                  <a:pt x="66197" y="543992"/>
                  <a:pt x="63549" y="547228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олилиния 38"/>
          <p:cNvSpPr/>
          <p:nvPr/>
        </p:nvSpPr>
        <p:spPr>
          <a:xfrm>
            <a:off x="5035089" y="1306869"/>
            <a:ext cx="81202" cy="547228"/>
          </a:xfrm>
          <a:custGeom>
            <a:avLst/>
            <a:gdLst>
              <a:gd name="connsiteX0" fmla="*/ 0 w 81202"/>
              <a:gd name="connsiteY0" fmla="*/ 0 h 547228"/>
              <a:gd name="connsiteX1" fmla="*/ 7061 w 81202"/>
              <a:gd name="connsiteY1" fmla="*/ 84732 h 547228"/>
              <a:gd name="connsiteX2" fmla="*/ 21183 w 81202"/>
              <a:gd name="connsiteY2" fmla="*/ 112976 h 547228"/>
              <a:gd name="connsiteX3" fmla="*/ 28244 w 81202"/>
              <a:gd name="connsiteY3" fmla="*/ 134159 h 547228"/>
              <a:gd name="connsiteX4" fmla="*/ 35305 w 81202"/>
              <a:gd name="connsiteY4" fmla="*/ 155342 h 547228"/>
              <a:gd name="connsiteX5" fmla="*/ 21183 w 81202"/>
              <a:gd name="connsiteY5" fmla="*/ 194178 h 547228"/>
              <a:gd name="connsiteX6" fmla="*/ 10592 w 81202"/>
              <a:gd name="connsiteY6" fmla="*/ 233013 h 547228"/>
              <a:gd name="connsiteX7" fmla="*/ 10592 w 81202"/>
              <a:gd name="connsiteY7" fmla="*/ 275379 h 547228"/>
              <a:gd name="connsiteX8" fmla="*/ 17653 w 81202"/>
              <a:gd name="connsiteY8" fmla="*/ 307154 h 547228"/>
              <a:gd name="connsiteX9" fmla="*/ 24714 w 81202"/>
              <a:gd name="connsiteY9" fmla="*/ 321276 h 547228"/>
              <a:gd name="connsiteX10" fmla="*/ 35305 w 81202"/>
              <a:gd name="connsiteY10" fmla="*/ 335398 h 547228"/>
              <a:gd name="connsiteX11" fmla="*/ 52958 w 81202"/>
              <a:gd name="connsiteY11" fmla="*/ 356581 h 547228"/>
              <a:gd name="connsiteX12" fmla="*/ 74141 w 81202"/>
              <a:gd name="connsiteY12" fmla="*/ 391886 h 547228"/>
              <a:gd name="connsiteX13" fmla="*/ 81202 w 81202"/>
              <a:gd name="connsiteY13" fmla="*/ 444843 h 547228"/>
              <a:gd name="connsiteX14" fmla="*/ 74141 w 81202"/>
              <a:gd name="connsiteY14" fmla="*/ 480148 h 547228"/>
              <a:gd name="connsiteX15" fmla="*/ 70610 w 81202"/>
              <a:gd name="connsiteY15" fmla="*/ 529576 h 547228"/>
              <a:gd name="connsiteX16" fmla="*/ 63549 w 81202"/>
              <a:gd name="connsiteY16" fmla="*/ 547228 h 547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1202" h="547228">
                <a:moveTo>
                  <a:pt x="0" y="0"/>
                </a:moveTo>
                <a:cubicBezTo>
                  <a:pt x="1765" y="32951"/>
                  <a:pt x="3531" y="65903"/>
                  <a:pt x="7061" y="84732"/>
                </a:cubicBezTo>
                <a:cubicBezTo>
                  <a:pt x="10591" y="103561"/>
                  <a:pt x="21183" y="112976"/>
                  <a:pt x="21183" y="112976"/>
                </a:cubicBezTo>
                <a:cubicBezTo>
                  <a:pt x="24713" y="121214"/>
                  <a:pt x="28244" y="134159"/>
                  <a:pt x="28244" y="134159"/>
                </a:cubicBezTo>
                <a:cubicBezTo>
                  <a:pt x="30598" y="141220"/>
                  <a:pt x="36482" y="145339"/>
                  <a:pt x="35305" y="155342"/>
                </a:cubicBezTo>
                <a:cubicBezTo>
                  <a:pt x="34128" y="165345"/>
                  <a:pt x="25302" y="181233"/>
                  <a:pt x="21183" y="194178"/>
                </a:cubicBezTo>
                <a:cubicBezTo>
                  <a:pt x="17064" y="207123"/>
                  <a:pt x="12357" y="219479"/>
                  <a:pt x="10592" y="233013"/>
                </a:cubicBezTo>
                <a:cubicBezTo>
                  <a:pt x="8827" y="246547"/>
                  <a:pt x="9415" y="263022"/>
                  <a:pt x="10592" y="275379"/>
                </a:cubicBezTo>
                <a:cubicBezTo>
                  <a:pt x="11769" y="287736"/>
                  <a:pt x="17653" y="307154"/>
                  <a:pt x="17653" y="307154"/>
                </a:cubicBezTo>
                <a:cubicBezTo>
                  <a:pt x="20007" y="314804"/>
                  <a:pt x="24714" y="321276"/>
                  <a:pt x="24714" y="321276"/>
                </a:cubicBezTo>
                <a:cubicBezTo>
                  <a:pt x="27656" y="325983"/>
                  <a:pt x="30598" y="329514"/>
                  <a:pt x="35305" y="335398"/>
                </a:cubicBezTo>
                <a:cubicBezTo>
                  <a:pt x="40012" y="341282"/>
                  <a:pt x="46485" y="347166"/>
                  <a:pt x="52958" y="356581"/>
                </a:cubicBezTo>
                <a:cubicBezTo>
                  <a:pt x="59431" y="365996"/>
                  <a:pt x="69434" y="377176"/>
                  <a:pt x="74141" y="391886"/>
                </a:cubicBezTo>
                <a:cubicBezTo>
                  <a:pt x="78848" y="406596"/>
                  <a:pt x="81202" y="430133"/>
                  <a:pt x="81202" y="444843"/>
                </a:cubicBezTo>
                <a:cubicBezTo>
                  <a:pt x="81202" y="459553"/>
                  <a:pt x="75906" y="466026"/>
                  <a:pt x="74141" y="480148"/>
                </a:cubicBezTo>
                <a:cubicBezTo>
                  <a:pt x="72376" y="494270"/>
                  <a:pt x="72375" y="518396"/>
                  <a:pt x="70610" y="529576"/>
                </a:cubicBezTo>
                <a:cubicBezTo>
                  <a:pt x="68845" y="540756"/>
                  <a:pt x="66197" y="543992"/>
                  <a:pt x="63549" y="547228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олилиния 41"/>
          <p:cNvSpPr/>
          <p:nvPr/>
        </p:nvSpPr>
        <p:spPr>
          <a:xfrm>
            <a:off x="7098261" y="4575531"/>
            <a:ext cx="803002" cy="473087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олилиния 42"/>
          <p:cNvSpPr/>
          <p:nvPr/>
        </p:nvSpPr>
        <p:spPr>
          <a:xfrm>
            <a:off x="7080998" y="4556511"/>
            <a:ext cx="803002" cy="473087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олилиния 43"/>
          <p:cNvSpPr/>
          <p:nvPr/>
        </p:nvSpPr>
        <p:spPr>
          <a:xfrm>
            <a:off x="7118138" y="4589345"/>
            <a:ext cx="803002" cy="473087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олилиния 45"/>
          <p:cNvSpPr/>
          <p:nvPr/>
        </p:nvSpPr>
        <p:spPr>
          <a:xfrm>
            <a:off x="7098261" y="4571999"/>
            <a:ext cx="803002" cy="473087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олилиния 53"/>
          <p:cNvSpPr/>
          <p:nvPr/>
        </p:nvSpPr>
        <p:spPr>
          <a:xfrm>
            <a:off x="972403" y="4735773"/>
            <a:ext cx="160361" cy="92123"/>
          </a:xfrm>
          <a:custGeom>
            <a:avLst/>
            <a:gdLst>
              <a:gd name="connsiteX0" fmla="*/ 0 w 160361"/>
              <a:gd name="connsiteY0" fmla="*/ 0 h 92123"/>
              <a:gd name="connsiteX1" fmla="*/ 61415 w 160361"/>
              <a:gd name="connsiteY1" fmla="*/ 47767 h 92123"/>
              <a:gd name="connsiteX2" fmla="*/ 102358 w 160361"/>
              <a:gd name="connsiteY2" fmla="*/ 58003 h 92123"/>
              <a:gd name="connsiteX3" fmla="*/ 129654 w 160361"/>
              <a:gd name="connsiteY3" fmla="*/ 71651 h 92123"/>
              <a:gd name="connsiteX4" fmla="*/ 153537 w 160361"/>
              <a:gd name="connsiteY4" fmla="*/ 81887 h 92123"/>
              <a:gd name="connsiteX5" fmla="*/ 160361 w 160361"/>
              <a:gd name="connsiteY5" fmla="*/ 92123 h 9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361" h="92123">
                <a:moveTo>
                  <a:pt x="0" y="0"/>
                </a:moveTo>
                <a:cubicBezTo>
                  <a:pt x="22177" y="19050"/>
                  <a:pt x="44355" y="38100"/>
                  <a:pt x="61415" y="47767"/>
                </a:cubicBezTo>
                <a:cubicBezTo>
                  <a:pt x="78475" y="57434"/>
                  <a:pt x="90985" y="54022"/>
                  <a:pt x="102358" y="58003"/>
                </a:cubicBezTo>
                <a:cubicBezTo>
                  <a:pt x="113731" y="61984"/>
                  <a:pt x="121124" y="67670"/>
                  <a:pt x="129654" y="71651"/>
                </a:cubicBezTo>
                <a:cubicBezTo>
                  <a:pt x="138184" y="75632"/>
                  <a:pt x="153537" y="81887"/>
                  <a:pt x="153537" y="81887"/>
                </a:cubicBezTo>
                <a:cubicBezTo>
                  <a:pt x="158655" y="85299"/>
                  <a:pt x="159508" y="88711"/>
                  <a:pt x="160361" y="92123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олилиния 54"/>
          <p:cNvSpPr/>
          <p:nvPr/>
        </p:nvSpPr>
        <p:spPr>
          <a:xfrm>
            <a:off x="971263" y="4734633"/>
            <a:ext cx="160361" cy="92123"/>
          </a:xfrm>
          <a:custGeom>
            <a:avLst/>
            <a:gdLst>
              <a:gd name="connsiteX0" fmla="*/ 0 w 160361"/>
              <a:gd name="connsiteY0" fmla="*/ 0 h 92123"/>
              <a:gd name="connsiteX1" fmla="*/ 61415 w 160361"/>
              <a:gd name="connsiteY1" fmla="*/ 47767 h 92123"/>
              <a:gd name="connsiteX2" fmla="*/ 102358 w 160361"/>
              <a:gd name="connsiteY2" fmla="*/ 58003 h 92123"/>
              <a:gd name="connsiteX3" fmla="*/ 129654 w 160361"/>
              <a:gd name="connsiteY3" fmla="*/ 71651 h 92123"/>
              <a:gd name="connsiteX4" fmla="*/ 153537 w 160361"/>
              <a:gd name="connsiteY4" fmla="*/ 81887 h 92123"/>
              <a:gd name="connsiteX5" fmla="*/ 160361 w 160361"/>
              <a:gd name="connsiteY5" fmla="*/ 92123 h 9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361" h="92123">
                <a:moveTo>
                  <a:pt x="0" y="0"/>
                </a:moveTo>
                <a:cubicBezTo>
                  <a:pt x="22177" y="19050"/>
                  <a:pt x="44355" y="38100"/>
                  <a:pt x="61415" y="47767"/>
                </a:cubicBezTo>
                <a:cubicBezTo>
                  <a:pt x="78475" y="57434"/>
                  <a:pt x="90985" y="54022"/>
                  <a:pt x="102358" y="58003"/>
                </a:cubicBezTo>
                <a:cubicBezTo>
                  <a:pt x="113731" y="61984"/>
                  <a:pt x="121124" y="67670"/>
                  <a:pt x="129654" y="71651"/>
                </a:cubicBezTo>
                <a:cubicBezTo>
                  <a:pt x="138184" y="75632"/>
                  <a:pt x="153537" y="81887"/>
                  <a:pt x="153537" y="81887"/>
                </a:cubicBezTo>
                <a:cubicBezTo>
                  <a:pt x="158655" y="85299"/>
                  <a:pt x="159508" y="88711"/>
                  <a:pt x="160361" y="92123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олилиния 57"/>
          <p:cNvSpPr/>
          <p:nvPr/>
        </p:nvSpPr>
        <p:spPr>
          <a:xfrm>
            <a:off x="3582537" y="1897039"/>
            <a:ext cx="371902" cy="191068"/>
          </a:xfrm>
          <a:custGeom>
            <a:avLst/>
            <a:gdLst>
              <a:gd name="connsiteX0" fmla="*/ 371902 w 371902"/>
              <a:gd name="connsiteY0" fmla="*/ 0 h 191068"/>
              <a:gd name="connsiteX1" fmla="*/ 300251 w 371902"/>
              <a:gd name="connsiteY1" fmla="*/ 30707 h 191068"/>
              <a:gd name="connsiteX2" fmla="*/ 255896 w 371902"/>
              <a:gd name="connsiteY2" fmla="*/ 34119 h 191068"/>
              <a:gd name="connsiteX3" fmla="*/ 232012 w 371902"/>
              <a:gd name="connsiteY3" fmla="*/ 47767 h 191068"/>
              <a:gd name="connsiteX4" fmla="*/ 191069 w 371902"/>
              <a:gd name="connsiteY4" fmla="*/ 92122 h 191068"/>
              <a:gd name="connsiteX5" fmla="*/ 163773 w 371902"/>
              <a:gd name="connsiteY5" fmla="*/ 136477 h 191068"/>
              <a:gd name="connsiteX6" fmla="*/ 133066 w 371902"/>
              <a:gd name="connsiteY6" fmla="*/ 167185 h 191068"/>
              <a:gd name="connsiteX7" fmla="*/ 98947 w 371902"/>
              <a:gd name="connsiteY7" fmla="*/ 170597 h 191068"/>
              <a:gd name="connsiteX8" fmla="*/ 58003 w 371902"/>
              <a:gd name="connsiteY8" fmla="*/ 180833 h 191068"/>
              <a:gd name="connsiteX9" fmla="*/ 10236 w 371902"/>
              <a:gd name="connsiteY9" fmla="*/ 184245 h 191068"/>
              <a:gd name="connsiteX10" fmla="*/ 0 w 371902"/>
              <a:gd name="connsiteY10" fmla="*/ 191068 h 191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1902" h="191068">
                <a:moveTo>
                  <a:pt x="371902" y="0"/>
                </a:moveTo>
                <a:cubicBezTo>
                  <a:pt x="345743" y="12510"/>
                  <a:pt x="319585" y="25021"/>
                  <a:pt x="300251" y="30707"/>
                </a:cubicBezTo>
                <a:cubicBezTo>
                  <a:pt x="280917" y="36393"/>
                  <a:pt x="267269" y="31276"/>
                  <a:pt x="255896" y="34119"/>
                </a:cubicBezTo>
                <a:cubicBezTo>
                  <a:pt x="244523" y="36962"/>
                  <a:pt x="242816" y="38100"/>
                  <a:pt x="232012" y="47767"/>
                </a:cubicBezTo>
                <a:cubicBezTo>
                  <a:pt x="221208" y="57434"/>
                  <a:pt x="202442" y="77337"/>
                  <a:pt x="191069" y="92122"/>
                </a:cubicBezTo>
                <a:cubicBezTo>
                  <a:pt x="179696" y="106907"/>
                  <a:pt x="173440" y="123966"/>
                  <a:pt x="163773" y="136477"/>
                </a:cubicBezTo>
                <a:cubicBezTo>
                  <a:pt x="154106" y="148988"/>
                  <a:pt x="143870" y="161498"/>
                  <a:pt x="133066" y="167185"/>
                </a:cubicBezTo>
                <a:cubicBezTo>
                  <a:pt x="122262" y="172872"/>
                  <a:pt x="111457" y="168322"/>
                  <a:pt x="98947" y="170597"/>
                </a:cubicBezTo>
                <a:cubicBezTo>
                  <a:pt x="86436" y="172872"/>
                  <a:pt x="72788" y="178558"/>
                  <a:pt x="58003" y="180833"/>
                </a:cubicBezTo>
                <a:cubicBezTo>
                  <a:pt x="43218" y="183108"/>
                  <a:pt x="10236" y="184245"/>
                  <a:pt x="10236" y="184245"/>
                </a:cubicBezTo>
                <a:cubicBezTo>
                  <a:pt x="569" y="185951"/>
                  <a:pt x="284" y="188509"/>
                  <a:pt x="0" y="191068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олилиния 58"/>
          <p:cNvSpPr/>
          <p:nvPr/>
        </p:nvSpPr>
        <p:spPr>
          <a:xfrm>
            <a:off x="3577985" y="1895899"/>
            <a:ext cx="371902" cy="191068"/>
          </a:xfrm>
          <a:custGeom>
            <a:avLst/>
            <a:gdLst>
              <a:gd name="connsiteX0" fmla="*/ 371902 w 371902"/>
              <a:gd name="connsiteY0" fmla="*/ 0 h 191068"/>
              <a:gd name="connsiteX1" fmla="*/ 300251 w 371902"/>
              <a:gd name="connsiteY1" fmla="*/ 30707 h 191068"/>
              <a:gd name="connsiteX2" fmla="*/ 255896 w 371902"/>
              <a:gd name="connsiteY2" fmla="*/ 34119 h 191068"/>
              <a:gd name="connsiteX3" fmla="*/ 232012 w 371902"/>
              <a:gd name="connsiteY3" fmla="*/ 47767 h 191068"/>
              <a:gd name="connsiteX4" fmla="*/ 191069 w 371902"/>
              <a:gd name="connsiteY4" fmla="*/ 92122 h 191068"/>
              <a:gd name="connsiteX5" fmla="*/ 163773 w 371902"/>
              <a:gd name="connsiteY5" fmla="*/ 136477 h 191068"/>
              <a:gd name="connsiteX6" fmla="*/ 133066 w 371902"/>
              <a:gd name="connsiteY6" fmla="*/ 167185 h 191068"/>
              <a:gd name="connsiteX7" fmla="*/ 98947 w 371902"/>
              <a:gd name="connsiteY7" fmla="*/ 170597 h 191068"/>
              <a:gd name="connsiteX8" fmla="*/ 58003 w 371902"/>
              <a:gd name="connsiteY8" fmla="*/ 180833 h 191068"/>
              <a:gd name="connsiteX9" fmla="*/ 10236 w 371902"/>
              <a:gd name="connsiteY9" fmla="*/ 184245 h 191068"/>
              <a:gd name="connsiteX10" fmla="*/ 0 w 371902"/>
              <a:gd name="connsiteY10" fmla="*/ 191068 h 191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1902" h="191068">
                <a:moveTo>
                  <a:pt x="371902" y="0"/>
                </a:moveTo>
                <a:cubicBezTo>
                  <a:pt x="345743" y="12510"/>
                  <a:pt x="319585" y="25021"/>
                  <a:pt x="300251" y="30707"/>
                </a:cubicBezTo>
                <a:cubicBezTo>
                  <a:pt x="280917" y="36393"/>
                  <a:pt x="267269" y="31276"/>
                  <a:pt x="255896" y="34119"/>
                </a:cubicBezTo>
                <a:cubicBezTo>
                  <a:pt x="244523" y="36962"/>
                  <a:pt x="242816" y="38100"/>
                  <a:pt x="232012" y="47767"/>
                </a:cubicBezTo>
                <a:cubicBezTo>
                  <a:pt x="221208" y="57434"/>
                  <a:pt x="202442" y="77337"/>
                  <a:pt x="191069" y="92122"/>
                </a:cubicBezTo>
                <a:cubicBezTo>
                  <a:pt x="179696" y="106907"/>
                  <a:pt x="173440" y="123966"/>
                  <a:pt x="163773" y="136477"/>
                </a:cubicBezTo>
                <a:cubicBezTo>
                  <a:pt x="154106" y="148988"/>
                  <a:pt x="143870" y="161498"/>
                  <a:pt x="133066" y="167185"/>
                </a:cubicBezTo>
                <a:cubicBezTo>
                  <a:pt x="122262" y="172872"/>
                  <a:pt x="111457" y="168322"/>
                  <a:pt x="98947" y="170597"/>
                </a:cubicBezTo>
                <a:cubicBezTo>
                  <a:pt x="86436" y="172872"/>
                  <a:pt x="72788" y="178558"/>
                  <a:pt x="58003" y="180833"/>
                </a:cubicBezTo>
                <a:cubicBezTo>
                  <a:pt x="43218" y="183108"/>
                  <a:pt x="10236" y="184245"/>
                  <a:pt x="10236" y="184245"/>
                </a:cubicBezTo>
                <a:cubicBezTo>
                  <a:pt x="569" y="185951"/>
                  <a:pt x="284" y="188509"/>
                  <a:pt x="0" y="191068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Блок-схема: узел 34"/>
          <p:cNvSpPr/>
          <p:nvPr/>
        </p:nvSpPr>
        <p:spPr>
          <a:xfrm>
            <a:off x="3927275" y="1846761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олилиния 64"/>
          <p:cNvSpPr/>
          <p:nvPr/>
        </p:nvSpPr>
        <p:spPr>
          <a:xfrm>
            <a:off x="7627583" y="2862144"/>
            <a:ext cx="247266" cy="1081585"/>
          </a:xfrm>
          <a:custGeom>
            <a:avLst/>
            <a:gdLst>
              <a:gd name="connsiteX0" fmla="*/ 192347 w 247266"/>
              <a:gd name="connsiteY0" fmla="*/ 0 h 1081585"/>
              <a:gd name="connsiteX1" fmla="*/ 117285 w 247266"/>
              <a:gd name="connsiteY1" fmla="*/ 58003 h 1081585"/>
              <a:gd name="connsiteX2" fmla="*/ 89989 w 247266"/>
              <a:gd name="connsiteY2" fmla="*/ 85299 h 1081585"/>
              <a:gd name="connsiteX3" fmla="*/ 72929 w 247266"/>
              <a:gd name="connsiteY3" fmla="*/ 129654 h 1081585"/>
              <a:gd name="connsiteX4" fmla="*/ 55870 w 247266"/>
              <a:gd name="connsiteY4" fmla="*/ 146714 h 1081585"/>
              <a:gd name="connsiteX5" fmla="*/ 42222 w 247266"/>
              <a:gd name="connsiteY5" fmla="*/ 187657 h 1081585"/>
              <a:gd name="connsiteX6" fmla="*/ 52458 w 247266"/>
              <a:gd name="connsiteY6" fmla="*/ 232012 h 1081585"/>
              <a:gd name="connsiteX7" fmla="*/ 55870 w 247266"/>
              <a:gd name="connsiteY7" fmla="*/ 266132 h 1081585"/>
              <a:gd name="connsiteX8" fmla="*/ 42222 w 247266"/>
              <a:gd name="connsiteY8" fmla="*/ 290015 h 1081585"/>
              <a:gd name="connsiteX9" fmla="*/ 21750 w 247266"/>
              <a:gd name="connsiteY9" fmla="*/ 303663 h 1081585"/>
              <a:gd name="connsiteX10" fmla="*/ 11514 w 247266"/>
              <a:gd name="connsiteY10" fmla="*/ 348018 h 1081585"/>
              <a:gd name="connsiteX11" fmla="*/ 1279 w 247266"/>
              <a:gd name="connsiteY11" fmla="*/ 392373 h 1081585"/>
              <a:gd name="connsiteX12" fmla="*/ 1279 w 247266"/>
              <a:gd name="connsiteY12" fmla="*/ 423081 h 1081585"/>
              <a:gd name="connsiteX13" fmla="*/ 11514 w 247266"/>
              <a:gd name="connsiteY13" fmla="*/ 450376 h 1081585"/>
              <a:gd name="connsiteX14" fmla="*/ 18338 w 247266"/>
              <a:gd name="connsiteY14" fmla="*/ 474260 h 1081585"/>
              <a:gd name="connsiteX15" fmla="*/ 18338 w 247266"/>
              <a:gd name="connsiteY15" fmla="*/ 511791 h 1081585"/>
              <a:gd name="connsiteX16" fmla="*/ 42222 w 247266"/>
              <a:gd name="connsiteY16" fmla="*/ 549323 h 1081585"/>
              <a:gd name="connsiteX17" fmla="*/ 79753 w 247266"/>
              <a:gd name="connsiteY17" fmla="*/ 586854 h 1081585"/>
              <a:gd name="connsiteX18" fmla="*/ 100225 w 247266"/>
              <a:gd name="connsiteY18" fmla="*/ 603914 h 1081585"/>
              <a:gd name="connsiteX19" fmla="*/ 107049 w 247266"/>
              <a:gd name="connsiteY19" fmla="*/ 648269 h 1081585"/>
              <a:gd name="connsiteX20" fmla="*/ 103637 w 247266"/>
              <a:gd name="connsiteY20" fmla="*/ 689212 h 1081585"/>
              <a:gd name="connsiteX21" fmla="*/ 124108 w 247266"/>
              <a:gd name="connsiteY21" fmla="*/ 736979 h 1081585"/>
              <a:gd name="connsiteX22" fmla="*/ 141168 w 247266"/>
              <a:gd name="connsiteY22" fmla="*/ 747215 h 1081585"/>
              <a:gd name="connsiteX23" fmla="*/ 141168 w 247266"/>
              <a:gd name="connsiteY23" fmla="*/ 781335 h 1081585"/>
              <a:gd name="connsiteX24" fmla="*/ 151404 w 247266"/>
              <a:gd name="connsiteY24" fmla="*/ 815454 h 1081585"/>
              <a:gd name="connsiteX25" fmla="*/ 154816 w 247266"/>
              <a:gd name="connsiteY25" fmla="*/ 852985 h 1081585"/>
              <a:gd name="connsiteX26" fmla="*/ 151404 w 247266"/>
              <a:gd name="connsiteY26" fmla="*/ 887105 h 1081585"/>
              <a:gd name="connsiteX27" fmla="*/ 151404 w 247266"/>
              <a:gd name="connsiteY27" fmla="*/ 948520 h 1081585"/>
              <a:gd name="connsiteX28" fmla="*/ 171876 w 247266"/>
              <a:gd name="connsiteY28" fmla="*/ 986051 h 1081585"/>
              <a:gd name="connsiteX29" fmla="*/ 226467 w 247266"/>
              <a:gd name="connsiteY29" fmla="*/ 1023582 h 1081585"/>
              <a:gd name="connsiteX30" fmla="*/ 243526 w 247266"/>
              <a:gd name="connsiteY30" fmla="*/ 1037230 h 1081585"/>
              <a:gd name="connsiteX31" fmla="*/ 246938 w 247266"/>
              <a:gd name="connsiteY31" fmla="*/ 1061114 h 1081585"/>
              <a:gd name="connsiteX32" fmla="*/ 246938 w 247266"/>
              <a:gd name="connsiteY32" fmla="*/ 1081585 h 1081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47266" h="1081585">
                <a:moveTo>
                  <a:pt x="192347" y="0"/>
                </a:moveTo>
                <a:cubicBezTo>
                  <a:pt x="163346" y="21893"/>
                  <a:pt x="134345" y="43787"/>
                  <a:pt x="117285" y="58003"/>
                </a:cubicBezTo>
                <a:cubicBezTo>
                  <a:pt x="100225" y="72219"/>
                  <a:pt x="97382" y="73357"/>
                  <a:pt x="89989" y="85299"/>
                </a:cubicBezTo>
                <a:cubicBezTo>
                  <a:pt x="82596" y="97241"/>
                  <a:pt x="78615" y="119418"/>
                  <a:pt x="72929" y="129654"/>
                </a:cubicBezTo>
                <a:cubicBezTo>
                  <a:pt x="67242" y="139890"/>
                  <a:pt x="60988" y="137047"/>
                  <a:pt x="55870" y="146714"/>
                </a:cubicBezTo>
                <a:cubicBezTo>
                  <a:pt x="50752" y="156381"/>
                  <a:pt x="42791" y="173441"/>
                  <a:pt x="42222" y="187657"/>
                </a:cubicBezTo>
                <a:cubicBezTo>
                  <a:pt x="41653" y="201873"/>
                  <a:pt x="50183" y="218933"/>
                  <a:pt x="52458" y="232012"/>
                </a:cubicBezTo>
                <a:cubicBezTo>
                  <a:pt x="54733" y="245091"/>
                  <a:pt x="57576" y="256465"/>
                  <a:pt x="55870" y="266132"/>
                </a:cubicBezTo>
                <a:cubicBezTo>
                  <a:pt x="54164" y="275799"/>
                  <a:pt x="47908" y="283760"/>
                  <a:pt x="42222" y="290015"/>
                </a:cubicBezTo>
                <a:cubicBezTo>
                  <a:pt x="36536" y="296270"/>
                  <a:pt x="26868" y="293996"/>
                  <a:pt x="21750" y="303663"/>
                </a:cubicBezTo>
                <a:cubicBezTo>
                  <a:pt x="16632" y="313330"/>
                  <a:pt x="11514" y="348018"/>
                  <a:pt x="11514" y="348018"/>
                </a:cubicBezTo>
                <a:cubicBezTo>
                  <a:pt x="8102" y="362803"/>
                  <a:pt x="2985" y="379863"/>
                  <a:pt x="1279" y="392373"/>
                </a:cubicBezTo>
                <a:cubicBezTo>
                  <a:pt x="-427" y="404884"/>
                  <a:pt x="-427" y="413414"/>
                  <a:pt x="1279" y="423081"/>
                </a:cubicBezTo>
                <a:cubicBezTo>
                  <a:pt x="2985" y="432748"/>
                  <a:pt x="8671" y="441846"/>
                  <a:pt x="11514" y="450376"/>
                </a:cubicBezTo>
                <a:cubicBezTo>
                  <a:pt x="14357" y="458906"/>
                  <a:pt x="17201" y="464024"/>
                  <a:pt x="18338" y="474260"/>
                </a:cubicBezTo>
                <a:cubicBezTo>
                  <a:pt x="19475" y="484496"/>
                  <a:pt x="14357" y="499281"/>
                  <a:pt x="18338" y="511791"/>
                </a:cubicBezTo>
                <a:cubicBezTo>
                  <a:pt x="22319" y="524301"/>
                  <a:pt x="31986" y="536812"/>
                  <a:pt x="42222" y="549323"/>
                </a:cubicBezTo>
                <a:cubicBezTo>
                  <a:pt x="52458" y="561834"/>
                  <a:pt x="70086" y="577756"/>
                  <a:pt x="79753" y="586854"/>
                </a:cubicBezTo>
                <a:cubicBezTo>
                  <a:pt x="89420" y="595952"/>
                  <a:pt x="95676" y="593678"/>
                  <a:pt x="100225" y="603914"/>
                </a:cubicBezTo>
                <a:cubicBezTo>
                  <a:pt x="104774" y="614150"/>
                  <a:pt x="106480" y="634053"/>
                  <a:pt x="107049" y="648269"/>
                </a:cubicBezTo>
                <a:cubicBezTo>
                  <a:pt x="107618" y="662485"/>
                  <a:pt x="100794" y="674427"/>
                  <a:pt x="103637" y="689212"/>
                </a:cubicBezTo>
                <a:cubicBezTo>
                  <a:pt x="106480" y="703997"/>
                  <a:pt x="117853" y="727312"/>
                  <a:pt x="124108" y="736979"/>
                </a:cubicBezTo>
                <a:cubicBezTo>
                  <a:pt x="130363" y="746646"/>
                  <a:pt x="138325" y="739822"/>
                  <a:pt x="141168" y="747215"/>
                </a:cubicBezTo>
                <a:cubicBezTo>
                  <a:pt x="144011" y="754608"/>
                  <a:pt x="139462" y="769962"/>
                  <a:pt x="141168" y="781335"/>
                </a:cubicBezTo>
                <a:cubicBezTo>
                  <a:pt x="142874" y="792708"/>
                  <a:pt x="149129" y="803512"/>
                  <a:pt x="151404" y="815454"/>
                </a:cubicBezTo>
                <a:cubicBezTo>
                  <a:pt x="153679" y="827396"/>
                  <a:pt x="154816" y="841043"/>
                  <a:pt x="154816" y="852985"/>
                </a:cubicBezTo>
                <a:cubicBezTo>
                  <a:pt x="154816" y="864927"/>
                  <a:pt x="151973" y="871183"/>
                  <a:pt x="151404" y="887105"/>
                </a:cubicBezTo>
                <a:cubicBezTo>
                  <a:pt x="150835" y="903027"/>
                  <a:pt x="147992" y="932029"/>
                  <a:pt x="151404" y="948520"/>
                </a:cubicBezTo>
                <a:cubicBezTo>
                  <a:pt x="154816" y="965011"/>
                  <a:pt x="159365" y="973541"/>
                  <a:pt x="171876" y="986051"/>
                </a:cubicBezTo>
                <a:cubicBezTo>
                  <a:pt x="184386" y="998561"/>
                  <a:pt x="214525" y="1015052"/>
                  <a:pt x="226467" y="1023582"/>
                </a:cubicBezTo>
                <a:cubicBezTo>
                  <a:pt x="238409" y="1032112"/>
                  <a:pt x="240114" y="1030975"/>
                  <a:pt x="243526" y="1037230"/>
                </a:cubicBezTo>
                <a:cubicBezTo>
                  <a:pt x="246938" y="1043485"/>
                  <a:pt x="246369" y="1053722"/>
                  <a:pt x="246938" y="1061114"/>
                </a:cubicBezTo>
                <a:cubicBezTo>
                  <a:pt x="247507" y="1068506"/>
                  <a:pt x="247222" y="1075045"/>
                  <a:pt x="246938" y="1081585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олилиния 65"/>
          <p:cNvSpPr/>
          <p:nvPr/>
        </p:nvSpPr>
        <p:spPr>
          <a:xfrm>
            <a:off x="7626680" y="2858066"/>
            <a:ext cx="247266" cy="1081585"/>
          </a:xfrm>
          <a:custGeom>
            <a:avLst/>
            <a:gdLst>
              <a:gd name="connsiteX0" fmla="*/ 192347 w 247266"/>
              <a:gd name="connsiteY0" fmla="*/ 0 h 1081585"/>
              <a:gd name="connsiteX1" fmla="*/ 117285 w 247266"/>
              <a:gd name="connsiteY1" fmla="*/ 58003 h 1081585"/>
              <a:gd name="connsiteX2" fmla="*/ 89989 w 247266"/>
              <a:gd name="connsiteY2" fmla="*/ 85299 h 1081585"/>
              <a:gd name="connsiteX3" fmla="*/ 72929 w 247266"/>
              <a:gd name="connsiteY3" fmla="*/ 129654 h 1081585"/>
              <a:gd name="connsiteX4" fmla="*/ 55870 w 247266"/>
              <a:gd name="connsiteY4" fmla="*/ 146714 h 1081585"/>
              <a:gd name="connsiteX5" fmla="*/ 42222 w 247266"/>
              <a:gd name="connsiteY5" fmla="*/ 187657 h 1081585"/>
              <a:gd name="connsiteX6" fmla="*/ 52458 w 247266"/>
              <a:gd name="connsiteY6" fmla="*/ 232012 h 1081585"/>
              <a:gd name="connsiteX7" fmla="*/ 55870 w 247266"/>
              <a:gd name="connsiteY7" fmla="*/ 266132 h 1081585"/>
              <a:gd name="connsiteX8" fmla="*/ 42222 w 247266"/>
              <a:gd name="connsiteY8" fmla="*/ 290015 h 1081585"/>
              <a:gd name="connsiteX9" fmla="*/ 21750 w 247266"/>
              <a:gd name="connsiteY9" fmla="*/ 303663 h 1081585"/>
              <a:gd name="connsiteX10" fmla="*/ 11514 w 247266"/>
              <a:gd name="connsiteY10" fmla="*/ 348018 h 1081585"/>
              <a:gd name="connsiteX11" fmla="*/ 1279 w 247266"/>
              <a:gd name="connsiteY11" fmla="*/ 392373 h 1081585"/>
              <a:gd name="connsiteX12" fmla="*/ 1279 w 247266"/>
              <a:gd name="connsiteY12" fmla="*/ 423081 h 1081585"/>
              <a:gd name="connsiteX13" fmla="*/ 11514 w 247266"/>
              <a:gd name="connsiteY13" fmla="*/ 450376 h 1081585"/>
              <a:gd name="connsiteX14" fmla="*/ 18338 w 247266"/>
              <a:gd name="connsiteY14" fmla="*/ 474260 h 1081585"/>
              <a:gd name="connsiteX15" fmla="*/ 18338 w 247266"/>
              <a:gd name="connsiteY15" fmla="*/ 511791 h 1081585"/>
              <a:gd name="connsiteX16" fmla="*/ 42222 w 247266"/>
              <a:gd name="connsiteY16" fmla="*/ 549323 h 1081585"/>
              <a:gd name="connsiteX17" fmla="*/ 79753 w 247266"/>
              <a:gd name="connsiteY17" fmla="*/ 586854 h 1081585"/>
              <a:gd name="connsiteX18" fmla="*/ 100225 w 247266"/>
              <a:gd name="connsiteY18" fmla="*/ 603914 h 1081585"/>
              <a:gd name="connsiteX19" fmla="*/ 107049 w 247266"/>
              <a:gd name="connsiteY19" fmla="*/ 648269 h 1081585"/>
              <a:gd name="connsiteX20" fmla="*/ 103637 w 247266"/>
              <a:gd name="connsiteY20" fmla="*/ 689212 h 1081585"/>
              <a:gd name="connsiteX21" fmla="*/ 124108 w 247266"/>
              <a:gd name="connsiteY21" fmla="*/ 736979 h 1081585"/>
              <a:gd name="connsiteX22" fmla="*/ 141168 w 247266"/>
              <a:gd name="connsiteY22" fmla="*/ 747215 h 1081585"/>
              <a:gd name="connsiteX23" fmla="*/ 141168 w 247266"/>
              <a:gd name="connsiteY23" fmla="*/ 781335 h 1081585"/>
              <a:gd name="connsiteX24" fmla="*/ 151404 w 247266"/>
              <a:gd name="connsiteY24" fmla="*/ 815454 h 1081585"/>
              <a:gd name="connsiteX25" fmla="*/ 154816 w 247266"/>
              <a:gd name="connsiteY25" fmla="*/ 852985 h 1081585"/>
              <a:gd name="connsiteX26" fmla="*/ 151404 w 247266"/>
              <a:gd name="connsiteY26" fmla="*/ 887105 h 1081585"/>
              <a:gd name="connsiteX27" fmla="*/ 151404 w 247266"/>
              <a:gd name="connsiteY27" fmla="*/ 948520 h 1081585"/>
              <a:gd name="connsiteX28" fmla="*/ 171876 w 247266"/>
              <a:gd name="connsiteY28" fmla="*/ 986051 h 1081585"/>
              <a:gd name="connsiteX29" fmla="*/ 226467 w 247266"/>
              <a:gd name="connsiteY29" fmla="*/ 1023582 h 1081585"/>
              <a:gd name="connsiteX30" fmla="*/ 243526 w 247266"/>
              <a:gd name="connsiteY30" fmla="*/ 1037230 h 1081585"/>
              <a:gd name="connsiteX31" fmla="*/ 246938 w 247266"/>
              <a:gd name="connsiteY31" fmla="*/ 1061114 h 1081585"/>
              <a:gd name="connsiteX32" fmla="*/ 246938 w 247266"/>
              <a:gd name="connsiteY32" fmla="*/ 1081585 h 1081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47266" h="1081585">
                <a:moveTo>
                  <a:pt x="192347" y="0"/>
                </a:moveTo>
                <a:cubicBezTo>
                  <a:pt x="163346" y="21893"/>
                  <a:pt x="134345" y="43787"/>
                  <a:pt x="117285" y="58003"/>
                </a:cubicBezTo>
                <a:cubicBezTo>
                  <a:pt x="100225" y="72219"/>
                  <a:pt x="97382" y="73357"/>
                  <a:pt x="89989" y="85299"/>
                </a:cubicBezTo>
                <a:cubicBezTo>
                  <a:pt x="82596" y="97241"/>
                  <a:pt x="78615" y="119418"/>
                  <a:pt x="72929" y="129654"/>
                </a:cubicBezTo>
                <a:cubicBezTo>
                  <a:pt x="67242" y="139890"/>
                  <a:pt x="60988" y="137047"/>
                  <a:pt x="55870" y="146714"/>
                </a:cubicBezTo>
                <a:cubicBezTo>
                  <a:pt x="50752" y="156381"/>
                  <a:pt x="42791" y="173441"/>
                  <a:pt x="42222" y="187657"/>
                </a:cubicBezTo>
                <a:cubicBezTo>
                  <a:pt x="41653" y="201873"/>
                  <a:pt x="50183" y="218933"/>
                  <a:pt x="52458" y="232012"/>
                </a:cubicBezTo>
                <a:cubicBezTo>
                  <a:pt x="54733" y="245091"/>
                  <a:pt x="57576" y="256465"/>
                  <a:pt x="55870" y="266132"/>
                </a:cubicBezTo>
                <a:cubicBezTo>
                  <a:pt x="54164" y="275799"/>
                  <a:pt x="47908" y="283760"/>
                  <a:pt x="42222" y="290015"/>
                </a:cubicBezTo>
                <a:cubicBezTo>
                  <a:pt x="36536" y="296270"/>
                  <a:pt x="26868" y="293996"/>
                  <a:pt x="21750" y="303663"/>
                </a:cubicBezTo>
                <a:cubicBezTo>
                  <a:pt x="16632" y="313330"/>
                  <a:pt x="11514" y="348018"/>
                  <a:pt x="11514" y="348018"/>
                </a:cubicBezTo>
                <a:cubicBezTo>
                  <a:pt x="8102" y="362803"/>
                  <a:pt x="2985" y="379863"/>
                  <a:pt x="1279" y="392373"/>
                </a:cubicBezTo>
                <a:cubicBezTo>
                  <a:pt x="-427" y="404884"/>
                  <a:pt x="-427" y="413414"/>
                  <a:pt x="1279" y="423081"/>
                </a:cubicBezTo>
                <a:cubicBezTo>
                  <a:pt x="2985" y="432748"/>
                  <a:pt x="8671" y="441846"/>
                  <a:pt x="11514" y="450376"/>
                </a:cubicBezTo>
                <a:cubicBezTo>
                  <a:pt x="14357" y="458906"/>
                  <a:pt x="17201" y="464024"/>
                  <a:pt x="18338" y="474260"/>
                </a:cubicBezTo>
                <a:cubicBezTo>
                  <a:pt x="19475" y="484496"/>
                  <a:pt x="14357" y="499281"/>
                  <a:pt x="18338" y="511791"/>
                </a:cubicBezTo>
                <a:cubicBezTo>
                  <a:pt x="22319" y="524301"/>
                  <a:pt x="31986" y="536812"/>
                  <a:pt x="42222" y="549323"/>
                </a:cubicBezTo>
                <a:cubicBezTo>
                  <a:pt x="52458" y="561834"/>
                  <a:pt x="70086" y="577756"/>
                  <a:pt x="79753" y="586854"/>
                </a:cubicBezTo>
                <a:cubicBezTo>
                  <a:pt x="89420" y="595952"/>
                  <a:pt x="95676" y="593678"/>
                  <a:pt x="100225" y="603914"/>
                </a:cubicBezTo>
                <a:cubicBezTo>
                  <a:pt x="104774" y="614150"/>
                  <a:pt x="106480" y="634053"/>
                  <a:pt x="107049" y="648269"/>
                </a:cubicBezTo>
                <a:cubicBezTo>
                  <a:pt x="107618" y="662485"/>
                  <a:pt x="100794" y="674427"/>
                  <a:pt x="103637" y="689212"/>
                </a:cubicBezTo>
                <a:cubicBezTo>
                  <a:pt x="106480" y="703997"/>
                  <a:pt x="117853" y="727312"/>
                  <a:pt x="124108" y="736979"/>
                </a:cubicBezTo>
                <a:cubicBezTo>
                  <a:pt x="130363" y="746646"/>
                  <a:pt x="138325" y="739822"/>
                  <a:pt x="141168" y="747215"/>
                </a:cubicBezTo>
                <a:cubicBezTo>
                  <a:pt x="144011" y="754608"/>
                  <a:pt x="139462" y="769962"/>
                  <a:pt x="141168" y="781335"/>
                </a:cubicBezTo>
                <a:cubicBezTo>
                  <a:pt x="142874" y="792708"/>
                  <a:pt x="149129" y="803512"/>
                  <a:pt x="151404" y="815454"/>
                </a:cubicBezTo>
                <a:cubicBezTo>
                  <a:pt x="153679" y="827396"/>
                  <a:pt x="154816" y="841043"/>
                  <a:pt x="154816" y="852985"/>
                </a:cubicBezTo>
                <a:cubicBezTo>
                  <a:pt x="154816" y="864927"/>
                  <a:pt x="151973" y="871183"/>
                  <a:pt x="151404" y="887105"/>
                </a:cubicBezTo>
                <a:cubicBezTo>
                  <a:pt x="150835" y="903027"/>
                  <a:pt x="147992" y="932029"/>
                  <a:pt x="151404" y="948520"/>
                </a:cubicBezTo>
                <a:cubicBezTo>
                  <a:pt x="154816" y="965011"/>
                  <a:pt x="159365" y="973541"/>
                  <a:pt x="171876" y="986051"/>
                </a:cubicBezTo>
                <a:cubicBezTo>
                  <a:pt x="184386" y="998561"/>
                  <a:pt x="214525" y="1015052"/>
                  <a:pt x="226467" y="1023582"/>
                </a:cubicBezTo>
                <a:cubicBezTo>
                  <a:pt x="238409" y="1032112"/>
                  <a:pt x="240114" y="1030975"/>
                  <a:pt x="243526" y="1037230"/>
                </a:cubicBezTo>
                <a:cubicBezTo>
                  <a:pt x="246938" y="1043485"/>
                  <a:pt x="246369" y="1053722"/>
                  <a:pt x="246938" y="1061114"/>
                </a:cubicBezTo>
                <a:cubicBezTo>
                  <a:pt x="247507" y="1068506"/>
                  <a:pt x="247222" y="1075045"/>
                  <a:pt x="246938" y="108158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олилиния 66"/>
          <p:cNvSpPr/>
          <p:nvPr/>
        </p:nvSpPr>
        <p:spPr>
          <a:xfrm>
            <a:off x="7919113" y="2933890"/>
            <a:ext cx="931460" cy="355337"/>
          </a:xfrm>
          <a:custGeom>
            <a:avLst/>
            <a:gdLst>
              <a:gd name="connsiteX0" fmla="*/ 931460 w 931460"/>
              <a:gd name="connsiteY0" fmla="*/ 314277 h 355337"/>
              <a:gd name="connsiteX1" fmla="*/ 866633 w 931460"/>
              <a:gd name="connsiteY1" fmla="*/ 293806 h 355337"/>
              <a:gd name="connsiteX2" fmla="*/ 839338 w 931460"/>
              <a:gd name="connsiteY2" fmla="*/ 280158 h 355337"/>
              <a:gd name="connsiteX3" fmla="*/ 812042 w 931460"/>
              <a:gd name="connsiteY3" fmla="*/ 280158 h 355337"/>
              <a:gd name="connsiteX4" fmla="*/ 788159 w 931460"/>
              <a:gd name="connsiteY4" fmla="*/ 314277 h 355337"/>
              <a:gd name="connsiteX5" fmla="*/ 781335 w 931460"/>
              <a:gd name="connsiteY5" fmla="*/ 338161 h 355337"/>
              <a:gd name="connsiteX6" fmla="*/ 767687 w 931460"/>
              <a:gd name="connsiteY6" fmla="*/ 355220 h 355337"/>
              <a:gd name="connsiteX7" fmla="*/ 730156 w 931460"/>
              <a:gd name="connsiteY7" fmla="*/ 344985 h 355337"/>
              <a:gd name="connsiteX8" fmla="*/ 696036 w 931460"/>
              <a:gd name="connsiteY8" fmla="*/ 331337 h 355337"/>
              <a:gd name="connsiteX9" fmla="*/ 634621 w 931460"/>
              <a:gd name="connsiteY9" fmla="*/ 321101 h 355337"/>
              <a:gd name="connsiteX10" fmla="*/ 586854 w 931460"/>
              <a:gd name="connsiteY10" fmla="*/ 331337 h 355337"/>
              <a:gd name="connsiteX11" fmla="*/ 484496 w 931460"/>
              <a:gd name="connsiteY11" fmla="*/ 300629 h 355337"/>
              <a:gd name="connsiteX12" fmla="*/ 446965 w 931460"/>
              <a:gd name="connsiteY12" fmla="*/ 314277 h 355337"/>
              <a:gd name="connsiteX13" fmla="*/ 395786 w 931460"/>
              <a:gd name="connsiteY13" fmla="*/ 307453 h 355337"/>
              <a:gd name="connsiteX14" fmla="*/ 375314 w 931460"/>
              <a:gd name="connsiteY14" fmla="*/ 290394 h 355337"/>
              <a:gd name="connsiteX15" fmla="*/ 341194 w 931460"/>
              <a:gd name="connsiteY15" fmla="*/ 269922 h 355337"/>
              <a:gd name="connsiteX16" fmla="*/ 286603 w 931460"/>
              <a:gd name="connsiteY16" fmla="*/ 249450 h 355337"/>
              <a:gd name="connsiteX17" fmla="*/ 269544 w 931460"/>
              <a:gd name="connsiteY17" fmla="*/ 228979 h 355337"/>
              <a:gd name="connsiteX18" fmla="*/ 235424 w 931460"/>
              <a:gd name="connsiteY18" fmla="*/ 205095 h 355337"/>
              <a:gd name="connsiteX19" fmla="*/ 218365 w 931460"/>
              <a:gd name="connsiteY19" fmla="*/ 184623 h 355337"/>
              <a:gd name="connsiteX20" fmla="*/ 211541 w 931460"/>
              <a:gd name="connsiteY20" fmla="*/ 160740 h 355337"/>
              <a:gd name="connsiteX21" fmla="*/ 170597 w 931460"/>
              <a:gd name="connsiteY21" fmla="*/ 123209 h 355337"/>
              <a:gd name="connsiteX22" fmla="*/ 156950 w 931460"/>
              <a:gd name="connsiteY22" fmla="*/ 112973 h 355337"/>
              <a:gd name="connsiteX23" fmla="*/ 136478 w 931460"/>
              <a:gd name="connsiteY23" fmla="*/ 99325 h 355337"/>
              <a:gd name="connsiteX24" fmla="*/ 105771 w 931460"/>
              <a:gd name="connsiteY24" fmla="*/ 75441 h 355337"/>
              <a:gd name="connsiteX25" fmla="*/ 75063 w 931460"/>
              <a:gd name="connsiteY25" fmla="*/ 54970 h 355337"/>
              <a:gd name="connsiteX26" fmla="*/ 20472 w 931460"/>
              <a:gd name="connsiteY26" fmla="*/ 27674 h 355337"/>
              <a:gd name="connsiteX27" fmla="*/ 6824 w 931460"/>
              <a:gd name="connsiteY27" fmla="*/ 3791 h 355337"/>
              <a:gd name="connsiteX28" fmla="*/ 0 w 931460"/>
              <a:gd name="connsiteY28" fmla="*/ 379 h 355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931460" h="355337">
                <a:moveTo>
                  <a:pt x="931460" y="314277"/>
                </a:moveTo>
                <a:cubicBezTo>
                  <a:pt x="906723" y="306884"/>
                  <a:pt x="881987" y="299492"/>
                  <a:pt x="866633" y="293806"/>
                </a:cubicBezTo>
                <a:cubicBezTo>
                  <a:pt x="851279" y="288119"/>
                  <a:pt x="848437" y="282433"/>
                  <a:pt x="839338" y="280158"/>
                </a:cubicBezTo>
                <a:cubicBezTo>
                  <a:pt x="830239" y="277883"/>
                  <a:pt x="820572" y="274472"/>
                  <a:pt x="812042" y="280158"/>
                </a:cubicBezTo>
                <a:cubicBezTo>
                  <a:pt x="803512" y="285844"/>
                  <a:pt x="793277" y="304610"/>
                  <a:pt x="788159" y="314277"/>
                </a:cubicBezTo>
                <a:cubicBezTo>
                  <a:pt x="783041" y="323944"/>
                  <a:pt x="784747" y="331337"/>
                  <a:pt x="781335" y="338161"/>
                </a:cubicBezTo>
                <a:cubicBezTo>
                  <a:pt x="777923" y="344985"/>
                  <a:pt x="776217" y="354083"/>
                  <a:pt x="767687" y="355220"/>
                </a:cubicBezTo>
                <a:cubicBezTo>
                  <a:pt x="759157" y="356357"/>
                  <a:pt x="742098" y="348965"/>
                  <a:pt x="730156" y="344985"/>
                </a:cubicBezTo>
                <a:cubicBezTo>
                  <a:pt x="718214" y="341005"/>
                  <a:pt x="711958" y="335318"/>
                  <a:pt x="696036" y="331337"/>
                </a:cubicBezTo>
                <a:cubicBezTo>
                  <a:pt x="680114" y="327356"/>
                  <a:pt x="652818" y="321101"/>
                  <a:pt x="634621" y="321101"/>
                </a:cubicBezTo>
                <a:cubicBezTo>
                  <a:pt x="616424" y="321101"/>
                  <a:pt x="611875" y="334749"/>
                  <a:pt x="586854" y="331337"/>
                </a:cubicBezTo>
                <a:cubicBezTo>
                  <a:pt x="561833" y="327925"/>
                  <a:pt x="507811" y="303472"/>
                  <a:pt x="484496" y="300629"/>
                </a:cubicBezTo>
                <a:cubicBezTo>
                  <a:pt x="461181" y="297786"/>
                  <a:pt x="461750" y="313140"/>
                  <a:pt x="446965" y="314277"/>
                </a:cubicBezTo>
                <a:cubicBezTo>
                  <a:pt x="432180" y="315414"/>
                  <a:pt x="407728" y="311433"/>
                  <a:pt x="395786" y="307453"/>
                </a:cubicBezTo>
                <a:cubicBezTo>
                  <a:pt x="383844" y="303473"/>
                  <a:pt x="384413" y="296649"/>
                  <a:pt x="375314" y="290394"/>
                </a:cubicBezTo>
                <a:cubicBezTo>
                  <a:pt x="366215" y="284139"/>
                  <a:pt x="355979" y="276746"/>
                  <a:pt x="341194" y="269922"/>
                </a:cubicBezTo>
                <a:cubicBezTo>
                  <a:pt x="326409" y="263098"/>
                  <a:pt x="298545" y="256274"/>
                  <a:pt x="286603" y="249450"/>
                </a:cubicBezTo>
                <a:cubicBezTo>
                  <a:pt x="274661" y="242626"/>
                  <a:pt x="278074" y="236371"/>
                  <a:pt x="269544" y="228979"/>
                </a:cubicBezTo>
                <a:cubicBezTo>
                  <a:pt x="261014" y="221586"/>
                  <a:pt x="235424" y="205095"/>
                  <a:pt x="235424" y="205095"/>
                </a:cubicBezTo>
                <a:cubicBezTo>
                  <a:pt x="226894" y="197702"/>
                  <a:pt x="222346" y="192016"/>
                  <a:pt x="218365" y="184623"/>
                </a:cubicBezTo>
                <a:cubicBezTo>
                  <a:pt x="214384" y="177230"/>
                  <a:pt x="219502" y="170975"/>
                  <a:pt x="211541" y="160740"/>
                </a:cubicBezTo>
                <a:cubicBezTo>
                  <a:pt x="203580" y="150505"/>
                  <a:pt x="170597" y="123209"/>
                  <a:pt x="170597" y="123209"/>
                </a:cubicBezTo>
                <a:cubicBezTo>
                  <a:pt x="161498" y="115248"/>
                  <a:pt x="162637" y="116954"/>
                  <a:pt x="156950" y="112973"/>
                </a:cubicBezTo>
                <a:cubicBezTo>
                  <a:pt x="151263" y="108992"/>
                  <a:pt x="145008" y="105580"/>
                  <a:pt x="136478" y="99325"/>
                </a:cubicBezTo>
                <a:cubicBezTo>
                  <a:pt x="127948" y="93070"/>
                  <a:pt x="116007" y="82833"/>
                  <a:pt x="105771" y="75441"/>
                </a:cubicBezTo>
                <a:cubicBezTo>
                  <a:pt x="95535" y="68048"/>
                  <a:pt x="89280" y="62931"/>
                  <a:pt x="75063" y="54970"/>
                </a:cubicBezTo>
                <a:cubicBezTo>
                  <a:pt x="60846" y="47009"/>
                  <a:pt x="31845" y="36204"/>
                  <a:pt x="20472" y="27674"/>
                </a:cubicBezTo>
                <a:cubicBezTo>
                  <a:pt x="9099" y="19144"/>
                  <a:pt x="6824" y="3791"/>
                  <a:pt x="6824" y="3791"/>
                </a:cubicBezTo>
                <a:cubicBezTo>
                  <a:pt x="3412" y="-758"/>
                  <a:pt x="1706" y="-190"/>
                  <a:pt x="0" y="379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Полилиния 67"/>
          <p:cNvSpPr/>
          <p:nvPr/>
        </p:nvSpPr>
        <p:spPr>
          <a:xfrm>
            <a:off x="7917973" y="2932750"/>
            <a:ext cx="931460" cy="355337"/>
          </a:xfrm>
          <a:custGeom>
            <a:avLst/>
            <a:gdLst>
              <a:gd name="connsiteX0" fmla="*/ 931460 w 931460"/>
              <a:gd name="connsiteY0" fmla="*/ 314277 h 355337"/>
              <a:gd name="connsiteX1" fmla="*/ 866633 w 931460"/>
              <a:gd name="connsiteY1" fmla="*/ 293806 h 355337"/>
              <a:gd name="connsiteX2" fmla="*/ 839338 w 931460"/>
              <a:gd name="connsiteY2" fmla="*/ 280158 h 355337"/>
              <a:gd name="connsiteX3" fmla="*/ 812042 w 931460"/>
              <a:gd name="connsiteY3" fmla="*/ 280158 h 355337"/>
              <a:gd name="connsiteX4" fmla="*/ 788159 w 931460"/>
              <a:gd name="connsiteY4" fmla="*/ 314277 h 355337"/>
              <a:gd name="connsiteX5" fmla="*/ 781335 w 931460"/>
              <a:gd name="connsiteY5" fmla="*/ 338161 h 355337"/>
              <a:gd name="connsiteX6" fmla="*/ 767687 w 931460"/>
              <a:gd name="connsiteY6" fmla="*/ 355220 h 355337"/>
              <a:gd name="connsiteX7" fmla="*/ 730156 w 931460"/>
              <a:gd name="connsiteY7" fmla="*/ 344985 h 355337"/>
              <a:gd name="connsiteX8" fmla="*/ 696036 w 931460"/>
              <a:gd name="connsiteY8" fmla="*/ 331337 h 355337"/>
              <a:gd name="connsiteX9" fmla="*/ 634621 w 931460"/>
              <a:gd name="connsiteY9" fmla="*/ 321101 h 355337"/>
              <a:gd name="connsiteX10" fmla="*/ 586854 w 931460"/>
              <a:gd name="connsiteY10" fmla="*/ 331337 h 355337"/>
              <a:gd name="connsiteX11" fmla="*/ 484496 w 931460"/>
              <a:gd name="connsiteY11" fmla="*/ 300629 h 355337"/>
              <a:gd name="connsiteX12" fmla="*/ 446965 w 931460"/>
              <a:gd name="connsiteY12" fmla="*/ 314277 h 355337"/>
              <a:gd name="connsiteX13" fmla="*/ 395786 w 931460"/>
              <a:gd name="connsiteY13" fmla="*/ 307453 h 355337"/>
              <a:gd name="connsiteX14" fmla="*/ 375314 w 931460"/>
              <a:gd name="connsiteY14" fmla="*/ 290394 h 355337"/>
              <a:gd name="connsiteX15" fmla="*/ 341194 w 931460"/>
              <a:gd name="connsiteY15" fmla="*/ 269922 h 355337"/>
              <a:gd name="connsiteX16" fmla="*/ 286603 w 931460"/>
              <a:gd name="connsiteY16" fmla="*/ 249450 h 355337"/>
              <a:gd name="connsiteX17" fmla="*/ 269544 w 931460"/>
              <a:gd name="connsiteY17" fmla="*/ 228979 h 355337"/>
              <a:gd name="connsiteX18" fmla="*/ 235424 w 931460"/>
              <a:gd name="connsiteY18" fmla="*/ 205095 h 355337"/>
              <a:gd name="connsiteX19" fmla="*/ 218365 w 931460"/>
              <a:gd name="connsiteY19" fmla="*/ 184623 h 355337"/>
              <a:gd name="connsiteX20" fmla="*/ 211541 w 931460"/>
              <a:gd name="connsiteY20" fmla="*/ 160740 h 355337"/>
              <a:gd name="connsiteX21" fmla="*/ 170597 w 931460"/>
              <a:gd name="connsiteY21" fmla="*/ 123209 h 355337"/>
              <a:gd name="connsiteX22" fmla="*/ 156950 w 931460"/>
              <a:gd name="connsiteY22" fmla="*/ 112973 h 355337"/>
              <a:gd name="connsiteX23" fmla="*/ 136478 w 931460"/>
              <a:gd name="connsiteY23" fmla="*/ 99325 h 355337"/>
              <a:gd name="connsiteX24" fmla="*/ 105771 w 931460"/>
              <a:gd name="connsiteY24" fmla="*/ 75441 h 355337"/>
              <a:gd name="connsiteX25" fmla="*/ 75063 w 931460"/>
              <a:gd name="connsiteY25" fmla="*/ 54970 h 355337"/>
              <a:gd name="connsiteX26" fmla="*/ 20472 w 931460"/>
              <a:gd name="connsiteY26" fmla="*/ 27674 h 355337"/>
              <a:gd name="connsiteX27" fmla="*/ 6824 w 931460"/>
              <a:gd name="connsiteY27" fmla="*/ 3791 h 355337"/>
              <a:gd name="connsiteX28" fmla="*/ 0 w 931460"/>
              <a:gd name="connsiteY28" fmla="*/ 379 h 355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931460" h="355337">
                <a:moveTo>
                  <a:pt x="931460" y="314277"/>
                </a:moveTo>
                <a:cubicBezTo>
                  <a:pt x="906723" y="306884"/>
                  <a:pt x="881987" y="299492"/>
                  <a:pt x="866633" y="293806"/>
                </a:cubicBezTo>
                <a:cubicBezTo>
                  <a:pt x="851279" y="288119"/>
                  <a:pt x="848437" y="282433"/>
                  <a:pt x="839338" y="280158"/>
                </a:cubicBezTo>
                <a:cubicBezTo>
                  <a:pt x="830239" y="277883"/>
                  <a:pt x="820572" y="274472"/>
                  <a:pt x="812042" y="280158"/>
                </a:cubicBezTo>
                <a:cubicBezTo>
                  <a:pt x="803512" y="285844"/>
                  <a:pt x="793277" y="304610"/>
                  <a:pt x="788159" y="314277"/>
                </a:cubicBezTo>
                <a:cubicBezTo>
                  <a:pt x="783041" y="323944"/>
                  <a:pt x="784747" y="331337"/>
                  <a:pt x="781335" y="338161"/>
                </a:cubicBezTo>
                <a:cubicBezTo>
                  <a:pt x="777923" y="344985"/>
                  <a:pt x="776217" y="354083"/>
                  <a:pt x="767687" y="355220"/>
                </a:cubicBezTo>
                <a:cubicBezTo>
                  <a:pt x="759157" y="356357"/>
                  <a:pt x="742098" y="348965"/>
                  <a:pt x="730156" y="344985"/>
                </a:cubicBezTo>
                <a:cubicBezTo>
                  <a:pt x="718214" y="341005"/>
                  <a:pt x="711958" y="335318"/>
                  <a:pt x="696036" y="331337"/>
                </a:cubicBezTo>
                <a:cubicBezTo>
                  <a:pt x="680114" y="327356"/>
                  <a:pt x="652818" y="321101"/>
                  <a:pt x="634621" y="321101"/>
                </a:cubicBezTo>
                <a:cubicBezTo>
                  <a:pt x="616424" y="321101"/>
                  <a:pt x="611875" y="334749"/>
                  <a:pt x="586854" y="331337"/>
                </a:cubicBezTo>
                <a:cubicBezTo>
                  <a:pt x="561833" y="327925"/>
                  <a:pt x="507811" y="303472"/>
                  <a:pt x="484496" y="300629"/>
                </a:cubicBezTo>
                <a:cubicBezTo>
                  <a:pt x="461181" y="297786"/>
                  <a:pt x="461750" y="313140"/>
                  <a:pt x="446965" y="314277"/>
                </a:cubicBezTo>
                <a:cubicBezTo>
                  <a:pt x="432180" y="315414"/>
                  <a:pt x="407728" y="311433"/>
                  <a:pt x="395786" y="307453"/>
                </a:cubicBezTo>
                <a:cubicBezTo>
                  <a:pt x="383844" y="303473"/>
                  <a:pt x="384413" y="296649"/>
                  <a:pt x="375314" y="290394"/>
                </a:cubicBezTo>
                <a:cubicBezTo>
                  <a:pt x="366215" y="284139"/>
                  <a:pt x="355979" y="276746"/>
                  <a:pt x="341194" y="269922"/>
                </a:cubicBezTo>
                <a:cubicBezTo>
                  <a:pt x="326409" y="263098"/>
                  <a:pt x="298545" y="256274"/>
                  <a:pt x="286603" y="249450"/>
                </a:cubicBezTo>
                <a:cubicBezTo>
                  <a:pt x="274661" y="242626"/>
                  <a:pt x="278074" y="236371"/>
                  <a:pt x="269544" y="228979"/>
                </a:cubicBezTo>
                <a:cubicBezTo>
                  <a:pt x="261014" y="221586"/>
                  <a:pt x="235424" y="205095"/>
                  <a:pt x="235424" y="205095"/>
                </a:cubicBezTo>
                <a:cubicBezTo>
                  <a:pt x="226894" y="197702"/>
                  <a:pt x="222346" y="192016"/>
                  <a:pt x="218365" y="184623"/>
                </a:cubicBezTo>
                <a:cubicBezTo>
                  <a:pt x="214384" y="177230"/>
                  <a:pt x="219502" y="170975"/>
                  <a:pt x="211541" y="160740"/>
                </a:cubicBezTo>
                <a:cubicBezTo>
                  <a:pt x="203580" y="150505"/>
                  <a:pt x="170597" y="123209"/>
                  <a:pt x="170597" y="123209"/>
                </a:cubicBezTo>
                <a:cubicBezTo>
                  <a:pt x="161498" y="115248"/>
                  <a:pt x="162637" y="116954"/>
                  <a:pt x="156950" y="112973"/>
                </a:cubicBezTo>
                <a:cubicBezTo>
                  <a:pt x="151263" y="108992"/>
                  <a:pt x="145008" y="105580"/>
                  <a:pt x="136478" y="99325"/>
                </a:cubicBezTo>
                <a:cubicBezTo>
                  <a:pt x="127948" y="93070"/>
                  <a:pt x="116007" y="82833"/>
                  <a:pt x="105771" y="75441"/>
                </a:cubicBezTo>
                <a:cubicBezTo>
                  <a:pt x="95535" y="68048"/>
                  <a:pt x="89280" y="62931"/>
                  <a:pt x="75063" y="54970"/>
                </a:cubicBezTo>
                <a:cubicBezTo>
                  <a:pt x="60846" y="47009"/>
                  <a:pt x="31845" y="36204"/>
                  <a:pt x="20472" y="27674"/>
                </a:cubicBezTo>
                <a:cubicBezTo>
                  <a:pt x="9099" y="19144"/>
                  <a:pt x="6824" y="3791"/>
                  <a:pt x="6824" y="3791"/>
                </a:cubicBezTo>
                <a:cubicBezTo>
                  <a:pt x="3412" y="-758"/>
                  <a:pt x="1706" y="-190"/>
                  <a:pt x="0" y="379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Полилиния 68"/>
          <p:cNvSpPr/>
          <p:nvPr/>
        </p:nvSpPr>
        <p:spPr>
          <a:xfrm>
            <a:off x="7847226" y="2866030"/>
            <a:ext cx="85298" cy="85298"/>
          </a:xfrm>
          <a:custGeom>
            <a:avLst/>
            <a:gdLst>
              <a:gd name="connsiteX0" fmla="*/ 0 w 85298"/>
              <a:gd name="connsiteY0" fmla="*/ 0 h 85298"/>
              <a:gd name="connsiteX1" fmla="*/ 61415 w 85298"/>
              <a:gd name="connsiteY1" fmla="*/ 10236 h 85298"/>
              <a:gd name="connsiteX2" fmla="*/ 64827 w 85298"/>
              <a:gd name="connsiteY2" fmla="*/ 23883 h 85298"/>
              <a:gd name="connsiteX3" fmla="*/ 61415 w 85298"/>
              <a:gd name="connsiteY3" fmla="*/ 44355 h 85298"/>
              <a:gd name="connsiteX4" fmla="*/ 61415 w 85298"/>
              <a:gd name="connsiteY4" fmla="*/ 58003 h 85298"/>
              <a:gd name="connsiteX5" fmla="*/ 78474 w 85298"/>
              <a:gd name="connsiteY5" fmla="*/ 71651 h 85298"/>
              <a:gd name="connsiteX6" fmla="*/ 81886 w 85298"/>
              <a:gd name="connsiteY6" fmla="*/ 78475 h 85298"/>
              <a:gd name="connsiteX7" fmla="*/ 85298 w 85298"/>
              <a:gd name="connsiteY7" fmla="*/ 85298 h 85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298" h="85298">
                <a:moveTo>
                  <a:pt x="0" y="0"/>
                </a:moveTo>
                <a:lnTo>
                  <a:pt x="61415" y="10236"/>
                </a:lnTo>
                <a:cubicBezTo>
                  <a:pt x="72220" y="14217"/>
                  <a:pt x="64827" y="18197"/>
                  <a:pt x="64827" y="23883"/>
                </a:cubicBezTo>
                <a:cubicBezTo>
                  <a:pt x="64827" y="29569"/>
                  <a:pt x="61984" y="38668"/>
                  <a:pt x="61415" y="44355"/>
                </a:cubicBezTo>
                <a:cubicBezTo>
                  <a:pt x="60846" y="50042"/>
                  <a:pt x="58572" y="53454"/>
                  <a:pt x="61415" y="58003"/>
                </a:cubicBezTo>
                <a:cubicBezTo>
                  <a:pt x="64258" y="62552"/>
                  <a:pt x="78474" y="71651"/>
                  <a:pt x="78474" y="71651"/>
                </a:cubicBezTo>
                <a:cubicBezTo>
                  <a:pt x="81886" y="75063"/>
                  <a:pt x="81886" y="78475"/>
                  <a:pt x="81886" y="78475"/>
                </a:cubicBezTo>
                <a:lnTo>
                  <a:pt x="85298" y="85298"/>
                </a:lnTo>
              </a:path>
            </a:pathLst>
          </a:custGeom>
          <a:noFill/>
          <a:ln w="571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олилиния 69"/>
          <p:cNvSpPr/>
          <p:nvPr/>
        </p:nvSpPr>
        <p:spPr>
          <a:xfrm>
            <a:off x="7849737" y="2871714"/>
            <a:ext cx="85298" cy="85298"/>
          </a:xfrm>
          <a:custGeom>
            <a:avLst/>
            <a:gdLst>
              <a:gd name="connsiteX0" fmla="*/ 0 w 85298"/>
              <a:gd name="connsiteY0" fmla="*/ 0 h 85298"/>
              <a:gd name="connsiteX1" fmla="*/ 61415 w 85298"/>
              <a:gd name="connsiteY1" fmla="*/ 10236 h 85298"/>
              <a:gd name="connsiteX2" fmla="*/ 64827 w 85298"/>
              <a:gd name="connsiteY2" fmla="*/ 23883 h 85298"/>
              <a:gd name="connsiteX3" fmla="*/ 61415 w 85298"/>
              <a:gd name="connsiteY3" fmla="*/ 44355 h 85298"/>
              <a:gd name="connsiteX4" fmla="*/ 61415 w 85298"/>
              <a:gd name="connsiteY4" fmla="*/ 58003 h 85298"/>
              <a:gd name="connsiteX5" fmla="*/ 78474 w 85298"/>
              <a:gd name="connsiteY5" fmla="*/ 71651 h 85298"/>
              <a:gd name="connsiteX6" fmla="*/ 81886 w 85298"/>
              <a:gd name="connsiteY6" fmla="*/ 78475 h 85298"/>
              <a:gd name="connsiteX7" fmla="*/ 85298 w 85298"/>
              <a:gd name="connsiteY7" fmla="*/ 85298 h 85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298" h="85298">
                <a:moveTo>
                  <a:pt x="0" y="0"/>
                </a:moveTo>
                <a:lnTo>
                  <a:pt x="61415" y="10236"/>
                </a:lnTo>
                <a:cubicBezTo>
                  <a:pt x="72220" y="14217"/>
                  <a:pt x="64827" y="18197"/>
                  <a:pt x="64827" y="23883"/>
                </a:cubicBezTo>
                <a:cubicBezTo>
                  <a:pt x="64827" y="29569"/>
                  <a:pt x="61984" y="38668"/>
                  <a:pt x="61415" y="44355"/>
                </a:cubicBezTo>
                <a:cubicBezTo>
                  <a:pt x="60846" y="50042"/>
                  <a:pt x="58572" y="53454"/>
                  <a:pt x="61415" y="58003"/>
                </a:cubicBezTo>
                <a:cubicBezTo>
                  <a:pt x="64258" y="62552"/>
                  <a:pt x="78474" y="71651"/>
                  <a:pt x="78474" y="71651"/>
                </a:cubicBezTo>
                <a:cubicBezTo>
                  <a:pt x="81886" y="75063"/>
                  <a:pt x="81886" y="78475"/>
                  <a:pt x="81886" y="78475"/>
                </a:cubicBezTo>
                <a:lnTo>
                  <a:pt x="85298" y="85298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олилиния 59"/>
          <p:cNvSpPr/>
          <p:nvPr/>
        </p:nvSpPr>
        <p:spPr>
          <a:xfrm>
            <a:off x="7820167" y="2589663"/>
            <a:ext cx="170597" cy="266131"/>
          </a:xfrm>
          <a:custGeom>
            <a:avLst/>
            <a:gdLst>
              <a:gd name="connsiteX0" fmla="*/ 170597 w 170597"/>
              <a:gd name="connsiteY0" fmla="*/ 0 h 266131"/>
              <a:gd name="connsiteX1" fmla="*/ 116006 w 170597"/>
              <a:gd name="connsiteY1" fmla="*/ 81886 h 266131"/>
              <a:gd name="connsiteX2" fmla="*/ 71651 w 170597"/>
              <a:gd name="connsiteY2" fmla="*/ 126241 h 266131"/>
              <a:gd name="connsiteX3" fmla="*/ 51179 w 170597"/>
              <a:gd name="connsiteY3" fmla="*/ 153537 h 266131"/>
              <a:gd name="connsiteX4" fmla="*/ 47767 w 170597"/>
              <a:gd name="connsiteY4" fmla="*/ 201304 h 266131"/>
              <a:gd name="connsiteX5" fmla="*/ 40944 w 170597"/>
              <a:gd name="connsiteY5" fmla="*/ 228600 h 266131"/>
              <a:gd name="connsiteX6" fmla="*/ 13648 w 170597"/>
              <a:gd name="connsiteY6" fmla="*/ 259307 h 266131"/>
              <a:gd name="connsiteX7" fmla="*/ 0 w 170597"/>
              <a:gd name="connsiteY7" fmla="*/ 266131 h 266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597" h="266131">
                <a:moveTo>
                  <a:pt x="170597" y="0"/>
                </a:moveTo>
                <a:cubicBezTo>
                  <a:pt x="151547" y="30423"/>
                  <a:pt x="132497" y="60846"/>
                  <a:pt x="116006" y="81886"/>
                </a:cubicBezTo>
                <a:cubicBezTo>
                  <a:pt x="99515" y="102926"/>
                  <a:pt x="82455" y="114299"/>
                  <a:pt x="71651" y="126241"/>
                </a:cubicBezTo>
                <a:cubicBezTo>
                  <a:pt x="60846" y="138183"/>
                  <a:pt x="55160" y="141027"/>
                  <a:pt x="51179" y="153537"/>
                </a:cubicBezTo>
                <a:cubicBezTo>
                  <a:pt x="47198" y="166047"/>
                  <a:pt x="49473" y="188794"/>
                  <a:pt x="47767" y="201304"/>
                </a:cubicBezTo>
                <a:cubicBezTo>
                  <a:pt x="46061" y="213815"/>
                  <a:pt x="46630" y="218933"/>
                  <a:pt x="40944" y="228600"/>
                </a:cubicBezTo>
                <a:cubicBezTo>
                  <a:pt x="35258" y="238267"/>
                  <a:pt x="20472" y="253052"/>
                  <a:pt x="13648" y="259307"/>
                </a:cubicBezTo>
                <a:cubicBezTo>
                  <a:pt x="6824" y="265562"/>
                  <a:pt x="3412" y="265846"/>
                  <a:pt x="0" y="266131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олилиния 60"/>
          <p:cNvSpPr/>
          <p:nvPr/>
        </p:nvSpPr>
        <p:spPr>
          <a:xfrm>
            <a:off x="7819027" y="2588523"/>
            <a:ext cx="170597" cy="266131"/>
          </a:xfrm>
          <a:custGeom>
            <a:avLst/>
            <a:gdLst>
              <a:gd name="connsiteX0" fmla="*/ 170597 w 170597"/>
              <a:gd name="connsiteY0" fmla="*/ 0 h 266131"/>
              <a:gd name="connsiteX1" fmla="*/ 116006 w 170597"/>
              <a:gd name="connsiteY1" fmla="*/ 81886 h 266131"/>
              <a:gd name="connsiteX2" fmla="*/ 71651 w 170597"/>
              <a:gd name="connsiteY2" fmla="*/ 126241 h 266131"/>
              <a:gd name="connsiteX3" fmla="*/ 51179 w 170597"/>
              <a:gd name="connsiteY3" fmla="*/ 153537 h 266131"/>
              <a:gd name="connsiteX4" fmla="*/ 47767 w 170597"/>
              <a:gd name="connsiteY4" fmla="*/ 201304 h 266131"/>
              <a:gd name="connsiteX5" fmla="*/ 40944 w 170597"/>
              <a:gd name="connsiteY5" fmla="*/ 228600 h 266131"/>
              <a:gd name="connsiteX6" fmla="*/ 13648 w 170597"/>
              <a:gd name="connsiteY6" fmla="*/ 259307 h 266131"/>
              <a:gd name="connsiteX7" fmla="*/ 0 w 170597"/>
              <a:gd name="connsiteY7" fmla="*/ 266131 h 266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597" h="266131">
                <a:moveTo>
                  <a:pt x="170597" y="0"/>
                </a:moveTo>
                <a:cubicBezTo>
                  <a:pt x="151547" y="30423"/>
                  <a:pt x="132497" y="60846"/>
                  <a:pt x="116006" y="81886"/>
                </a:cubicBezTo>
                <a:cubicBezTo>
                  <a:pt x="99515" y="102926"/>
                  <a:pt x="82455" y="114299"/>
                  <a:pt x="71651" y="126241"/>
                </a:cubicBezTo>
                <a:cubicBezTo>
                  <a:pt x="60846" y="138183"/>
                  <a:pt x="55160" y="141027"/>
                  <a:pt x="51179" y="153537"/>
                </a:cubicBezTo>
                <a:cubicBezTo>
                  <a:pt x="47198" y="166047"/>
                  <a:pt x="49473" y="188794"/>
                  <a:pt x="47767" y="201304"/>
                </a:cubicBezTo>
                <a:cubicBezTo>
                  <a:pt x="46061" y="213815"/>
                  <a:pt x="46630" y="218933"/>
                  <a:pt x="40944" y="228600"/>
                </a:cubicBezTo>
                <a:cubicBezTo>
                  <a:pt x="35258" y="238267"/>
                  <a:pt x="20472" y="253052"/>
                  <a:pt x="13648" y="259307"/>
                </a:cubicBezTo>
                <a:cubicBezTo>
                  <a:pt x="6824" y="265562"/>
                  <a:pt x="3412" y="265846"/>
                  <a:pt x="0" y="266131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Блок-схема: узел 61"/>
          <p:cNvSpPr/>
          <p:nvPr/>
        </p:nvSpPr>
        <p:spPr>
          <a:xfrm>
            <a:off x="7941083" y="2544312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олилиния 78"/>
          <p:cNvSpPr/>
          <p:nvPr/>
        </p:nvSpPr>
        <p:spPr>
          <a:xfrm>
            <a:off x="7886700" y="3594100"/>
            <a:ext cx="403225" cy="83388"/>
          </a:xfrm>
          <a:custGeom>
            <a:avLst/>
            <a:gdLst>
              <a:gd name="connsiteX0" fmla="*/ 0 w 403225"/>
              <a:gd name="connsiteY0" fmla="*/ 0 h 83388"/>
              <a:gd name="connsiteX1" fmla="*/ 53975 w 403225"/>
              <a:gd name="connsiteY1" fmla="*/ 19050 h 83388"/>
              <a:gd name="connsiteX2" fmla="*/ 79375 w 403225"/>
              <a:gd name="connsiteY2" fmla="*/ 15875 h 83388"/>
              <a:gd name="connsiteX3" fmla="*/ 104775 w 403225"/>
              <a:gd name="connsiteY3" fmla="*/ 3175 h 83388"/>
              <a:gd name="connsiteX4" fmla="*/ 139700 w 403225"/>
              <a:gd name="connsiteY4" fmla="*/ 19050 h 83388"/>
              <a:gd name="connsiteX5" fmla="*/ 152400 w 403225"/>
              <a:gd name="connsiteY5" fmla="*/ 34925 h 83388"/>
              <a:gd name="connsiteX6" fmla="*/ 165100 w 403225"/>
              <a:gd name="connsiteY6" fmla="*/ 47625 h 83388"/>
              <a:gd name="connsiteX7" fmla="*/ 187325 w 403225"/>
              <a:gd name="connsiteY7" fmla="*/ 66675 h 83388"/>
              <a:gd name="connsiteX8" fmla="*/ 215900 w 403225"/>
              <a:gd name="connsiteY8" fmla="*/ 79375 h 83388"/>
              <a:gd name="connsiteX9" fmla="*/ 234950 w 403225"/>
              <a:gd name="connsiteY9" fmla="*/ 79375 h 83388"/>
              <a:gd name="connsiteX10" fmla="*/ 263525 w 403225"/>
              <a:gd name="connsiteY10" fmla="*/ 82550 h 83388"/>
              <a:gd name="connsiteX11" fmla="*/ 292100 w 403225"/>
              <a:gd name="connsiteY11" fmla="*/ 82550 h 83388"/>
              <a:gd name="connsiteX12" fmla="*/ 314325 w 403225"/>
              <a:gd name="connsiteY12" fmla="*/ 73025 h 83388"/>
              <a:gd name="connsiteX13" fmla="*/ 336550 w 403225"/>
              <a:gd name="connsiteY13" fmla="*/ 66675 h 83388"/>
              <a:gd name="connsiteX14" fmla="*/ 358775 w 403225"/>
              <a:gd name="connsiteY14" fmla="*/ 73025 h 83388"/>
              <a:gd name="connsiteX15" fmla="*/ 384175 w 403225"/>
              <a:gd name="connsiteY15" fmla="*/ 73025 h 83388"/>
              <a:gd name="connsiteX16" fmla="*/ 403225 w 403225"/>
              <a:gd name="connsiteY16" fmla="*/ 73025 h 83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03225" h="83388">
                <a:moveTo>
                  <a:pt x="0" y="0"/>
                </a:moveTo>
                <a:cubicBezTo>
                  <a:pt x="20373" y="8202"/>
                  <a:pt x="40746" y="16404"/>
                  <a:pt x="53975" y="19050"/>
                </a:cubicBezTo>
                <a:cubicBezTo>
                  <a:pt x="67204" y="21696"/>
                  <a:pt x="70908" y="18521"/>
                  <a:pt x="79375" y="15875"/>
                </a:cubicBezTo>
                <a:cubicBezTo>
                  <a:pt x="87842" y="13229"/>
                  <a:pt x="94721" y="2646"/>
                  <a:pt x="104775" y="3175"/>
                </a:cubicBezTo>
                <a:cubicBezTo>
                  <a:pt x="114829" y="3704"/>
                  <a:pt x="131763" y="13758"/>
                  <a:pt x="139700" y="19050"/>
                </a:cubicBezTo>
                <a:cubicBezTo>
                  <a:pt x="147637" y="24342"/>
                  <a:pt x="148167" y="30163"/>
                  <a:pt x="152400" y="34925"/>
                </a:cubicBezTo>
                <a:cubicBezTo>
                  <a:pt x="156633" y="39687"/>
                  <a:pt x="159279" y="42333"/>
                  <a:pt x="165100" y="47625"/>
                </a:cubicBezTo>
                <a:cubicBezTo>
                  <a:pt x="170921" y="52917"/>
                  <a:pt x="178858" y="61383"/>
                  <a:pt x="187325" y="66675"/>
                </a:cubicBezTo>
                <a:cubicBezTo>
                  <a:pt x="195792" y="71967"/>
                  <a:pt x="207963" y="77258"/>
                  <a:pt x="215900" y="79375"/>
                </a:cubicBezTo>
                <a:cubicBezTo>
                  <a:pt x="223837" y="81492"/>
                  <a:pt x="227013" y="78846"/>
                  <a:pt x="234950" y="79375"/>
                </a:cubicBezTo>
                <a:cubicBezTo>
                  <a:pt x="242888" y="79904"/>
                  <a:pt x="254000" y="82021"/>
                  <a:pt x="263525" y="82550"/>
                </a:cubicBezTo>
                <a:cubicBezTo>
                  <a:pt x="273050" y="83079"/>
                  <a:pt x="283633" y="84137"/>
                  <a:pt x="292100" y="82550"/>
                </a:cubicBezTo>
                <a:cubicBezTo>
                  <a:pt x="300567" y="80963"/>
                  <a:pt x="306917" y="75671"/>
                  <a:pt x="314325" y="73025"/>
                </a:cubicBezTo>
                <a:cubicBezTo>
                  <a:pt x="321733" y="70379"/>
                  <a:pt x="329142" y="66675"/>
                  <a:pt x="336550" y="66675"/>
                </a:cubicBezTo>
                <a:cubicBezTo>
                  <a:pt x="343958" y="66675"/>
                  <a:pt x="350838" y="71967"/>
                  <a:pt x="358775" y="73025"/>
                </a:cubicBezTo>
                <a:cubicBezTo>
                  <a:pt x="366712" y="74083"/>
                  <a:pt x="384175" y="73025"/>
                  <a:pt x="384175" y="73025"/>
                </a:cubicBezTo>
                <a:lnTo>
                  <a:pt x="403225" y="73025"/>
                </a:ln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олилиния 77"/>
          <p:cNvSpPr/>
          <p:nvPr/>
        </p:nvSpPr>
        <p:spPr>
          <a:xfrm>
            <a:off x="7794625" y="3590925"/>
            <a:ext cx="104775" cy="13493"/>
          </a:xfrm>
          <a:custGeom>
            <a:avLst/>
            <a:gdLst>
              <a:gd name="connsiteX0" fmla="*/ 104775 w 104775"/>
              <a:gd name="connsiteY0" fmla="*/ 6350 h 13493"/>
              <a:gd name="connsiteX1" fmla="*/ 50800 w 104775"/>
              <a:gd name="connsiteY1" fmla="*/ 12700 h 13493"/>
              <a:gd name="connsiteX2" fmla="*/ 38100 w 104775"/>
              <a:gd name="connsiteY2" fmla="*/ 12700 h 13493"/>
              <a:gd name="connsiteX3" fmla="*/ 22225 w 104775"/>
              <a:gd name="connsiteY3" fmla="*/ 6350 h 13493"/>
              <a:gd name="connsiteX4" fmla="*/ 0 w 104775"/>
              <a:gd name="connsiteY4" fmla="*/ 0 h 13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75" h="13493">
                <a:moveTo>
                  <a:pt x="104775" y="6350"/>
                </a:moveTo>
                <a:lnTo>
                  <a:pt x="50800" y="12700"/>
                </a:lnTo>
                <a:cubicBezTo>
                  <a:pt x="39688" y="13758"/>
                  <a:pt x="42862" y="13758"/>
                  <a:pt x="38100" y="12700"/>
                </a:cubicBezTo>
                <a:cubicBezTo>
                  <a:pt x="33338" y="11642"/>
                  <a:pt x="28575" y="8467"/>
                  <a:pt x="22225" y="6350"/>
                </a:cubicBezTo>
                <a:cubicBezTo>
                  <a:pt x="15875" y="4233"/>
                  <a:pt x="7937" y="2116"/>
                  <a:pt x="0" y="0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олилиния 72"/>
          <p:cNvSpPr/>
          <p:nvPr/>
        </p:nvSpPr>
        <p:spPr>
          <a:xfrm>
            <a:off x="7788275" y="3585511"/>
            <a:ext cx="482600" cy="92125"/>
          </a:xfrm>
          <a:custGeom>
            <a:avLst/>
            <a:gdLst>
              <a:gd name="connsiteX0" fmla="*/ 482600 w 482600"/>
              <a:gd name="connsiteY0" fmla="*/ 82550 h 92125"/>
              <a:gd name="connsiteX1" fmla="*/ 425450 w 482600"/>
              <a:gd name="connsiteY1" fmla="*/ 73025 h 92125"/>
              <a:gd name="connsiteX2" fmla="*/ 387350 w 482600"/>
              <a:gd name="connsiteY2" fmla="*/ 85725 h 92125"/>
              <a:gd name="connsiteX3" fmla="*/ 333375 w 482600"/>
              <a:gd name="connsiteY3" fmla="*/ 92075 h 92125"/>
              <a:gd name="connsiteX4" fmla="*/ 295275 w 482600"/>
              <a:gd name="connsiteY4" fmla="*/ 82550 h 92125"/>
              <a:gd name="connsiteX5" fmla="*/ 282575 w 482600"/>
              <a:gd name="connsiteY5" fmla="*/ 79375 h 92125"/>
              <a:gd name="connsiteX6" fmla="*/ 263525 w 482600"/>
              <a:gd name="connsiteY6" fmla="*/ 63500 h 92125"/>
              <a:gd name="connsiteX7" fmla="*/ 247650 w 482600"/>
              <a:gd name="connsiteY7" fmla="*/ 41275 h 92125"/>
              <a:gd name="connsiteX8" fmla="*/ 231775 w 482600"/>
              <a:gd name="connsiteY8" fmla="*/ 25400 h 92125"/>
              <a:gd name="connsiteX9" fmla="*/ 209550 w 482600"/>
              <a:gd name="connsiteY9" fmla="*/ 9525 h 92125"/>
              <a:gd name="connsiteX10" fmla="*/ 193675 w 482600"/>
              <a:gd name="connsiteY10" fmla="*/ 6350 h 92125"/>
              <a:gd name="connsiteX11" fmla="*/ 180975 w 482600"/>
              <a:gd name="connsiteY11" fmla="*/ 12700 h 92125"/>
              <a:gd name="connsiteX12" fmla="*/ 168275 w 482600"/>
              <a:gd name="connsiteY12" fmla="*/ 25400 h 92125"/>
              <a:gd name="connsiteX13" fmla="*/ 158750 w 482600"/>
              <a:gd name="connsiteY13" fmla="*/ 25400 h 92125"/>
              <a:gd name="connsiteX14" fmla="*/ 136525 w 482600"/>
              <a:gd name="connsiteY14" fmla="*/ 19050 h 92125"/>
              <a:gd name="connsiteX15" fmla="*/ 127000 w 482600"/>
              <a:gd name="connsiteY15" fmla="*/ 15875 h 92125"/>
              <a:gd name="connsiteX16" fmla="*/ 107950 w 482600"/>
              <a:gd name="connsiteY16" fmla="*/ 15875 h 92125"/>
              <a:gd name="connsiteX17" fmla="*/ 88900 w 482600"/>
              <a:gd name="connsiteY17" fmla="*/ 9525 h 92125"/>
              <a:gd name="connsiteX18" fmla="*/ 73025 w 482600"/>
              <a:gd name="connsiteY18" fmla="*/ 0 h 92125"/>
              <a:gd name="connsiteX19" fmla="*/ 44450 w 482600"/>
              <a:gd name="connsiteY19" fmla="*/ 9525 h 92125"/>
              <a:gd name="connsiteX20" fmla="*/ 25400 w 482600"/>
              <a:gd name="connsiteY20" fmla="*/ 9525 h 92125"/>
              <a:gd name="connsiteX21" fmla="*/ 12700 w 482600"/>
              <a:gd name="connsiteY21" fmla="*/ 3175 h 92125"/>
              <a:gd name="connsiteX22" fmla="*/ 0 w 482600"/>
              <a:gd name="connsiteY22" fmla="*/ 3175 h 9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82600" h="92125">
                <a:moveTo>
                  <a:pt x="482600" y="82550"/>
                </a:moveTo>
                <a:cubicBezTo>
                  <a:pt x="461962" y="77523"/>
                  <a:pt x="441325" y="72496"/>
                  <a:pt x="425450" y="73025"/>
                </a:cubicBezTo>
                <a:cubicBezTo>
                  <a:pt x="409575" y="73554"/>
                  <a:pt x="402696" y="82550"/>
                  <a:pt x="387350" y="85725"/>
                </a:cubicBezTo>
                <a:cubicBezTo>
                  <a:pt x="372004" y="88900"/>
                  <a:pt x="348721" y="92604"/>
                  <a:pt x="333375" y="92075"/>
                </a:cubicBezTo>
                <a:cubicBezTo>
                  <a:pt x="318029" y="91546"/>
                  <a:pt x="295275" y="82550"/>
                  <a:pt x="295275" y="82550"/>
                </a:cubicBezTo>
                <a:cubicBezTo>
                  <a:pt x="286808" y="80433"/>
                  <a:pt x="287867" y="82550"/>
                  <a:pt x="282575" y="79375"/>
                </a:cubicBezTo>
                <a:cubicBezTo>
                  <a:pt x="277283" y="76200"/>
                  <a:pt x="269346" y="69850"/>
                  <a:pt x="263525" y="63500"/>
                </a:cubicBezTo>
                <a:cubicBezTo>
                  <a:pt x="257704" y="57150"/>
                  <a:pt x="252942" y="47625"/>
                  <a:pt x="247650" y="41275"/>
                </a:cubicBezTo>
                <a:cubicBezTo>
                  <a:pt x="242358" y="34925"/>
                  <a:pt x="238125" y="30692"/>
                  <a:pt x="231775" y="25400"/>
                </a:cubicBezTo>
                <a:cubicBezTo>
                  <a:pt x="225425" y="20108"/>
                  <a:pt x="215900" y="12700"/>
                  <a:pt x="209550" y="9525"/>
                </a:cubicBezTo>
                <a:cubicBezTo>
                  <a:pt x="203200" y="6350"/>
                  <a:pt x="198437" y="5821"/>
                  <a:pt x="193675" y="6350"/>
                </a:cubicBezTo>
                <a:cubicBezTo>
                  <a:pt x="188912" y="6879"/>
                  <a:pt x="180975" y="12700"/>
                  <a:pt x="180975" y="12700"/>
                </a:cubicBezTo>
                <a:cubicBezTo>
                  <a:pt x="176742" y="15875"/>
                  <a:pt x="168275" y="25400"/>
                  <a:pt x="168275" y="25400"/>
                </a:cubicBezTo>
                <a:cubicBezTo>
                  <a:pt x="164571" y="27517"/>
                  <a:pt x="164041" y="26458"/>
                  <a:pt x="158750" y="25400"/>
                </a:cubicBezTo>
                <a:cubicBezTo>
                  <a:pt x="153459" y="24342"/>
                  <a:pt x="136525" y="19050"/>
                  <a:pt x="136525" y="19050"/>
                </a:cubicBezTo>
                <a:cubicBezTo>
                  <a:pt x="131233" y="17463"/>
                  <a:pt x="131762" y="16404"/>
                  <a:pt x="127000" y="15875"/>
                </a:cubicBezTo>
                <a:cubicBezTo>
                  <a:pt x="122237" y="15346"/>
                  <a:pt x="114300" y="16933"/>
                  <a:pt x="107950" y="15875"/>
                </a:cubicBezTo>
                <a:cubicBezTo>
                  <a:pt x="101600" y="14817"/>
                  <a:pt x="94721" y="12171"/>
                  <a:pt x="88900" y="9525"/>
                </a:cubicBezTo>
                <a:cubicBezTo>
                  <a:pt x="83079" y="6879"/>
                  <a:pt x="80433" y="0"/>
                  <a:pt x="73025" y="0"/>
                </a:cubicBezTo>
                <a:cubicBezTo>
                  <a:pt x="65617" y="0"/>
                  <a:pt x="52388" y="7937"/>
                  <a:pt x="44450" y="9525"/>
                </a:cubicBezTo>
                <a:cubicBezTo>
                  <a:pt x="36512" y="11113"/>
                  <a:pt x="25400" y="9525"/>
                  <a:pt x="25400" y="9525"/>
                </a:cubicBezTo>
                <a:cubicBezTo>
                  <a:pt x="20109" y="8467"/>
                  <a:pt x="16933" y="4233"/>
                  <a:pt x="12700" y="3175"/>
                </a:cubicBezTo>
                <a:cubicBezTo>
                  <a:pt x="8467" y="2117"/>
                  <a:pt x="4233" y="2646"/>
                  <a:pt x="0" y="317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Полилиния 79"/>
          <p:cNvSpPr/>
          <p:nvPr/>
        </p:nvSpPr>
        <p:spPr>
          <a:xfrm>
            <a:off x="7893050" y="3921125"/>
            <a:ext cx="441325" cy="206375"/>
          </a:xfrm>
          <a:custGeom>
            <a:avLst/>
            <a:gdLst>
              <a:gd name="connsiteX0" fmla="*/ 441325 w 441325"/>
              <a:gd name="connsiteY0" fmla="*/ 206375 h 206375"/>
              <a:gd name="connsiteX1" fmla="*/ 371475 w 441325"/>
              <a:gd name="connsiteY1" fmla="*/ 177800 h 206375"/>
              <a:gd name="connsiteX2" fmla="*/ 355600 w 441325"/>
              <a:gd name="connsiteY2" fmla="*/ 161925 h 206375"/>
              <a:gd name="connsiteX3" fmla="*/ 320675 w 441325"/>
              <a:gd name="connsiteY3" fmla="*/ 161925 h 206375"/>
              <a:gd name="connsiteX4" fmla="*/ 314325 w 441325"/>
              <a:gd name="connsiteY4" fmla="*/ 146050 h 206375"/>
              <a:gd name="connsiteX5" fmla="*/ 298450 w 441325"/>
              <a:gd name="connsiteY5" fmla="*/ 130175 h 206375"/>
              <a:gd name="connsiteX6" fmla="*/ 260350 w 441325"/>
              <a:gd name="connsiteY6" fmla="*/ 98425 h 206375"/>
              <a:gd name="connsiteX7" fmla="*/ 250825 w 441325"/>
              <a:gd name="connsiteY7" fmla="*/ 95250 h 206375"/>
              <a:gd name="connsiteX8" fmla="*/ 212725 w 441325"/>
              <a:gd name="connsiteY8" fmla="*/ 104775 h 206375"/>
              <a:gd name="connsiteX9" fmla="*/ 184150 w 441325"/>
              <a:gd name="connsiteY9" fmla="*/ 95250 h 206375"/>
              <a:gd name="connsiteX10" fmla="*/ 158750 w 441325"/>
              <a:gd name="connsiteY10" fmla="*/ 82550 h 206375"/>
              <a:gd name="connsiteX11" fmla="*/ 117475 w 441325"/>
              <a:gd name="connsiteY11" fmla="*/ 53975 h 206375"/>
              <a:gd name="connsiteX12" fmla="*/ 82550 w 441325"/>
              <a:gd name="connsiteY12" fmla="*/ 34925 h 206375"/>
              <a:gd name="connsiteX13" fmla="*/ 50800 w 441325"/>
              <a:gd name="connsiteY13" fmla="*/ 22225 h 206375"/>
              <a:gd name="connsiteX14" fmla="*/ 25400 w 441325"/>
              <a:gd name="connsiteY14" fmla="*/ 15875 h 206375"/>
              <a:gd name="connsiteX15" fmla="*/ 6350 w 441325"/>
              <a:gd name="connsiteY15" fmla="*/ 6350 h 206375"/>
              <a:gd name="connsiteX16" fmla="*/ 0 w 441325"/>
              <a:gd name="connsiteY16" fmla="*/ 0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1325" h="206375">
                <a:moveTo>
                  <a:pt x="441325" y="206375"/>
                </a:moveTo>
                <a:cubicBezTo>
                  <a:pt x="413543" y="195791"/>
                  <a:pt x="385762" y="185208"/>
                  <a:pt x="371475" y="177800"/>
                </a:cubicBezTo>
                <a:cubicBezTo>
                  <a:pt x="357188" y="170392"/>
                  <a:pt x="364067" y="164571"/>
                  <a:pt x="355600" y="161925"/>
                </a:cubicBezTo>
                <a:cubicBezTo>
                  <a:pt x="347133" y="159279"/>
                  <a:pt x="320675" y="161925"/>
                  <a:pt x="320675" y="161925"/>
                </a:cubicBezTo>
                <a:cubicBezTo>
                  <a:pt x="313796" y="159279"/>
                  <a:pt x="318029" y="151342"/>
                  <a:pt x="314325" y="146050"/>
                </a:cubicBezTo>
                <a:cubicBezTo>
                  <a:pt x="310621" y="140758"/>
                  <a:pt x="307446" y="138112"/>
                  <a:pt x="298450" y="130175"/>
                </a:cubicBezTo>
                <a:cubicBezTo>
                  <a:pt x="289454" y="122237"/>
                  <a:pt x="260350" y="98425"/>
                  <a:pt x="260350" y="98425"/>
                </a:cubicBezTo>
                <a:cubicBezTo>
                  <a:pt x="252413" y="92604"/>
                  <a:pt x="258762" y="94192"/>
                  <a:pt x="250825" y="95250"/>
                </a:cubicBezTo>
                <a:cubicBezTo>
                  <a:pt x="242888" y="96308"/>
                  <a:pt x="223837" y="104775"/>
                  <a:pt x="212725" y="104775"/>
                </a:cubicBezTo>
                <a:cubicBezTo>
                  <a:pt x="201613" y="104775"/>
                  <a:pt x="193146" y="98954"/>
                  <a:pt x="184150" y="95250"/>
                </a:cubicBezTo>
                <a:cubicBezTo>
                  <a:pt x="175154" y="91546"/>
                  <a:pt x="169862" y="89429"/>
                  <a:pt x="158750" y="82550"/>
                </a:cubicBezTo>
                <a:cubicBezTo>
                  <a:pt x="147638" y="75671"/>
                  <a:pt x="130175" y="61912"/>
                  <a:pt x="117475" y="53975"/>
                </a:cubicBezTo>
                <a:cubicBezTo>
                  <a:pt x="104775" y="46038"/>
                  <a:pt x="93662" y="40217"/>
                  <a:pt x="82550" y="34925"/>
                </a:cubicBezTo>
                <a:cubicBezTo>
                  <a:pt x="71437" y="29633"/>
                  <a:pt x="60325" y="25400"/>
                  <a:pt x="50800" y="22225"/>
                </a:cubicBezTo>
                <a:cubicBezTo>
                  <a:pt x="41275" y="19050"/>
                  <a:pt x="32808" y="18521"/>
                  <a:pt x="25400" y="15875"/>
                </a:cubicBezTo>
                <a:cubicBezTo>
                  <a:pt x="17992" y="13229"/>
                  <a:pt x="6350" y="6350"/>
                  <a:pt x="6350" y="6350"/>
                </a:cubicBezTo>
                <a:cubicBezTo>
                  <a:pt x="2117" y="3704"/>
                  <a:pt x="1058" y="1852"/>
                  <a:pt x="0" y="0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олилиния 80"/>
          <p:cNvSpPr/>
          <p:nvPr/>
        </p:nvSpPr>
        <p:spPr>
          <a:xfrm>
            <a:off x="7893050" y="3917950"/>
            <a:ext cx="441325" cy="206375"/>
          </a:xfrm>
          <a:custGeom>
            <a:avLst/>
            <a:gdLst>
              <a:gd name="connsiteX0" fmla="*/ 441325 w 441325"/>
              <a:gd name="connsiteY0" fmla="*/ 206375 h 206375"/>
              <a:gd name="connsiteX1" fmla="*/ 371475 w 441325"/>
              <a:gd name="connsiteY1" fmla="*/ 177800 h 206375"/>
              <a:gd name="connsiteX2" fmla="*/ 355600 w 441325"/>
              <a:gd name="connsiteY2" fmla="*/ 161925 h 206375"/>
              <a:gd name="connsiteX3" fmla="*/ 320675 w 441325"/>
              <a:gd name="connsiteY3" fmla="*/ 161925 h 206375"/>
              <a:gd name="connsiteX4" fmla="*/ 314325 w 441325"/>
              <a:gd name="connsiteY4" fmla="*/ 146050 h 206375"/>
              <a:gd name="connsiteX5" fmla="*/ 298450 w 441325"/>
              <a:gd name="connsiteY5" fmla="*/ 130175 h 206375"/>
              <a:gd name="connsiteX6" fmla="*/ 260350 w 441325"/>
              <a:gd name="connsiteY6" fmla="*/ 98425 h 206375"/>
              <a:gd name="connsiteX7" fmla="*/ 250825 w 441325"/>
              <a:gd name="connsiteY7" fmla="*/ 95250 h 206375"/>
              <a:gd name="connsiteX8" fmla="*/ 212725 w 441325"/>
              <a:gd name="connsiteY8" fmla="*/ 104775 h 206375"/>
              <a:gd name="connsiteX9" fmla="*/ 184150 w 441325"/>
              <a:gd name="connsiteY9" fmla="*/ 95250 h 206375"/>
              <a:gd name="connsiteX10" fmla="*/ 158750 w 441325"/>
              <a:gd name="connsiteY10" fmla="*/ 82550 h 206375"/>
              <a:gd name="connsiteX11" fmla="*/ 117475 w 441325"/>
              <a:gd name="connsiteY11" fmla="*/ 53975 h 206375"/>
              <a:gd name="connsiteX12" fmla="*/ 82550 w 441325"/>
              <a:gd name="connsiteY12" fmla="*/ 34925 h 206375"/>
              <a:gd name="connsiteX13" fmla="*/ 50800 w 441325"/>
              <a:gd name="connsiteY13" fmla="*/ 22225 h 206375"/>
              <a:gd name="connsiteX14" fmla="*/ 25400 w 441325"/>
              <a:gd name="connsiteY14" fmla="*/ 15875 h 206375"/>
              <a:gd name="connsiteX15" fmla="*/ 6350 w 441325"/>
              <a:gd name="connsiteY15" fmla="*/ 6350 h 206375"/>
              <a:gd name="connsiteX16" fmla="*/ 0 w 441325"/>
              <a:gd name="connsiteY16" fmla="*/ 0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1325" h="206375">
                <a:moveTo>
                  <a:pt x="441325" y="206375"/>
                </a:moveTo>
                <a:cubicBezTo>
                  <a:pt x="413543" y="195791"/>
                  <a:pt x="385762" y="185208"/>
                  <a:pt x="371475" y="177800"/>
                </a:cubicBezTo>
                <a:cubicBezTo>
                  <a:pt x="357188" y="170392"/>
                  <a:pt x="364067" y="164571"/>
                  <a:pt x="355600" y="161925"/>
                </a:cubicBezTo>
                <a:cubicBezTo>
                  <a:pt x="347133" y="159279"/>
                  <a:pt x="320675" y="161925"/>
                  <a:pt x="320675" y="161925"/>
                </a:cubicBezTo>
                <a:cubicBezTo>
                  <a:pt x="313796" y="159279"/>
                  <a:pt x="318029" y="151342"/>
                  <a:pt x="314325" y="146050"/>
                </a:cubicBezTo>
                <a:cubicBezTo>
                  <a:pt x="310621" y="140758"/>
                  <a:pt x="307446" y="138112"/>
                  <a:pt x="298450" y="130175"/>
                </a:cubicBezTo>
                <a:cubicBezTo>
                  <a:pt x="289454" y="122237"/>
                  <a:pt x="260350" y="98425"/>
                  <a:pt x="260350" y="98425"/>
                </a:cubicBezTo>
                <a:cubicBezTo>
                  <a:pt x="252413" y="92604"/>
                  <a:pt x="258762" y="94192"/>
                  <a:pt x="250825" y="95250"/>
                </a:cubicBezTo>
                <a:cubicBezTo>
                  <a:pt x="242888" y="96308"/>
                  <a:pt x="223837" y="104775"/>
                  <a:pt x="212725" y="104775"/>
                </a:cubicBezTo>
                <a:cubicBezTo>
                  <a:pt x="201613" y="104775"/>
                  <a:pt x="193146" y="98954"/>
                  <a:pt x="184150" y="95250"/>
                </a:cubicBezTo>
                <a:cubicBezTo>
                  <a:pt x="175154" y="91546"/>
                  <a:pt x="169862" y="89429"/>
                  <a:pt x="158750" y="82550"/>
                </a:cubicBezTo>
                <a:cubicBezTo>
                  <a:pt x="147638" y="75671"/>
                  <a:pt x="130175" y="61912"/>
                  <a:pt x="117475" y="53975"/>
                </a:cubicBezTo>
                <a:cubicBezTo>
                  <a:pt x="104775" y="46038"/>
                  <a:pt x="93662" y="40217"/>
                  <a:pt x="82550" y="34925"/>
                </a:cubicBezTo>
                <a:cubicBezTo>
                  <a:pt x="71437" y="29633"/>
                  <a:pt x="60325" y="25400"/>
                  <a:pt x="50800" y="22225"/>
                </a:cubicBezTo>
                <a:cubicBezTo>
                  <a:pt x="41275" y="19050"/>
                  <a:pt x="32808" y="18521"/>
                  <a:pt x="25400" y="15875"/>
                </a:cubicBezTo>
                <a:cubicBezTo>
                  <a:pt x="17992" y="13229"/>
                  <a:pt x="6350" y="6350"/>
                  <a:pt x="6350" y="6350"/>
                </a:cubicBezTo>
                <a:cubicBezTo>
                  <a:pt x="2117" y="3704"/>
                  <a:pt x="1058" y="1852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Полилиния 85"/>
          <p:cNvSpPr/>
          <p:nvPr/>
        </p:nvSpPr>
        <p:spPr>
          <a:xfrm>
            <a:off x="1831975" y="4283075"/>
            <a:ext cx="158750" cy="200025"/>
          </a:xfrm>
          <a:custGeom>
            <a:avLst/>
            <a:gdLst>
              <a:gd name="connsiteX0" fmla="*/ 158750 w 158750"/>
              <a:gd name="connsiteY0" fmla="*/ 200025 h 200025"/>
              <a:gd name="connsiteX1" fmla="*/ 111125 w 158750"/>
              <a:gd name="connsiteY1" fmla="*/ 158750 h 200025"/>
              <a:gd name="connsiteX2" fmla="*/ 73025 w 158750"/>
              <a:gd name="connsiteY2" fmla="*/ 107950 h 200025"/>
              <a:gd name="connsiteX3" fmla="*/ 60325 w 158750"/>
              <a:gd name="connsiteY3" fmla="*/ 92075 h 200025"/>
              <a:gd name="connsiteX4" fmla="*/ 50800 w 158750"/>
              <a:gd name="connsiteY4" fmla="*/ 76200 h 200025"/>
              <a:gd name="connsiteX5" fmla="*/ 50800 w 158750"/>
              <a:gd name="connsiteY5" fmla="*/ 53975 h 200025"/>
              <a:gd name="connsiteX6" fmla="*/ 47625 w 158750"/>
              <a:gd name="connsiteY6" fmla="*/ 38100 h 200025"/>
              <a:gd name="connsiteX7" fmla="*/ 44450 w 158750"/>
              <a:gd name="connsiteY7" fmla="*/ 31750 h 200025"/>
              <a:gd name="connsiteX8" fmla="*/ 28575 w 158750"/>
              <a:gd name="connsiteY8" fmla="*/ 15875 h 200025"/>
              <a:gd name="connsiteX9" fmla="*/ 12700 w 158750"/>
              <a:gd name="connsiteY9" fmla="*/ 6350 h 200025"/>
              <a:gd name="connsiteX10" fmla="*/ 0 w 158750"/>
              <a:gd name="connsiteY10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8750" h="200025">
                <a:moveTo>
                  <a:pt x="158750" y="200025"/>
                </a:moveTo>
                <a:cubicBezTo>
                  <a:pt x="142081" y="187060"/>
                  <a:pt x="125412" y="174096"/>
                  <a:pt x="111125" y="158750"/>
                </a:cubicBezTo>
                <a:cubicBezTo>
                  <a:pt x="96837" y="143404"/>
                  <a:pt x="81492" y="119062"/>
                  <a:pt x="73025" y="107950"/>
                </a:cubicBezTo>
                <a:cubicBezTo>
                  <a:pt x="64558" y="96838"/>
                  <a:pt x="64029" y="97367"/>
                  <a:pt x="60325" y="92075"/>
                </a:cubicBezTo>
                <a:cubicBezTo>
                  <a:pt x="56621" y="86783"/>
                  <a:pt x="52387" y="82550"/>
                  <a:pt x="50800" y="76200"/>
                </a:cubicBezTo>
                <a:cubicBezTo>
                  <a:pt x="49212" y="69850"/>
                  <a:pt x="50800" y="53975"/>
                  <a:pt x="50800" y="53975"/>
                </a:cubicBezTo>
                <a:cubicBezTo>
                  <a:pt x="50271" y="47625"/>
                  <a:pt x="47625" y="38100"/>
                  <a:pt x="47625" y="38100"/>
                </a:cubicBezTo>
                <a:cubicBezTo>
                  <a:pt x="46567" y="34396"/>
                  <a:pt x="47625" y="35454"/>
                  <a:pt x="44450" y="31750"/>
                </a:cubicBezTo>
                <a:cubicBezTo>
                  <a:pt x="41275" y="28046"/>
                  <a:pt x="33867" y="20108"/>
                  <a:pt x="28575" y="15875"/>
                </a:cubicBezTo>
                <a:cubicBezTo>
                  <a:pt x="23283" y="11642"/>
                  <a:pt x="12700" y="6350"/>
                  <a:pt x="12700" y="6350"/>
                </a:cubicBezTo>
                <a:cubicBezTo>
                  <a:pt x="7938" y="3704"/>
                  <a:pt x="3969" y="1852"/>
                  <a:pt x="0" y="0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Полилиния 86"/>
          <p:cNvSpPr/>
          <p:nvPr/>
        </p:nvSpPr>
        <p:spPr>
          <a:xfrm>
            <a:off x="1828800" y="4276725"/>
            <a:ext cx="158750" cy="200025"/>
          </a:xfrm>
          <a:custGeom>
            <a:avLst/>
            <a:gdLst>
              <a:gd name="connsiteX0" fmla="*/ 158750 w 158750"/>
              <a:gd name="connsiteY0" fmla="*/ 200025 h 200025"/>
              <a:gd name="connsiteX1" fmla="*/ 111125 w 158750"/>
              <a:gd name="connsiteY1" fmla="*/ 158750 h 200025"/>
              <a:gd name="connsiteX2" fmla="*/ 73025 w 158750"/>
              <a:gd name="connsiteY2" fmla="*/ 107950 h 200025"/>
              <a:gd name="connsiteX3" fmla="*/ 60325 w 158750"/>
              <a:gd name="connsiteY3" fmla="*/ 92075 h 200025"/>
              <a:gd name="connsiteX4" fmla="*/ 50800 w 158750"/>
              <a:gd name="connsiteY4" fmla="*/ 76200 h 200025"/>
              <a:gd name="connsiteX5" fmla="*/ 50800 w 158750"/>
              <a:gd name="connsiteY5" fmla="*/ 53975 h 200025"/>
              <a:gd name="connsiteX6" fmla="*/ 47625 w 158750"/>
              <a:gd name="connsiteY6" fmla="*/ 38100 h 200025"/>
              <a:gd name="connsiteX7" fmla="*/ 44450 w 158750"/>
              <a:gd name="connsiteY7" fmla="*/ 31750 h 200025"/>
              <a:gd name="connsiteX8" fmla="*/ 28575 w 158750"/>
              <a:gd name="connsiteY8" fmla="*/ 15875 h 200025"/>
              <a:gd name="connsiteX9" fmla="*/ 12700 w 158750"/>
              <a:gd name="connsiteY9" fmla="*/ 6350 h 200025"/>
              <a:gd name="connsiteX10" fmla="*/ 0 w 158750"/>
              <a:gd name="connsiteY10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8750" h="200025">
                <a:moveTo>
                  <a:pt x="158750" y="200025"/>
                </a:moveTo>
                <a:cubicBezTo>
                  <a:pt x="142081" y="187060"/>
                  <a:pt x="125412" y="174096"/>
                  <a:pt x="111125" y="158750"/>
                </a:cubicBezTo>
                <a:cubicBezTo>
                  <a:pt x="96837" y="143404"/>
                  <a:pt x="81492" y="119062"/>
                  <a:pt x="73025" y="107950"/>
                </a:cubicBezTo>
                <a:cubicBezTo>
                  <a:pt x="64558" y="96838"/>
                  <a:pt x="64029" y="97367"/>
                  <a:pt x="60325" y="92075"/>
                </a:cubicBezTo>
                <a:cubicBezTo>
                  <a:pt x="56621" y="86783"/>
                  <a:pt x="52387" y="82550"/>
                  <a:pt x="50800" y="76200"/>
                </a:cubicBezTo>
                <a:cubicBezTo>
                  <a:pt x="49212" y="69850"/>
                  <a:pt x="50800" y="53975"/>
                  <a:pt x="50800" y="53975"/>
                </a:cubicBezTo>
                <a:cubicBezTo>
                  <a:pt x="50271" y="47625"/>
                  <a:pt x="47625" y="38100"/>
                  <a:pt x="47625" y="38100"/>
                </a:cubicBezTo>
                <a:cubicBezTo>
                  <a:pt x="46567" y="34396"/>
                  <a:pt x="47625" y="35454"/>
                  <a:pt x="44450" y="31750"/>
                </a:cubicBezTo>
                <a:cubicBezTo>
                  <a:pt x="41275" y="28046"/>
                  <a:pt x="33867" y="20108"/>
                  <a:pt x="28575" y="15875"/>
                </a:cubicBezTo>
                <a:cubicBezTo>
                  <a:pt x="23283" y="11642"/>
                  <a:pt x="12700" y="6350"/>
                  <a:pt x="12700" y="6350"/>
                </a:cubicBezTo>
                <a:cubicBezTo>
                  <a:pt x="7938" y="3704"/>
                  <a:pt x="3969" y="1852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олилиния 88"/>
          <p:cNvSpPr/>
          <p:nvPr/>
        </p:nvSpPr>
        <p:spPr>
          <a:xfrm>
            <a:off x="1149350" y="2158437"/>
            <a:ext cx="190500" cy="21289"/>
          </a:xfrm>
          <a:custGeom>
            <a:avLst/>
            <a:gdLst>
              <a:gd name="connsiteX0" fmla="*/ 190500 w 190500"/>
              <a:gd name="connsiteY0" fmla="*/ 6913 h 21289"/>
              <a:gd name="connsiteX1" fmla="*/ 136525 w 190500"/>
              <a:gd name="connsiteY1" fmla="*/ 563 h 21289"/>
              <a:gd name="connsiteX2" fmla="*/ 120650 w 190500"/>
              <a:gd name="connsiteY2" fmla="*/ 19613 h 21289"/>
              <a:gd name="connsiteX3" fmla="*/ 92075 w 190500"/>
              <a:gd name="connsiteY3" fmla="*/ 19613 h 21289"/>
              <a:gd name="connsiteX4" fmla="*/ 69850 w 190500"/>
              <a:gd name="connsiteY4" fmla="*/ 13263 h 21289"/>
              <a:gd name="connsiteX5" fmla="*/ 34925 w 190500"/>
              <a:gd name="connsiteY5" fmla="*/ 10088 h 21289"/>
              <a:gd name="connsiteX6" fmla="*/ 15875 w 190500"/>
              <a:gd name="connsiteY6" fmla="*/ 10088 h 21289"/>
              <a:gd name="connsiteX7" fmla="*/ 0 w 190500"/>
              <a:gd name="connsiteY7" fmla="*/ 10088 h 2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0" h="21289">
                <a:moveTo>
                  <a:pt x="190500" y="6913"/>
                </a:moveTo>
                <a:cubicBezTo>
                  <a:pt x="169333" y="2679"/>
                  <a:pt x="148167" y="-1554"/>
                  <a:pt x="136525" y="563"/>
                </a:cubicBezTo>
                <a:cubicBezTo>
                  <a:pt x="124883" y="2680"/>
                  <a:pt x="128058" y="16438"/>
                  <a:pt x="120650" y="19613"/>
                </a:cubicBezTo>
                <a:cubicBezTo>
                  <a:pt x="113242" y="22788"/>
                  <a:pt x="100542" y="20671"/>
                  <a:pt x="92075" y="19613"/>
                </a:cubicBezTo>
                <a:cubicBezTo>
                  <a:pt x="83608" y="18555"/>
                  <a:pt x="79375" y="14851"/>
                  <a:pt x="69850" y="13263"/>
                </a:cubicBezTo>
                <a:cubicBezTo>
                  <a:pt x="60325" y="11676"/>
                  <a:pt x="43921" y="10617"/>
                  <a:pt x="34925" y="10088"/>
                </a:cubicBezTo>
                <a:cubicBezTo>
                  <a:pt x="25929" y="9559"/>
                  <a:pt x="15875" y="10088"/>
                  <a:pt x="15875" y="10088"/>
                </a:cubicBezTo>
                <a:lnTo>
                  <a:pt x="0" y="10088"/>
                </a:ln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Полилиния 89"/>
          <p:cNvSpPr/>
          <p:nvPr/>
        </p:nvSpPr>
        <p:spPr>
          <a:xfrm>
            <a:off x="1143000" y="2155262"/>
            <a:ext cx="190500" cy="21289"/>
          </a:xfrm>
          <a:custGeom>
            <a:avLst/>
            <a:gdLst>
              <a:gd name="connsiteX0" fmla="*/ 190500 w 190500"/>
              <a:gd name="connsiteY0" fmla="*/ 6913 h 21289"/>
              <a:gd name="connsiteX1" fmla="*/ 136525 w 190500"/>
              <a:gd name="connsiteY1" fmla="*/ 563 h 21289"/>
              <a:gd name="connsiteX2" fmla="*/ 120650 w 190500"/>
              <a:gd name="connsiteY2" fmla="*/ 19613 h 21289"/>
              <a:gd name="connsiteX3" fmla="*/ 92075 w 190500"/>
              <a:gd name="connsiteY3" fmla="*/ 19613 h 21289"/>
              <a:gd name="connsiteX4" fmla="*/ 69850 w 190500"/>
              <a:gd name="connsiteY4" fmla="*/ 13263 h 21289"/>
              <a:gd name="connsiteX5" fmla="*/ 34925 w 190500"/>
              <a:gd name="connsiteY5" fmla="*/ 10088 h 21289"/>
              <a:gd name="connsiteX6" fmla="*/ 15875 w 190500"/>
              <a:gd name="connsiteY6" fmla="*/ 10088 h 21289"/>
              <a:gd name="connsiteX7" fmla="*/ 0 w 190500"/>
              <a:gd name="connsiteY7" fmla="*/ 10088 h 2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0" h="21289">
                <a:moveTo>
                  <a:pt x="190500" y="6913"/>
                </a:moveTo>
                <a:cubicBezTo>
                  <a:pt x="169333" y="2679"/>
                  <a:pt x="148167" y="-1554"/>
                  <a:pt x="136525" y="563"/>
                </a:cubicBezTo>
                <a:cubicBezTo>
                  <a:pt x="124883" y="2680"/>
                  <a:pt x="128058" y="16438"/>
                  <a:pt x="120650" y="19613"/>
                </a:cubicBezTo>
                <a:cubicBezTo>
                  <a:pt x="113242" y="22788"/>
                  <a:pt x="100542" y="20671"/>
                  <a:pt x="92075" y="19613"/>
                </a:cubicBezTo>
                <a:cubicBezTo>
                  <a:pt x="83608" y="18555"/>
                  <a:pt x="79375" y="14851"/>
                  <a:pt x="69850" y="13263"/>
                </a:cubicBezTo>
                <a:cubicBezTo>
                  <a:pt x="60325" y="11676"/>
                  <a:pt x="43921" y="10617"/>
                  <a:pt x="34925" y="10088"/>
                </a:cubicBezTo>
                <a:cubicBezTo>
                  <a:pt x="25929" y="9559"/>
                  <a:pt x="15875" y="10088"/>
                  <a:pt x="15875" y="10088"/>
                </a:cubicBezTo>
                <a:lnTo>
                  <a:pt x="0" y="10088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Полилиния 90"/>
          <p:cNvSpPr/>
          <p:nvPr/>
        </p:nvSpPr>
        <p:spPr>
          <a:xfrm rot="20925388">
            <a:off x="1073150" y="2120900"/>
            <a:ext cx="82550" cy="57150"/>
          </a:xfrm>
          <a:custGeom>
            <a:avLst/>
            <a:gdLst>
              <a:gd name="connsiteX0" fmla="*/ 82550 w 82550"/>
              <a:gd name="connsiteY0" fmla="*/ 57150 h 57150"/>
              <a:gd name="connsiteX1" fmla="*/ 28575 w 82550"/>
              <a:gd name="connsiteY1" fmla="*/ 25400 h 57150"/>
              <a:gd name="connsiteX2" fmla="*/ 6350 w 82550"/>
              <a:gd name="connsiteY2" fmla="*/ 9525 h 57150"/>
              <a:gd name="connsiteX3" fmla="*/ 0 w 82550"/>
              <a:gd name="connsiteY3" fmla="*/ 0 h 5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57150">
                <a:moveTo>
                  <a:pt x="82550" y="57150"/>
                </a:moveTo>
                <a:cubicBezTo>
                  <a:pt x="61912" y="45243"/>
                  <a:pt x="41275" y="33337"/>
                  <a:pt x="28575" y="25400"/>
                </a:cubicBezTo>
                <a:cubicBezTo>
                  <a:pt x="15875" y="17463"/>
                  <a:pt x="6350" y="9525"/>
                  <a:pt x="6350" y="9525"/>
                </a:cubicBezTo>
                <a:cubicBezTo>
                  <a:pt x="1588" y="5292"/>
                  <a:pt x="794" y="2646"/>
                  <a:pt x="0" y="0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Полилиния 91"/>
          <p:cNvSpPr/>
          <p:nvPr/>
        </p:nvSpPr>
        <p:spPr>
          <a:xfrm rot="20800529">
            <a:off x="1066800" y="2117725"/>
            <a:ext cx="82550" cy="57150"/>
          </a:xfrm>
          <a:custGeom>
            <a:avLst/>
            <a:gdLst>
              <a:gd name="connsiteX0" fmla="*/ 82550 w 82550"/>
              <a:gd name="connsiteY0" fmla="*/ 57150 h 57150"/>
              <a:gd name="connsiteX1" fmla="*/ 28575 w 82550"/>
              <a:gd name="connsiteY1" fmla="*/ 25400 h 57150"/>
              <a:gd name="connsiteX2" fmla="*/ 6350 w 82550"/>
              <a:gd name="connsiteY2" fmla="*/ 9525 h 57150"/>
              <a:gd name="connsiteX3" fmla="*/ 0 w 82550"/>
              <a:gd name="connsiteY3" fmla="*/ 0 h 5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57150">
                <a:moveTo>
                  <a:pt x="82550" y="57150"/>
                </a:moveTo>
                <a:cubicBezTo>
                  <a:pt x="61912" y="45243"/>
                  <a:pt x="41275" y="33337"/>
                  <a:pt x="28575" y="25400"/>
                </a:cubicBezTo>
                <a:cubicBezTo>
                  <a:pt x="15875" y="17463"/>
                  <a:pt x="6350" y="9525"/>
                  <a:pt x="6350" y="9525"/>
                </a:cubicBezTo>
                <a:cubicBezTo>
                  <a:pt x="1588" y="5292"/>
                  <a:pt x="794" y="2646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Полилиния 93"/>
          <p:cNvSpPr/>
          <p:nvPr/>
        </p:nvSpPr>
        <p:spPr>
          <a:xfrm>
            <a:off x="542925" y="3422631"/>
            <a:ext cx="622300" cy="143599"/>
          </a:xfrm>
          <a:custGeom>
            <a:avLst/>
            <a:gdLst>
              <a:gd name="connsiteX0" fmla="*/ 0 w 622300"/>
              <a:gd name="connsiteY0" fmla="*/ 136544 h 143599"/>
              <a:gd name="connsiteX1" fmla="*/ 66675 w 622300"/>
              <a:gd name="connsiteY1" fmla="*/ 127019 h 143599"/>
              <a:gd name="connsiteX2" fmla="*/ 101600 w 622300"/>
              <a:gd name="connsiteY2" fmla="*/ 130194 h 143599"/>
              <a:gd name="connsiteX3" fmla="*/ 139700 w 622300"/>
              <a:gd name="connsiteY3" fmla="*/ 139719 h 143599"/>
              <a:gd name="connsiteX4" fmla="*/ 165100 w 622300"/>
              <a:gd name="connsiteY4" fmla="*/ 142894 h 143599"/>
              <a:gd name="connsiteX5" fmla="*/ 187325 w 622300"/>
              <a:gd name="connsiteY5" fmla="*/ 142894 h 143599"/>
              <a:gd name="connsiteX6" fmla="*/ 209550 w 622300"/>
              <a:gd name="connsiteY6" fmla="*/ 142894 h 143599"/>
              <a:gd name="connsiteX7" fmla="*/ 231775 w 622300"/>
              <a:gd name="connsiteY7" fmla="*/ 133369 h 143599"/>
              <a:gd name="connsiteX8" fmla="*/ 273050 w 622300"/>
              <a:gd name="connsiteY8" fmla="*/ 104794 h 143599"/>
              <a:gd name="connsiteX9" fmla="*/ 304800 w 622300"/>
              <a:gd name="connsiteY9" fmla="*/ 92094 h 143599"/>
              <a:gd name="connsiteX10" fmla="*/ 355600 w 622300"/>
              <a:gd name="connsiteY10" fmla="*/ 79394 h 143599"/>
              <a:gd name="connsiteX11" fmla="*/ 415925 w 622300"/>
              <a:gd name="connsiteY11" fmla="*/ 60344 h 143599"/>
              <a:gd name="connsiteX12" fmla="*/ 444500 w 622300"/>
              <a:gd name="connsiteY12" fmla="*/ 53994 h 143599"/>
              <a:gd name="connsiteX13" fmla="*/ 460375 w 622300"/>
              <a:gd name="connsiteY13" fmla="*/ 44469 h 143599"/>
              <a:gd name="connsiteX14" fmla="*/ 473075 w 622300"/>
              <a:gd name="connsiteY14" fmla="*/ 15894 h 143599"/>
              <a:gd name="connsiteX15" fmla="*/ 488950 w 622300"/>
              <a:gd name="connsiteY15" fmla="*/ 19 h 143599"/>
              <a:gd name="connsiteX16" fmla="*/ 520700 w 622300"/>
              <a:gd name="connsiteY16" fmla="*/ 12719 h 143599"/>
              <a:gd name="connsiteX17" fmla="*/ 536575 w 622300"/>
              <a:gd name="connsiteY17" fmla="*/ 15894 h 143599"/>
              <a:gd name="connsiteX18" fmla="*/ 574675 w 622300"/>
              <a:gd name="connsiteY18" fmla="*/ 31769 h 143599"/>
              <a:gd name="connsiteX19" fmla="*/ 596900 w 622300"/>
              <a:gd name="connsiteY19" fmla="*/ 41294 h 143599"/>
              <a:gd name="connsiteX20" fmla="*/ 609600 w 622300"/>
              <a:gd name="connsiteY20" fmla="*/ 44469 h 143599"/>
              <a:gd name="connsiteX21" fmla="*/ 622300 w 622300"/>
              <a:gd name="connsiteY21" fmla="*/ 50819 h 14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22300" h="143599">
                <a:moveTo>
                  <a:pt x="0" y="136544"/>
                </a:moveTo>
                <a:cubicBezTo>
                  <a:pt x="24871" y="132310"/>
                  <a:pt x="49742" y="128077"/>
                  <a:pt x="66675" y="127019"/>
                </a:cubicBezTo>
                <a:cubicBezTo>
                  <a:pt x="83608" y="125961"/>
                  <a:pt x="89429" y="128077"/>
                  <a:pt x="101600" y="130194"/>
                </a:cubicBezTo>
                <a:cubicBezTo>
                  <a:pt x="113771" y="132311"/>
                  <a:pt x="129117" y="137602"/>
                  <a:pt x="139700" y="139719"/>
                </a:cubicBezTo>
                <a:cubicBezTo>
                  <a:pt x="150283" y="141836"/>
                  <a:pt x="157163" y="142365"/>
                  <a:pt x="165100" y="142894"/>
                </a:cubicBezTo>
                <a:cubicBezTo>
                  <a:pt x="173038" y="143423"/>
                  <a:pt x="187325" y="142894"/>
                  <a:pt x="187325" y="142894"/>
                </a:cubicBezTo>
                <a:cubicBezTo>
                  <a:pt x="194733" y="142894"/>
                  <a:pt x="202142" y="144481"/>
                  <a:pt x="209550" y="142894"/>
                </a:cubicBezTo>
                <a:cubicBezTo>
                  <a:pt x="216958" y="141307"/>
                  <a:pt x="221192" y="139719"/>
                  <a:pt x="231775" y="133369"/>
                </a:cubicBezTo>
                <a:cubicBezTo>
                  <a:pt x="242358" y="127019"/>
                  <a:pt x="260879" y="111673"/>
                  <a:pt x="273050" y="104794"/>
                </a:cubicBezTo>
                <a:cubicBezTo>
                  <a:pt x="285221" y="97915"/>
                  <a:pt x="291042" y="96327"/>
                  <a:pt x="304800" y="92094"/>
                </a:cubicBezTo>
                <a:cubicBezTo>
                  <a:pt x="318558" y="87861"/>
                  <a:pt x="337079" y="84686"/>
                  <a:pt x="355600" y="79394"/>
                </a:cubicBezTo>
                <a:cubicBezTo>
                  <a:pt x="374121" y="74102"/>
                  <a:pt x="401108" y="64577"/>
                  <a:pt x="415925" y="60344"/>
                </a:cubicBezTo>
                <a:cubicBezTo>
                  <a:pt x="430742" y="56111"/>
                  <a:pt x="437092" y="56640"/>
                  <a:pt x="444500" y="53994"/>
                </a:cubicBezTo>
                <a:cubicBezTo>
                  <a:pt x="451908" y="51348"/>
                  <a:pt x="455613" y="50819"/>
                  <a:pt x="460375" y="44469"/>
                </a:cubicBezTo>
                <a:cubicBezTo>
                  <a:pt x="465137" y="38119"/>
                  <a:pt x="468313" y="23302"/>
                  <a:pt x="473075" y="15894"/>
                </a:cubicBezTo>
                <a:cubicBezTo>
                  <a:pt x="477838" y="8486"/>
                  <a:pt x="481013" y="548"/>
                  <a:pt x="488950" y="19"/>
                </a:cubicBezTo>
                <a:cubicBezTo>
                  <a:pt x="496888" y="-510"/>
                  <a:pt x="512763" y="10073"/>
                  <a:pt x="520700" y="12719"/>
                </a:cubicBezTo>
                <a:cubicBezTo>
                  <a:pt x="528637" y="15365"/>
                  <a:pt x="527579" y="12719"/>
                  <a:pt x="536575" y="15894"/>
                </a:cubicBezTo>
                <a:cubicBezTo>
                  <a:pt x="545571" y="19069"/>
                  <a:pt x="574675" y="31769"/>
                  <a:pt x="574675" y="31769"/>
                </a:cubicBezTo>
                <a:lnTo>
                  <a:pt x="596900" y="41294"/>
                </a:lnTo>
                <a:cubicBezTo>
                  <a:pt x="602721" y="43411"/>
                  <a:pt x="609600" y="44469"/>
                  <a:pt x="609600" y="44469"/>
                </a:cubicBezTo>
                <a:cubicBezTo>
                  <a:pt x="613833" y="46056"/>
                  <a:pt x="618066" y="48437"/>
                  <a:pt x="622300" y="50819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олилиния 1"/>
          <p:cNvSpPr/>
          <p:nvPr/>
        </p:nvSpPr>
        <p:spPr>
          <a:xfrm>
            <a:off x="1160890" y="2177936"/>
            <a:ext cx="218019" cy="1342504"/>
          </a:xfrm>
          <a:custGeom>
            <a:avLst/>
            <a:gdLst>
              <a:gd name="connsiteX0" fmla="*/ 212343 w 212343"/>
              <a:gd name="connsiteY0" fmla="*/ 0 h 1342505"/>
              <a:gd name="connsiteX1" fmla="*/ 158310 w 212343"/>
              <a:gd name="connsiteY1" fmla="*/ 58189 h 1342505"/>
              <a:gd name="connsiteX2" fmla="*/ 141685 w 212343"/>
              <a:gd name="connsiteY2" fmla="*/ 91440 h 1342505"/>
              <a:gd name="connsiteX3" fmla="*/ 129216 w 212343"/>
              <a:gd name="connsiteY3" fmla="*/ 141316 h 1342505"/>
              <a:gd name="connsiteX4" fmla="*/ 112590 w 212343"/>
              <a:gd name="connsiteY4" fmla="*/ 178723 h 1342505"/>
              <a:gd name="connsiteX5" fmla="*/ 95965 w 212343"/>
              <a:gd name="connsiteY5" fmla="*/ 224443 h 1342505"/>
              <a:gd name="connsiteX6" fmla="*/ 83496 w 212343"/>
              <a:gd name="connsiteY6" fmla="*/ 257694 h 1342505"/>
              <a:gd name="connsiteX7" fmla="*/ 100121 w 212343"/>
              <a:gd name="connsiteY7" fmla="*/ 295101 h 1342505"/>
              <a:gd name="connsiteX8" fmla="*/ 100121 w 212343"/>
              <a:gd name="connsiteY8" fmla="*/ 332509 h 1342505"/>
              <a:gd name="connsiteX9" fmla="*/ 104277 w 212343"/>
              <a:gd name="connsiteY9" fmla="*/ 390698 h 1342505"/>
              <a:gd name="connsiteX10" fmla="*/ 116747 w 212343"/>
              <a:gd name="connsiteY10" fmla="*/ 448887 h 1342505"/>
              <a:gd name="connsiteX11" fmla="*/ 133372 w 212343"/>
              <a:gd name="connsiteY11" fmla="*/ 527858 h 1342505"/>
              <a:gd name="connsiteX12" fmla="*/ 158310 w 212343"/>
              <a:gd name="connsiteY12" fmla="*/ 573578 h 1342505"/>
              <a:gd name="connsiteX13" fmla="*/ 170779 w 212343"/>
              <a:gd name="connsiteY13" fmla="*/ 594360 h 1342505"/>
              <a:gd name="connsiteX14" fmla="*/ 179092 w 212343"/>
              <a:gd name="connsiteY14" fmla="*/ 656705 h 1342505"/>
              <a:gd name="connsiteX15" fmla="*/ 170779 w 212343"/>
              <a:gd name="connsiteY15" fmla="*/ 685800 h 1342505"/>
              <a:gd name="connsiteX16" fmla="*/ 162467 w 212343"/>
              <a:gd name="connsiteY16" fmla="*/ 714894 h 1342505"/>
              <a:gd name="connsiteX17" fmla="*/ 141685 w 212343"/>
              <a:gd name="connsiteY17" fmla="*/ 748145 h 1342505"/>
              <a:gd name="connsiteX18" fmla="*/ 133372 w 212343"/>
              <a:gd name="connsiteY18" fmla="*/ 802178 h 1342505"/>
              <a:gd name="connsiteX19" fmla="*/ 108434 w 212343"/>
              <a:gd name="connsiteY19" fmla="*/ 860367 h 1342505"/>
              <a:gd name="connsiteX20" fmla="*/ 100121 w 212343"/>
              <a:gd name="connsiteY20" fmla="*/ 868680 h 1342505"/>
              <a:gd name="connsiteX21" fmla="*/ 50245 w 212343"/>
              <a:gd name="connsiteY21" fmla="*/ 910243 h 1342505"/>
              <a:gd name="connsiteX22" fmla="*/ 37776 w 212343"/>
              <a:gd name="connsiteY22" fmla="*/ 955963 h 1342505"/>
              <a:gd name="connsiteX23" fmla="*/ 29463 w 212343"/>
              <a:gd name="connsiteY23" fmla="*/ 993371 h 1342505"/>
              <a:gd name="connsiteX24" fmla="*/ 25307 w 212343"/>
              <a:gd name="connsiteY24" fmla="*/ 1022465 h 1342505"/>
              <a:gd name="connsiteX25" fmla="*/ 29463 w 212343"/>
              <a:gd name="connsiteY25" fmla="*/ 1051560 h 1342505"/>
              <a:gd name="connsiteX26" fmla="*/ 16994 w 212343"/>
              <a:gd name="connsiteY26" fmla="*/ 1097280 h 1342505"/>
              <a:gd name="connsiteX27" fmla="*/ 4525 w 212343"/>
              <a:gd name="connsiteY27" fmla="*/ 1155469 h 1342505"/>
              <a:gd name="connsiteX28" fmla="*/ 368 w 212343"/>
              <a:gd name="connsiteY28" fmla="*/ 1197032 h 1342505"/>
              <a:gd name="connsiteX29" fmla="*/ 12837 w 212343"/>
              <a:gd name="connsiteY29" fmla="*/ 1242752 h 1342505"/>
              <a:gd name="connsiteX30" fmla="*/ 21150 w 212343"/>
              <a:gd name="connsiteY30" fmla="*/ 1259378 h 1342505"/>
              <a:gd name="connsiteX31" fmla="*/ 29463 w 212343"/>
              <a:gd name="connsiteY31" fmla="*/ 1292629 h 1342505"/>
              <a:gd name="connsiteX32" fmla="*/ 33619 w 212343"/>
              <a:gd name="connsiteY32" fmla="*/ 1330036 h 1342505"/>
              <a:gd name="connsiteX33" fmla="*/ 37776 w 212343"/>
              <a:gd name="connsiteY33" fmla="*/ 1342505 h 1342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212343" h="1342505">
                <a:moveTo>
                  <a:pt x="212343" y="0"/>
                </a:moveTo>
                <a:cubicBezTo>
                  <a:pt x="191214" y="21474"/>
                  <a:pt x="170086" y="42949"/>
                  <a:pt x="158310" y="58189"/>
                </a:cubicBezTo>
                <a:cubicBezTo>
                  <a:pt x="146534" y="73429"/>
                  <a:pt x="146534" y="77586"/>
                  <a:pt x="141685" y="91440"/>
                </a:cubicBezTo>
                <a:cubicBezTo>
                  <a:pt x="136836" y="105294"/>
                  <a:pt x="134065" y="126769"/>
                  <a:pt x="129216" y="141316"/>
                </a:cubicBezTo>
                <a:cubicBezTo>
                  <a:pt x="124367" y="155863"/>
                  <a:pt x="118132" y="164869"/>
                  <a:pt x="112590" y="178723"/>
                </a:cubicBezTo>
                <a:cubicBezTo>
                  <a:pt x="107048" y="192577"/>
                  <a:pt x="100814" y="211281"/>
                  <a:pt x="95965" y="224443"/>
                </a:cubicBezTo>
                <a:cubicBezTo>
                  <a:pt x="91116" y="237605"/>
                  <a:pt x="82803" y="245918"/>
                  <a:pt x="83496" y="257694"/>
                </a:cubicBezTo>
                <a:cubicBezTo>
                  <a:pt x="84189" y="269470"/>
                  <a:pt x="97350" y="282632"/>
                  <a:pt x="100121" y="295101"/>
                </a:cubicBezTo>
                <a:cubicBezTo>
                  <a:pt x="102892" y="307570"/>
                  <a:pt x="99428" y="316576"/>
                  <a:pt x="100121" y="332509"/>
                </a:cubicBezTo>
                <a:cubicBezTo>
                  <a:pt x="100814" y="348442"/>
                  <a:pt x="101506" y="371302"/>
                  <a:pt x="104277" y="390698"/>
                </a:cubicBezTo>
                <a:cubicBezTo>
                  <a:pt x="107048" y="410094"/>
                  <a:pt x="111898" y="426027"/>
                  <a:pt x="116747" y="448887"/>
                </a:cubicBezTo>
                <a:cubicBezTo>
                  <a:pt x="121596" y="471747"/>
                  <a:pt x="126445" y="507076"/>
                  <a:pt x="133372" y="527858"/>
                </a:cubicBezTo>
                <a:cubicBezTo>
                  <a:pt x="140299" y="548640"/>
                  <a:pt x="152076" y="562494"/>
                  <a:pt x="158310" y="573578"/>
                </a:cubicBezTo>
                <a:cubicBezTo>
                  <a:pt x="164544" y="584662"/>
                  <a:pt x="167315" y="580506"/>
                  <a:pt x="170779" y="594360"/>
                </a:cubicBezTo>
                <a:cubicBezTo>
                  <a:pt x="174243" y="608215"/>
                  <a:pt x="179092" y="641465"/>
                  <a:pt x="179092" y="656705"/>
                </a:cubicBezTo>
                <a:cubicBezTo>
                  <a:pt x="179092" y="671945"/>
                  <a:pt x="170779" y="685800"/>
                  <a:pt x="170779" y="685800"/>
                </a:cubicBezTo>
                <a:cubicBezTo>
                  <a:pt x="168008" y="695498"/>
                  <a:pt x="167316" y="704503"/>
                  <a:pt x="162467" y="714894"/>
                </a:cubicBezTo>
                <a:cubicBezTo>
                  <a:pt x="157618" y="725285"/>
                  <a:pt x="146534" y="733598"/>
                  <a:pt x="141685" y="748145"/>
                </a:cubicBezTo>
                <a:cubicBezTo>
                  <a:pt x="136836" y="762692"/>
                  <a:pt x="138914" y="783474"/>
                  <a:pt x="133372" y="802178"/>
                </a:cubicBezTo>
                <a:cubicBezTo>
                  <a:pt x="127830" y="820882"/>
                  <a:pt x="113976" y="849283"/>
                  <a:pt x="108434" y="860367"/>
                </a:cubicBezTo>
                <a:cubicBezTo>
                  <a:pt x="102892" y="871451"/>
                  <a:pt x="109819" y="860367"/>
                  <a:pt x="100121" y="868680"/>
                </a:cubicBezTo>
                <a:cubicBezTo>
                  <a:pt x="90423" y="876993"/>
                  <a:pt x="60636" y="895696"/>
                  <a:pt x="50245" y="910243"/>
                </a:cubicBezTo>
                <a:cubicBezTo>
                  <a:pt x="39854" y="924790"/>
                  <a:pt x="41240" y="942108"/>
                  <a:pt x="37776" y="955963"/>
                </a:cubicBezTo>
                <a:cubicBezTo>
                  <a:pt x="34312" y="969818"/>
                  <a:pt x="31541" y="982287"/>
                  <a:pt x="29463" y="993371"/>
                </a:cubicBezTo>
                <a:cubicBezTo>
                  <a:pt x="27385" y="1004455"/>
                  <a:pt x="25307" y="1012767"/>
                  <a:pt x="25307" y="1022465"/>
                </a:cubicBezTo>
                <a:cubicBezTo>
                  <a:pt x="25307" y="1032163"/>
                  <a:pt x="30848" y="1039091"/>
                  <a:pt x="29463" y="1051560"/>
                </a:cubicBezTo>
                <a:cubicBezTo>
                  <a:pt x="28077" y="1064029"/>
                  <a:pt x="21150" y="1079962"/>
                  <a:pt x="16994" y="1097280"/>
                </a:cubicBezTo>
                <a:cubicBezTo>
                  <a:pt x="12838" y="1114598"/>
                  <a:pt x="7296" y="1138844"/>
                  <a:pt x="4525" y="1155469"/>
                </a:cubicBezTo>
                <a:cubicBezTo>
                  <a:pt x="1754" y="1172094"/>
                  <a:pt x="-1017" y="1182485"/>
                  <a:pt x="368" y="1197032"/>
                </a:cubicBezTo>
                <a:cubicBezTo>
                  <a:pt x="1753" y="1211579"/>
                  <a:pt x="9373" y="1232361"/>
                  <a:pt x="12837" y="1242752"/>
                </a:cubicBezTo>
                <a:cubicBezTo>
                  <a:pt x="16301" y="1253143"/>
                  <a:pt x="18379" y="1251065"/>
                  <a:pt x="21150" y="1259378"/>
                </a:cubicBezTo>
                <a:cubicBezTo>
                  <a:pt x="23921" y="1267691"/>
                  <a:pt x="27385" y="1280853"/>
                  <a:pt x="29463" y="1292629"/>
                </a:cubicBezTo>
                <a:cubicBezTo>
                  <a:pt x="31541" y="1304405"/>
                  <a:pt x="33619" y="1330036"/>
                  <a:pt x="33619" y="1330036"/>
                </a:cubicBezTo>
                <a:cubicBezTo>
                  <a:pt x="35004" y="1338349"/>
                  <a:pt x="36390" y="1340427"/>
                  <a:pt x="37776" y="1342505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олилиния 13"/>
          <p:cNvSpPr/>
          <p:nvPr/>
        </p:nvSpPr>
        <p:spPr>
          <a:xfrm>
            <a:off x="1158100" y="2177528"/>
            <a:ext cx="212343" cy="1342505"/>
          </a:xfrm>
          <a:custGeom>
            <a:avLst/>
            <a:gdLst>
              <a:gd name="connsiteX0" fmla="*/ 212343 w 212343"/>
              <a:gd name="connsiteY0" fmla="*/ 0 h 1342505"/>
              <a:gd name="connsiteX1" fmla="*/ 158310 w 212343"/>
              <a:gd name="connsiteY1" fmla="*/ 58189 h 1342505"/>
              <a:gd name="connsiteX2" fmla="*/ 141685 w 212343"/>
              <a:gd name="connsiteY2" fmla="*/ 91440 h 1342505"/>
              <a:gd name="connsiteX3" fmla="*/ 129216 w 212343"/>
              <a:gd name="connsiteY3" fmla="*/ 141316 h 1342505"/>
              <a:gd name="connsiteX4" fmla="*/ 112590 w 212343"/>
              <a:gd name="connsiteY4" fmla="*/ 178723 h 1342505"/>
              <a:gd name="connsiteX5" fmla="*/ 95965 w 212343"/>
              <a:gd name="connsiteY5" fmla="*/ 224443 h 1342505"/>
              <a:gd name="connsiteX6" fmla="*/ 83496 w 212343"/>
              <a:gd name="connsiteY6" fmla="*/ 257694 h 1342505"/>
              <a:gd name="connsiteX7" fmla="*/ 100121 w 212343"/>
              <a:gd name="connsiteY7" fmla="*/ 295101 h 1342505"/>
              <a:gd name="connsiteX8" fmla="*/ 100121 w 212343"/>
              <a:gd name="connsiteY8" fmla="*/ 332509 h 1342505"/>
              <a:gd name="connsiteX9" fmla="*/ 104277 w 212343"/>
              <a:gd name="connsiteY9" fmla="*/ 390698 h 1342505"/>
              <a:gd name="connsiteX10" fmla="*/ 116747 w 212343"/>
              <a:gd name="connsiteY10" fmla="*/ 448887 h 1342505"/>
              <a:gd name="connsiteX11" fmla="*/ 133372 w 212343"/>
              <a:gd name="connsiteY11" fmla="*/ 527858 h 1342505"/>
              <a:gd name="connsiteX12" fmla="*/ 158310 w 212343"/>
              <a:gd name="connsiteY12" fmla="*/ 573578 h 1342505"/>
              <a:gd name="connsiteX13" fmla="*/ 170779 w 212343"/>
              <a:gd name="connsiteY13" fmla="*/ 594360 h 1342505"/>
              <a:gd name="connsiteX14" fmla="*/ 179092 w 212343"/>
              <a:gd name="connsiteY14" fmla="*/ 656705 h 1342505"/>
              <a:gd name="connsiteX15" fmla="*/ 170779 w 212343"/>
              <a:gd name="connsiteY15" fmla="*/ 685800 h 1342505"/>
              <a:gd name="connsiteX16" fmla="*/ 162467 w 212343"/>
              <a:gd name="connsiteY16" fmla="*/ 714894 h 1342505"/>
              <a:gd name="connsiteX17" fmla="*/ 141685 w 212343"/>
              <a:gd name="connsiteY17" fmla="*/ 748145 h 1342505"/>
              <a:gd name="connsiteX18" fmla="*/ 133372 w 212343"/>
              <a:gd name="connsiteY18" fmla="*/ 802178 h 1342505"/>
              <a:gd name="connsiteX19" fmla="*/ 108434 w 212343"/>
              <a:gd name="connsiteY19" fmla="*/ 860367 h 1342505"/>
              <a:gd name="connsiteX20" fmla="*/ 100121 w 212343"/>
              <a:gd name="connsiteY20" fmla="*/ 868680 h 1342505"/>
              <a:gd name="connsiteX21" fmla="*/ 50245 w 212343"/>
              <a:gd name="connsiteY21" fmla="*/ 910243 h 1342505"/>
              <a:gd name="connsiteX22" fmla="*/ 37776 w 212343"/>
              <a:gd name="connsiteY22" fmla="*/ 955963 h 1342505"/>
              <a:gd name="connsiteX23" fmla="*/ 29463 w 212343"/>
              <a:gd name="connsiteY23" fmla="*/ 993371 h 1342505"/>
              <a:gd name="connsiteX24" fmla="*/ 25307 w 212343"/>
              <a:gd name="connsiteY24" fmla="*/ 1022465 h 1342505"/>
              <a:gd name="connsiteX25" fmla="*/ 29463 w 212343"/>
              <a:gd name="connsiteY25" fmla="*/ 1051560 h 1342505"/>
              <a:gd name="connsiteX26" fmla="*/ 16994 w 212343"/>
              <a:gd name="connsiteY26" fmla="*/ 1097280 h 1342505"/>
              <a:gd name="connsiteX27" fmla="*/ 4525 w 212343"/>
              <a:gd name="connsiteY27" fmla="*/ 1155469 h 1342505"/>
              <a:gd name="connsiteX28" fmla="*/ 368 w 212343"/>
              <a:gd name="connsiteY28" fmla="*/ 1197032 h 1342505"/>
              <a:gd name="connsiteX29" fmla="*/ 12837 w 212343"/>
              <a:gd name="connsiteY29" fmla="*/ 1242752 h 1342505"/>
              <a:gd name="connsiteX30" fmla="*/ 21150 w 212343"/>
              <a:gd name="connsiteY30" fmla="*/ 1259378 h 1342505"/>
              <a:gd name="connsiteX31" fmla="*/ 29463 w 212343"/>
              <a:gd name="connsiteY31" fmla="*/ 1292629 h 1342505"/>
              <a:gd name="connsiteX32" fmla="*/ 33619 w 212343"/>
              <a:gd name="connsiteY32" fmla="*/ 1330036 h 1342505"/>
              <a:gd name="connsiteX33" fmla="*/ 37776 w 212343"/>
              <a:gd name="connsiteY33" fmla="*/ 1342505 h 1342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212343" h="1342505">
                <a:moveTo>
                  <a:pt x="212343" y="0"/>
                </a:moveTo>
                <a:cubicBezTo>
                  <a:pt x="191214" y="21474"/>
                  <a:pt x="170086" y="42949"/>
                  <a:pt x="158310" y="58189"/>
                </a:cubicBezTo>
                <a:cubicBezTo>
                  <a:pt x="146534" y="73429"/>
                  <a:pt x="146534" y="77586"/>
                  <a:pt x="141685" y="91440"/>
                </a:cubicBezTo>
                <a:cubicBezTo>
                  <a:pt x="136836" y="105294"/>
                  <a:pt x="134065" y="126769"/>
                  <a:pt x="129216" y="141316"/>
                </a:cubicBezTo>
                <a:cubicBezTo>
                  <a:pt x="124367" y="155863"/>
                  <a:pt x="118132" y="164869"/>
                  <a:pt x="112590" y="178723"/>
                </a:cubicBezTo>
                <a:cubicBezTo>
                  <a:pt x="107048" y="192577"/>
                  <a:pt x="100814" y="211281"/>
                  <a:pt x="95965" y="224443"/>
                </a:cubicBezTo>
                <a:cubicBezTo>
                  <a:pt x="91116" y="237605"/>
                  <a:pt x="82803" y="245918"/>
                  <a:pt x="83496" y="257694"/>
                </a:cubicBezTo>
                <a:cubicBezTo>
                  <a:pt x="84189" y="269470"/>
                  <a:pt x="97350" y="282632"/>
                  <a:pt x="100121" y="295101"/>
                </a:cubicBezTo>
                <a:cubicBezTo>
                  <a:pt x="102892" y="307570"/>
                  <a:pt x="99428" y="316576"/>
                  <a:pt x="100121" y="332509"/>
                </a:cubicBezTo>
                <a:cubicBezTo>
                  <a:pt x="100814" y="348442"/>
                  <a:pt x="101506" y="371302"/>
                  <a:pt x="104277" y="390698"/>
                </a:cubicBezTo>
                <a:cubicBezTo>
                  <a:pt x="107048" y="410094"/>
                  <a:pt x="111898" y="426027"/>
                  <a:pt x="116747" y="448887"/>
                </a:cubicBezTo>
                <a:cubicBezTo>
                  <a:pt x="121596" y="471747"/>
                  <a:pt x="126445" y="507076"/>
                  <a:pt x="133372" y="527858"/>
                </a:cubicBezTo>
                <a:cubicBezTo>
                  <a:pt x="140299" y="548640"/>
                  <a:pt x="152076" y="562494"/>
                  <a:pt x="158310" y="573578"/>
                </a:cubicBezTo>
                <a:cubicBezTo>
                  <a:pt x="164544" y="584662"/>
                  <a:pt x="167315" y="580506"/>
                  <a:pt x="170779" y="594360"/>
                </a:cubicBezTo>
                <a:cubicBezTo>
                  <a:pt x="174243" y="608215"/>
                  <a:pt x="179092" y="641465"/>
                  <a:pt x="179092" y="656705"/>
                </a:cubicBezTo>
                <a:cubicBezTo>
                  <a:pt x="179092" y="671945"/>
                  <a:pt x="170779" y="685800"/>
                  <a:pt x="170779" y="685800"/>
                </a:cubicBezTo>
                <a:cubicBezTo>
                  <a:pt x="168008" y="695498"/>
                  <a:pt x="167316" y="704503"/>
                  <a:pt x="162467" y="714894"/>
                </a:cubicBezTo>
                <a:cubicBezTo>
                  <a:pt x="157618" y="725285"/>
                  <a:pt x="146534" y="733598"/>
                  <a:pt x="141685" y="748145"/>
                </a:cubicBezTo>
                <a:cubicBezTo>
                  <a:pt x="136836" y="762692"/>
                  <a:pt x="138914" y="783474"/>
                  <a:pt x="133372" y="802178"/>
                </a:cubicBezTo>
                <a:cubicBezTo>
                  <a:pt x="127830" y="820882"/>
                  <a:pt x="113976" y="849283"/>
                  <a:pt x="108434" y="860367"/>
                </a:cubicBezTo>
                <a:cubicBezTo>
                  <a:pt x="102892" y="871451"/>
                  <a:pt x="109819" y="860367"/>
                  <a:pt x="100121" y="868680"/>
                </a:cubicBezTo>
                <a:cubicBezTo>
                  <a:pt x="90423" y="876993"/>
                  <a:pt x="60636" y="895696"/>
                  <a:pt x="50245" y="910243"/>
                </a:cubicBezTo>
                <a:cubicBezTo>
                  <a:pt x="39854" y="924790"/>
                  <a:pt x="41240" y="942108"/>
                  <a:pt x="37776" y="955963"/>
                </a:cubicBezTo>
                <a:cubicBezTo>
                  <a:pt x="34312" y="969818"/>
                  <a:pt x="31541" y="982287"/>
                  <a:pt x="29463" y="993371"/>
                </a:cubicBezTo>
                <a:cubicBezTo>
                  <a:pt x="27385" y="1004455"/>
                  <a:pt x="25307" y="1012767"/>
                  <a:pt x="25307" y="1022465"/>
                </a:cubicBezTo>
                <a:cubicBezTo>
                  <a:pt x="25307" y="1032163"/>
                  <a:pt x="30848" y="1039091"/>
                  <a:pt x="29463" y="1051560"/>
                </a:cubicBezTo>
                <a:cubicBezTo>
                  <a:pt x="28077" y="1064029"/>
                  <a:pt x="21150" y="1079962"/>
                  <a:pt x="16994" y="1097280"/>
                </a:cubicBezTo>
                <a:cubicBezTo>
                  <a:pt x="12838" y="1114598"/>
                  <a:pt x="7296" y="1138844"/>
                  <a:pt x="4525" y="1155469"/>
                </a:cubicBezTo>
                <a:cubicBezTo>
                  <a:pt x="1754" y="1172094"/>
                  <a:pt x="-1017" y="1182485"/>
                  <a:pt x="368" y="1197032"/>
                </a:cubicBezTo>
                <a:cubicBezTo>
                  <a:pt x="1753" y="1211579"/>
                  <a:pt x="9373" y="1232361"/>
                  <a:pt x="12837" y="1242752"/>
                </a:cubicBezTo>
                <a:cubicBezTo>
                  <a:pt x="16301" y="1253143"/>
                  <a:pt x="18379" y="1251065"/>
                  <a:pt x="21150" y="1259378"/>
                </a:cubicBezTo>
                <a:cubicBezTo>
                  <a:pt x="23921" y="1267691"/>
                  <a:pt x="27385" y="1280853"/>
                  <a:pt x="29463" y="1292629"/>
                </a:cubicBezTo>
                <a:cubicBezTo>
                  <a:pt x="31541" y="1304405"/>
                  <a:pt x="33619" y="1330036"/>
                  <a:pt x="33619" y="1330036"/>
                </a:cubicBezTo>
                <a:cubicBezTo>
                  <a:pt x="35004" y="1338349"/>
                  <a:pt x="36390" y="1340427"/>
                  <a:pt x="37776" y="134250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Блок-схема: узел 15"/>
          <p:cNvSpPr/>
          <p:nvPr/>
        </p:nvSpPr>
        <p:spPr>
          <a:xfrm>
            <a:off x="1327787" y="2132911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Блок-схема: узел 20"/>
          <p:cNvSpPr/>
          <p:nvPr/>
        </p:nvSpPr>
        <p:spPr>
          <a:xfrm>
            <a:off x="1138403" y="3465999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Полилиния 95"/>
          <p:cNvSpPr/>
          <p:nvPr/>
        </p:nvSpPr>
        <p:spPr>
          <a:xfrm>
            <a:off x="381000" y="3508375"/>
            <a:ext cx="205723" cy="45719"/>
          </a:xfrm>
          <a:custGeom>
            <a:avLst/>
            <a:gdLst>
              <a:gd name="connsiteX0" fmla="*/ 155575 w 155575"/>
              <a:gd name="connsiteY0" fmla="*/ 28575 h 28575"/>
              <a:gd name="connsiteX1" fmla="*/ 92075 w 155575"/>
              <a:gd name="connsiteY1" fmla="*/ 22225 h 28575"/>
              <a:gd name="connsiteX2" fmla="*/ 73025 w 155575"/>
              <a:gd name="connsiteY2" fmla="*/ 19050 h 28575"/>
              <a:gd name="connsiteX3" fmla="*/ 41275 w 155575"/>
              <a:gd name="connsiteY3" fmla="*/ 15875 h 28575"/>
              <a:gd name="connsiteX4" fmla="*/ 25400 w 155575"/>
              <a:gd name="connsiteY4" fmla="*/ 9525 h 28575"/>
              <a:gd name="connsiteX5" fmla="*/ 12700 w 155575"/>
              <a:gd name="connsiteY5" fmla="*/ 6350 h 28575"/>
              <a:gd name="connsiteX6" fmla="*/ 0 w 155575"/>
              <a:gd name="connsiteY6" fmla="*/ 0 h 2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5575" h="28575">
                <a:moveTo>
                  <a:pt x="155575" y="28575"/>
                </a:moveTo>
                <a:lnTo>
                  <a:pt x="92075" y="22225"/>
                </a:lnTo>
                <a:cubicBezTo>
                  <a:pt x="78317" y="20638"/>
                  <a:pt x="81492" y="20108"/>
                  <a:pt x="73025" y="19050"/>
                </a:cubicBezTo>
                <a:cubicBezTo>
                  <a:pt x="64558" y="17992"/>
                  <a:pt x="49213" y="17463"/>
                  <a:pt x="41275" y="15875"/>
                </a:cubicBezTo>
                <a:cubicBezTo>
                  <a:pt x="33337" y="14287"/>
                  <a:pt x="25400" y="9525"/>
                  <a:pt x="25400" y="9525"/>
                </a:cubicBezTo>
                <a:cubicBezTo>
                  <a:pt x="20638" y="7938"/>
                  <a:pt x="12700" y="6350"/>
                  <a:pt x="12700" y="6350"/>
                </a:cubicBezTo>
                <a:cubicBezTo>
                  <a:pt x="8467" y="4763"/>
                  <a:pt x="4233" y="2381"/>
                  <a:pt x="0" y="0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олилиния 96"/>
          <p:cNvSpPr/>
          <p:nvPr/>
        </p:nvSpPr>
        <p:spPr>
          <a:xfrm>
            <a:off x="381000" y="3511550"/>
            <a:ext cx="155575" cy="28575"/>
          </a:xfrm>
          <a:custGeom>
            <a:avLst/>
            <a:gdLst>
              <a:gd name="connsiteX0" fmla="*/ 155575 w 155575"/>
              <a:gd name="connsiteY0" fmla="*/ 28575 h 28575"/>
              <a:gd name="connsiteX1" fmla="*/ 92075 w 155575"/>
              <a:gd name="connsiteY1" fmla="*/ 22225 h 28575"/>
              <a:gd name="connsiteX2" fmla="*/ 73025 w 155575"/>
              <a:gd name="connsiteY2" fmla="*/ 19050 h 28575"/>
              <a:gd name="connsiteX3" fmla="*/ 41275 w 155575"/>
              <a:gd name="connsiteY3" fmla="*/ 15875 h 28575"/>
              <a:gd name="connsiteX4" fmla="*/ 25400 w 155575"/>
              <a:gd name="connsiteY4" fmla="*/ 9525 h 28575"/>
              <a:gd name="connsiteX5" fmla="*/ 12700 w 155575"/>
              <a:gd name="connsiteY5" fmla="*/ 6350 h 28575"/>
              <a:gd name="connsiteX6" fmla="*/ 0 w 155575"/>
              <a:gd name="connsiteY6" fmla="*/ 0 h 2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5575" h="28575">
                <a:moveTo>
                  <a:pt x="155575" y="28575"/>
                </a:moveTo>
                <a:lnTo>
                  <a:pt x="92075" y="22225"/>
                </a:lnTo>
                <a:cubicBezTo>
                  <a:pt x="78317" y="20638"/>
                  <a:pt x="81492" y="20108"/>
                  <a:pt x="73025" y="19050"/>
                </a:cubicBezTo>
                <a:cubicBezTo>
                  <a:pt x="64558" y="17992"/>
                  <a:pt x="49213" y="17463"/>
                  <a:pt x="41275" y="15875"/>
                </a:cubicBezTo>
                <a:cubicBezTo>
                  <a:pt x="33337" y="14287"/>
                  <a:pt x="25400" y="9525"/>
                  <a:pt x="25400" y="9525"/>
                </a:cubicBezTo>
                <a:cubicBezTo>
                  <a:pt x="20638" y="7938"/>
                  <a:pt x="12700" y="6350"/>
                  <a:pt x="12700" y="6350"/>
                </a:cubicBezTo>
                <a:cubicBezTo>
                  <a:pt x="8467" y="4763"/>
                  <a:pt x="4233" y="2381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Полилиния 100"/>
          <p:cNvSpPr/>
          <p:nvPr/>
        </p:nvSpPr>
        <p:spPr>
          <a:xfrm>
            <a:off x="568325" y="3418827"/>
            <a:ext cx="587375" cy="153913"/>
          </a:xfrm>
          <a:custGeom>
            <a:avLst/>
            <a:gdLst>
              <a:gd name="connsiteX0" fmla="*/ 0 w 587375"/>
              <a:gd name="connsiteY0" fmla="*/ 121298 h 153913"/>
              <a:gd name="connsiteX1" fmla="*/ 63500 w 587375"/>
              <a:gd name="connsiteY1" fmla="*/ 133998 h 153913"/>
              <a:gd name="connsiteX2" fmla="*/ 136525 w 587375"/>
              <a:gd name="connsiteY2" fmla="*/ 146698 h 153913"/>
              <a:gd name="connsiteX3" fmla="*/ 174625 w 587375"/>
              <a:gd name="connsiteY3" fmla="*/ 153048 h 153913"/>
              <a:gd name="connsiteX4" fmla="*/ 209550 w 587375"/>
              <a:gd name="connsiteY4" fmla="*/ 127648 h 153913"/>
              <a:gd name="connsiteX5" fmla="*/ 260350 w 587375"/>
              <a:gd name="connsiteY5" fmla="*/ 99073 h 153913"/>
              <a:gd name="connsiteX6" fmla="*/ 323850 w 587375"/>
              <a:gd name="connsiteY6" fmla="*/ 86373 h 153913"/>
              <a:gd name="connsiteX7" fmla="*/ 390525 w 587375"/>
              <a:gd name="connsiteY7" fmla="*/ 67323 h 153913"/>
              <a:gd name="connsiteX8" fmla="*/ 419100 w 587375"/>
              <a:gd name="connsiteY8" fmla="*/ 57798 h 153913"/>
              <a:gd name="connsiteX9" fmla="*/ 434975 w 587375"/>
              <a:gd name="connsiteY9" fmla="*/ 35573 h 153913"/>
              <a:gd name="connsiteX10" fmla="*/ 457200 w 587375"/>
              <a:gd name="connsiteY10" fmla="*/ 648 h 153913"/>
              <a:gd name="connsiteX11" fmla="*/ 495300 w 587375"/>
              <a:gd name="connsiteY11" fmla="*/ 13348 h 153913"/>
              <a:gd name="connsiteX12" fmla="*/ 520700 w 587375"/>
              <a:gd name="connsiteY12" fmla="*/ 19698 h 153913"/>
              <a:gd name="connsiteX13" fmla="*/ 558800 w 587375"/>
              <a:gd name="connsiteY13" fmla="*/ 38748 h 153913"/>
              <a:gd name="connsiteX14" fmla="*/ 581025 w 587375"/>
              <a:gd name="connsiteY14" fmla="*/ 51448 h 153913"/>
              <a:gd name="connsiteX15" fmla="*/ 587375 w 587375"/>
              <a:gd name="connsiteY15" fmla="*/ 57798 h 15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87375" h="153913">
                <a:moveTo>
                  <a:pt x="0" y="121298"/>
                </a:moveTo>
                <a:lnTo>
                  <a:pt x="63500" y="133998"/>
                </a:lnTo>
                <a:cubicBezTo>
                  <a:pt x="86254" y="138231"/>
                  <a:pt x="136525" y="146698"/>
                  <a:pt x="136525" y="146698"/>
                </a:cubicBezTo>
                <a:cubicBezTo>
                  <a:pt x="155046" y="149873"/>
                  <a:pt x="162454" y="156223"/>
                  <a:pt x="174625" y="153048"/>
                </a:cubicBezTo>
                <a:cubicBezTo>
                  <a:pt x="186796" y="149873"/>
                  <a:pt x="195263" y="136644"/>
                  <a:pt x="209550" y="127648"/>
                </a:cubicBezTo>
                <a:cubicBezTo>
                  <a:pt x="223837" y="118652"/>
                  <a:pt x="241300" y="105952"/>
                  <a:pt x="260350" y="99073"/>
                </a:cubicBezTo>
                <a:cubicBezTo>
                  <a:pt x="279400" y="92194"/>
                  <a:pt x="302154" y="91665"/>
                  <a:pt x="323850" y="86373"/>
                </a:cubicBezTo>
                <a:cubicBezTo>
                  <a:pt x="345546" y="81081"/>
                  <a:pt x="374650" y="72085"/>
                  <a:pt x="390525" y="67323"/>
                </a:cubicBezTo>
                <a:cubicBezTo>
                  <a:pt x="406400" y="62561"/>
                  <a:pt x="411692" y="63090"/>
                  <a:pt x="419100" y="57798"/>
                </a:cubicBezTo>
                <a:cubicBezTo>
                  <a:pt x="426508" y="52506"/>
                  <a:pt x="428625" y="45098"/>
                  <a:pt x="434975" y="35573"/>
                </a:cubicBezTo>
                <a:cubicBezTo>
                  <a:pt x="441325" y="26048"/>
                  <a:pt x="447146" y="4352"/>
                  <a:pt x="457200" y="648"/>
                </a:cubicBezTo>
                <a:cubicBezTo>
                  <a:pt x="467254" y="-3056"/>
                  <a:pt x="484717" y="10173"/>
                  <a:pt x="495300" y="13348"/>
                </a:cubicBezTo>
                <a:cubicBezTo>
                  <a:pt x="505883" y="16523"/>
                  <a:pt x="510117" y="15465"/>
                  <a:pt x="520700" y="19698"/>
                </a:cubicBezTo>
                <a:cubicBezTo>
                  <a:pt x="531283" y="23931"/>
                  <a:pt x="548746" y="33456"/>
                  <a:pt x="558800" y="38748"/>
                </a:cubicBezTo>
                <a:cubicBezTo>
                  <a:pt x="568854" y="44040"/>
                  <a:pt x="581025" y="51448"/>
                  <a:pt x="581025" y="51448"/>
                </a:cubicBezTo>
                <a:cubicBezTo>
                  <a:pt x="585787" y="54623"/>
                  <a:pt x="586581" y="56210"/>
                  <a:pt x="587375" y="57798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2" name="Полилиния 101"/>
          <p:cNvSpPr/>
          <p:nvPr/>
        </p:nvSpPr>
        <p:spPr>
          <a:xfrm>
            <a:off x="1533525" y="2981325"/>
            <a:ext cx="990600" cy="463550"/>
          </a:xfrm>
          <a:custGeom>
            <a:avLst/>
            <a:gdLst>
              <a:gd name="connsiteX0" fmla="*/ 990600 w 990600"/>
              <a:gd name="connsiteY0" fmla="*/ 0 h 463550"/>
              <a:gd name="connsiteX1" fmla="*/ 930275 w 990600"/>
              <a:gd name="connsiteY1" fmla="*/ 28575 h 463550"/>
              <a:gd name="connsiteX2" fmla="*/ 911225 w 990600"/>
              <a:gd name="connsiteY2" fmla="*/ 41275 h 463550"/>
              <a:gd name="connsiteX3" fmla="*/ 882650 w 990600"/>
              <a:gd name="connsiteY3" fmla="*/ 63500 h 463550"/>
              <a:gd name="connsiteX4" fmla="*/ 863600 w 990600"/>
              <a:gd name="connsiteY4" fmla="*/ 69850 h 463550"/>
              <a:gd name="connsiteX5" fmla="*/ 819150 w 990600"/>
              <a:gd name="connsiteY5" fmla="*/ 66675 h 463550"/>
              <a:gd name="connsiteX6" fmla="*/ 787400 w 990600"/>
              <a:gd name="connsiteY6" fmla="*/ 73025 h 463550"/>
              <a:gd name="connsiteX7" fmla="*/ 762000 w 990600"/>
              <a:gd name="connsiteY7" fmla="*/ 82550 h 463550"/>
              <a:gd name="connsiteX8" fmla="*/ 736600 w 990600"/>
              <a:gd name="connsiteY8" fmla="*/ 114300 h 463550"/>
              <a:gd name="connsiteX9" fmla="*/ 673100 w 990600"/>
              <a:gd name="connsiteY9" fmla="*/ 171450 h 463550"/>
              <a:gd name="connsiteX10" fmla="*/ 650875 w 990600"/>
              <a:gd name="connsiteY10" fmla="*/ 187325 h 463550"/>
              <a:gd name="connsiteX11" fmla="*/ 619125 w 990600"/>
              <a:gd name="connsiteY11" fmla="*/ 228600 h 463550"/>
              <a:gd name="connsiteX12" fmla="*/ 577850 w 990600"/>
              <a:gd name="connsiteY12" fmla="*/ 260350 h 463550"/>
              <a:gd name="connsiteX13" fmla="*/ 533400 w 990600"/>
              <a:gd name="connsiteY13" fmla="*/ 282575 h 463550"/>
              <a:gd name="connsiteX14" fmla="*/ 476250 w 990600"/>
              <a:gd name="connsiteY14" fmla="*/ 288925 h 463550"/>
              <a:gd name="connsiteX15" fmla="*/ 450850 w 990600"/>
              <a:gd name="connsiteY15" fmla="*/ 295275 h 463550"/>
              <a:gd name="connsiteX16" fmla="*/ 425450 w 990600"/>
              <a:gd name="connsiteY16" fmla="*/ 323850 h 463550"/>
              <a:gd name="connsiteX17" fmla="*/ 387350 w 990600"/>
              <a:gd name="connsiteY17" fmla="*/ 327025 h 463550"/>
              <a:gd name="connsiteX18" fmla="*/ 346075 w 990600"/>
              <a:gd name="connsiteY18" fmla="*/ 342900 h 463550"/>
              <a:gd name="connsiteX19" fmla="*/ 323850 w 990600"/>
              <a:gd name="connsiteY19" fmla="*/ 355600 h 463550"/>
              <a:gd name="connsiteX20" fmla="*/ 301625 w 990600"/>
              <a:gd name="connsiteY20" fmla="*/ 368300 h 463550"/>
              <a:gd name="connsiteX21" fmla="*/ 266700 w 990600"/>
              <a:gd name="connsiteY21" fmla="*/ 371475 h 463550"/>
              <a:gd name="connsiteX22" fmla="*/ 228600 w 990600"/>
              <a:gd name="connsiteY22" fmla="*/ 387350 h 463550"/>
              <a:gd name="connsiteX23" fmla="*/ 187325 w 990600"/>
              <a:gd name="connsiteY23" fmla="*/ 400050 h 463550"/>
              <a:gd name="connsiteX24" fmla="*/ 142875 w 990600"/>
              <a:gd name="connsiteY24" fmla="*/ 412750 h 463550"/>
              <a:gd name="connsiteX25" fmla="*/ 111125 w 990600"/>
              <a:gd name="connsiteY25" fmla="*/ 425450 h 463550"/>
              <a:gd name="connsiteX26" fmla="*/ 82550 w 990600"/>
              <a:gd name="connsiteY26" fmla="*/ 428625 h 463550"/>
              <a:gd name="connsiteX27" fmla="*/ 60325 w 990600"/>
              <a:gd name="connsiteY27" fmla="*/ 434975 h 463550"/>
              <a:gd name="connsiteX28" fmla="*/ 34925 w 990600"/>
              <a:gd name="connsiteY28" fmla="*/ 438150 h 463550"/>
              <a:gd name="connsiteX29" fmla="*/ 9525 w 990600"/>
              <a:gd name="connsiteY29" fmla="*/ 454025 h 463550"/>
              <a:gd name="connsiteX30" fmla="*/ 0 w 990600"/>
              <a:gd name="connsiteY30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990600" h="463550">
                <a:moveTo>
                  <a:pt x="990600" y="0"/>
                </a:moveTo>
                <a:cubicBezTo>
                  <a:pt x="967052" y="10848"/>
                  <a:pt x="943504" y="21696"/>
                  <a:pt x="930275" y="28575"/>
                </a:cubicBezTo>
                <a:cubicBezTo>
                  <a:pt x="917046" y="35454"/>
                  <a:pt x="919162" y="35454"/>
                  <a:pt x="911225" y="41275"/>
                </a:cubicBezTo>
                <a:cubicBezTo>
                  <a:pt x="903288" y="47096"/>
                  <a:pt x="890587" y="58738"/>
                  <a:pt x="882650" y="63500"/>
                </a:cubicBezTo>
                <a:cubicBezTo>
                  <a:pt x="874712" y="68263"/>
                  <a:pt x="874183" y="69321"/>
                  <a:pt x="863600" y="69850"/>
                </a:cubicBezTo>
                <a:cubicBezTo>
                  <a:pt x="853017" y="70379"/>
                  <a:pt x="831850" y="66146"/>
                  <a:pt x="819150" y="66675"/>
                </a:cubicBezTo>
                <a:cubicBezTo>
                  <a:pt x="806450" y="67204"/>
                  <a:pt x="796925" y="70379"/>
                  <a:pt x="787400" y="73025"/>
                </a:cubicBezTo>
                <a:cubicBezTo>
                  <a:pt x="777875" y="75671"/>
                  <a:pt x="770467" y="75671"/>
                  <a:pt x="762000" y="82550"/>
                </a:cubicBezTo>
                <a:cubicBezTo>
                  <a:pt x="753533" y="89429"/>
                  <a:pt x="751417" y="99483"/>
                  <a:pt x="736600" y="114300"/>
                </a:cubicBezTo>
                <a:cubicBezTo>
                  <a:pt x="721783" y="129117"/>
                  <a:pt x="687387" y="159279"/>
                  <a:pt x="673100" y="171450"/>
                </a:cubicBezTo>
                <a:cubicBezTo>
                  <a:pt x="658813" y="183621"/>
                  <a:pt x="659871" y="177800"/>
                  <a:pt x="650875" y="187325"/>
                </a:cubicBezTo>
                <a:cubicBezTo>
                  <a:pt x="641879" y="196850"/>
                  <a:pt x="631296" y="216429"/>
                  <a:pt x="619125" y="228600"/>
                </a:cubicBezTo>
                <a:cubicBezTo>
                  <a:pt x="606954" y="240771"/>
                  <a:pt x="592137" y="251354"/>
                  <a:pt x="577850" y="260350"/>
                </a:cubicBezTo>
                <a:cubicBezTo>
                  <a:pt x="563563" y="269346"/>
                  <a:pt x="550333" y="277813"/>
                  <a:pt x="533400" y="282575"/>
                </a:cubicBezTo>
                <a:cubicBezTo>
                  <a:pt x="516467" y="287337"/>
                  <a:pt x="490008" y="286808"/>
                  <a:pt x="476250" y="288925"/>
                </a:cubicBezTo>
                <a:cubicBezTo>
                  <a:pt x="462492" y="291042"/>
                  <a:pt x="459317" y="289454"/>
                  <a:pt x="450850" y="295275"/>
                </a:cubicBezTo>
                <a:cubicBezTo>
                  <a:pt x="442383" y="301096"/>
                  <a:pt x="436033" y="318558"/>
                  <a:pt x="425450" y="323850"/>
                </a:cubicBezTo>
                <a:cubicBezTo>
                  <a:pt x="414867" y="329142"/>
                  <a:pt x="400579" y="323850"/>
                  <a:pt x="387350" y="327025"/>
                </a:cubicBezTo>
                <a:cubicBezTo>
                  <a:pt x="374121" y="330200"/>
                  <a:pt x="356658" y="338138"/>
                  <a:pt x="346075" y="342900"/>
                </a:cubicBezTo>
                <a:cubicBezTo>
                  <a:pt x="335492" y="347663"/>
                  <a:pt x="323850" y="355600"/>
                  <a:pt x="323850" y="355600"/>
                </a:cubicBezTo>
                <a:cubicBezTo>
                  <a:pt x="316442" y="359833"/>
                  <a:pt x="311150" y="365654"/>
                  <a:pt x="301625" y="368300"/>
                </a:cubicBezTo>
                <a:cubicBezTo>
                  <a:pt x="292100" y="370946"/>
                  <a:pt x="278871" y="368300"/>
                  <a:pt x="266700" y="371475"/>
                </a:cubicBezTo>
                <a:cubicBezTo>
                  <a:pt x="254529" y="374650"/>
                  <a:pt x="241829" y="382588"/>
                  <a:pt x="228600" y="387350"/>
                </a:cubicBezTo>
                <a:cubicBezTo>
                  <a:pt x="215371" y="392112"/>
                  <a:pt x="201612" y="395817"/>
                  <a:pt x="187325" y="400050"/>
                </a:cubicBezTo>
                <a:cubicBezTo>
                  <a:pt x="173038" y="404283"/>
                  <a:pt x="155575" y="408517"/>
                  <a:pt x="142875" y="412750"/>
                </a:cubicBezTo>
                <a:cubicBezTo>
                  <a:pt x="130175" y="416983"/>
                  <a:pt x="121179" y="422804"/>
                  <a:pt x="111125" y="425450"/>
                </a:cubicBezTo>
                <a:cubicBezTo>
                  <a:pt x="101071" y="428096"/>
                  <a:pt x="91017" y="427038"/>
                  <a:pt x="82550" y="428625"/>
                </a:cubicBezTo>
                <a:cubicBezTo>
                  <a:pt x="74083" y="430212"/>
                  <a:pt x="68263" y="433387"/>
                  <a:pt x="60325" y="434975"/>
                </a:cubicBezTo>
                <a:cubicBezTo>
                  <a:pt x="52387" y="436563"/>
                  <a:pt x="43392" y="434975"/>
                  <a:pt x="34925" y="438150"/>
                </a:cubicBezTo>
                <a:cubicBezTo>
                  <a:pt x="26458" y="441325"/>
                  <a:pt x="9525" y="454025"/>
                  <a:pt x="9525" y="454025"/>
                </a:cubicBezTo>
                <a:cubicBezTo>
                  <a:pt x="3704" y="458258"/>
                  <a:pt x="1852" y="460904"/>
                  <a:pt x="0" y="463550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Полилиния 102"/>
          <p:cNvSpPr/>
          <p:nvPr/>
        </p:nvSpPr>
        <p:spPr>
          <a:xfrm>
            <a:off x="1533525" y="2978150"/>
            <a:ext cx="990600" cy="463550"/>
          </a:xfrm>
          <a:custGeom>
            <a:avLst/>
            <a:gdLst>
              <a:gd name="connsiteX0" fmla="*/ 990600 w 990600"/>
              <a:gd name="connsiteY0" fmla="*/ 0 h 463550"/>
              <a:gd name="connsiteX1" fmla="*/ 930275 w 990600"/>
              <a:gd name="connsiteY1" fmla="*/ 28575 h 463550"/>
              <a:gd name="connsiteX2" fmla="*/ 911225 w 990600"/>
              <a:gd name="connsiteY2" fmla="*/ 41275 h 463550"/>
              <a:gd name="connsiteX3" fmla="*/ 882650 w 990600"/>
              <a:gd name="connsiteY3" fmla="*/ 63500 h 463550"/>
              <a:gd name="connsiteX4" fmla="*/ 863600 w 990600"/>
              <a:gd name="connsiteY4" fmla="*/ 69850 h 463550"/>
              <a:gd name="connsiteX5" fmla="*/ 819150 w 990600"/>
              <a:gd name="connsiteY5" fmla="*/ 66675 h 463550"/>
              <a:gd name="connsiteX6" fmla="*/ 787400 w 990600"/>
              <a:gd name="connsiteY6" fmla="*/ 73025 h 463550"/>
              <a:gd name="connsiteX7" fmla="*/ 762000 w 990600"/>
              <a:gd name="connsiteY7" fmla="*/ 82550 h 463550"/>
              <a:gd name="connsiteX8" fmla="*/ 736600 w 990600"/>
              <a:gd name="connsiteY8" fmla="*/ 114300 h 463550"/>
              <a:gd name="connsiteX9" fmla="*/ 673100 w 990600"/>
              <a:gd name="connsiteY9" fmla="*/ 171450 h 463550"/>
              <a:gd name="connsiteX10" fmla="*/ 650875 w 990600"/>
              <a:gd name="connsiteY10" fmla="*/ 187325 h 463550"/>
              <a:gd name="connsiteX11" fmla="*/ 619125 w 990600"/>
              <a:gd name="connsiteY11" fmla="*/ 228600 h 463550"/>
              <a:gd name="connsiteX12" fmla="*/ 577850 w 990600"/>
              <a:gd name="connsiteY12" fmla="*/ 260350 h 463550"/>
              <a:gd name="connsiteX13" fmla="*/ 533400 w 990600"/>
              <a:gd name="connsiteY13" fmla="*/ 282575 h 463550"/>
              <a:gd name="connsiteX14" fmla="*/ 476250 w 990600"/>
              <a:gd name="connsiteY14" fmla="*/ 288925 h 463550"/>
              <a:gd name="connsiteX15" fmla="*/ 450850 w 990600"/>
              <a:gd name="connsiteY15" fmla="*/ 295275 h 463550"/>
              <a:gd name="connsiteX16" fmla="*/ 425450 w 990600"/>
              <a:gd name="connsiteY16" fmla="*/ 323850 h 463550"/>
              <a:gd name="connsiteX17" fmla="*/ 387350 w 990600"/>
              <a:gd name="connsiteY17" fmla="*/ 327025 h 463550"/>
              <a:gd name="connsiteX18" fmla="*/ 346075 w 990600"/>
              <a:gd name="connsiteY18" fmla="*/ 342900 h 463550"/>
              <a:gd name="connsiteX19" fmla="*/ 323850 w 990600"/>
              <a:gd name="connsiteY19" fmla="*/ 355600 h 463550"/>
              <a:gd name="connsiteX20" fmla="*/ 301625 w 990600"/>
              <a:gd name="connsiteY20" fmla="*/ 368300 h 463550"/>
              <a:gd name="connsiteX21" fmla="*/ 266700 w 990600"/>
              <a:gd name="connsiteY21" fmla="*/ 371475 h 463550"/>
              <a:gd name="connsiteX22" fmla="*/ 228600 w 990600"/>
              <a:gd name="connsiteY22" fmla="*/ 387350 h 463550"/>
              <a:gd name="connsiteX23" fmla="*/ 187325 w 990600"/>
              <a:gd name="connsiteY23" fmla="*/ 400050 h 463550"/>
              <a:gd name="connsiteX24" fmla="*/ 142875 w 990600"/>
              <a:gd name="connsiteY24" fmla="*/ 412750 h 463550"/>
              <a:gd name="connsiteX25" fmla="*/ 111125 w 990600"/>
              <a:gd name="connsiteY25" fmla="*/ 425450 h 463550"/>
              <a:gd name="connsiteX26" fmla="*/ 82550 w 990600"/>
              <a:gd name="connsiteY26" fmla="*/ 428625 h 463550"/>
              <a:gd name="connsiteX27" fmla="*/ 60325 w 990600"/>
              <a:gd name="connsiteY27" fmla="*/ 434975 h 463550"/>
              <a:gd name="connsiteX28" fmla="*/ 34925 w 990600"/>
              <a:gd name="connsiteY28" fmla="*/ 438150 h 463550"/>
              <a:gd name="connsiteX29" fmla="*/ 9525 w 990600"/>
              <a:gd name="connsiteY29" fmla="*/ 454025 h 463550"/>
              <a:gd name="connsiteX30" fmla="*/ 0 w 990600"/>
              <a:gd name="connsiteY30" fmla="*/ 463550 h 46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990600" h="463550">
                <a:moveTo>
                  <a:pt x="990600" y="0"/>
                </a:moveTo>
                <a:cubicBezTo>
                  <a:pt x="967052" y="10848"/>
                  <a:pt x="943504" y="21696"/>
                  <a:pt x="930275" y="28575"/>
                </a:cubicBezTo>
                <a:cubicBezTo>
                  <a:pt x="917046" y="35454"/>
                  <a:pt x="919162" y="35454"/>
                  <a:pt x="911225" y="41275"/>
                </a:cubicBezTo>
                <a:cubicBezTo>
                  <a:pt x="903288" y="47096"/>
                  <a:pt x="890587" y="58738"/>
                  <a:pt x="882650" y="63500"/>
                </a:cubicBezTo>
                <a:cubicBezTo>
                  <a:pt x="874712" y="68263"/>
                  <a:pt x="874183" y="69321"/>
                  <a:pt x="863600" y="69850"/>
                </a:cubicBezTo>
                <a:cubicBezTo>
                  <a:pt x="853017" y="70379"/>
                  <a:pt x="831850" y="66146"/>
                  <a:pt x="819150" y="66675"/>
                </a:cubicBezTo>
                <a:cubicBezTo>
                  <a:pt x="806450" y="67204"/>
                  <a:pt x="796925" y="70379"/>
                  <a:pt x="787400" y="73025"/>
                </a:cubicBezTo>
                <a:cubicBezTo>
                  <a:pt x="777875" y="75671"/>
                  <a:pt x="770467" y="75671"/>
                  <a:pt x="762000" y="82550"/>
                </a:cubicBezTo>
                <a:cubicBezTo>
                  <a:pt x="753533" y="89429"/>
                  <a:pt x="751417" y="99483"/>
                  <a:pt x="736600" y="114300"/>
                </a:cubicBezTo>
                <a:cubicBezTo>
                  <a:pt x="721783" y="129117"/>
                  <a:pt x="687387" y="159279"/>
                  <a:pt x="673100" y="171450"/>
                </a:cubicBezTo>
                <a:cubicBezTo>
                  <a:pt x="658813" y="183621"/>
                  <a:pt x="659871" y="177800"/>
                  <a:pt x="650875" y="187325"/>
                </a:cubicBezTo>
                <a:cubicBezTo>
                  <a:pt x="641879" y="196850"/>
                  <a:pt x="631296" y="216429"/>
                  <a:pt x="619125" y="228600"/>
                </a:cubicBezTo>
                <a:cubicBezTo>
                  <a:pt x="606954" y="240771"/>
                  <a:pt x="592137" y="251354"/>
                  <a:pt x="577850" y="260350"/>
                </a:cubicBezTo>
                <a:cubicBezTo>
                  <a:pt x="563563" y="269346"/>
                  <a:pt x="550333" y="277813"/>
                  <a:pt x="533400" y="282575"/>
                </a:cubicBezTo>
                <a:cubicBezTo>
                  <a:pt x="516467" y="287337"/>
                  <a:pt x="490008" y="286808"/>
                  <a:pt x="476250" y="288925"/>
                </a:cubicBezTo>
                <a:cubicBezTo>
                  <a:pt x="462492" y="291042"/>
                  <a:pt x="459317" y="289454"/>
                  <a:pt x="450850" y="295275"/>
                </a:cubicBezTo>
                <a:cubicBezTo>
                  <a:pt x="442383" y="301096"/>
                  <a:pt x="436033" y="318558"/>
                  <a:pt x="425450" y="323850"/>
                </a:cubicBezTo>
                <a:cubicBezTo>
                  <a:pt x="414867" y="329142"/>
                  <a:pt x="400579" y="323850"/>
                  <a:pt x="387350" y="327025"/>
                </a:cubicBezTo>
                <a:cubicBezTo>
                  <a:pt x="374121" y="330200"/>
                  <a:pt x="356658" y="338138"/>
                  <a:pt x="346075" y="342900"/>
                </a:cubicBezTo>
                <a:cubicBezTo>
                  <a:pt x="335492" y="347663"/>
                  <a:pt x="323850" y="355600"/>
                  <a:pt x="323850" y="355600"/>
                </a:cubicBezTo>
                <a:cubicBezTo>
                  <a:pt x="316442" y="359833"/>
                  <a:pt x="311150" y="365654"/>
                  <a:pt x="301625" y="368300"/>
                </a:cubicBezTo>
                <a:cubicBezTo>
                  <a:pt x="292100" y="370946"/>
                  <a:pt x="278871" y="368300"/>
                  <a:pt x="266700" y="371475"/>
                </a:cubicBezTo>
                <a:cubicBezTo>
                  <a:pt x="254529" y="374650"/>
                  <a:pt x="241829" y="382588"/>
                  <a:pt x="228600" y="387350"/>
                </a:cubicBezTo>
                <a:cubicBezTo>
                  <a:pt x="215371" y="392112"/>
                  <a:pt x="201612" y="395817"/>
                  <a:pt x="187325" y="400050"/>
                </a:cubicBezTo>
                <a:cubicBezTo>
                  <a:pt x="173038" y="404283"/>
                  <a:pt x="155575" y="408517"/>
                  <a:pt x="142875" y="412750"/>
                </a:cubicBezTo>
                <a:cubicBezTo>
                  <a:pt x="130175" y="416983"/>
                  <a:pt x="121179" y="422804"/>
                  <a:pt x="111125" y="425450"/>
                </a:cubicBezTo>
                <a:cubicBezTo>
                  <a:pt x="101071" y="428096"/>
                  <a:pt x="91017" y="427038"/>
                  <a:pt x="82550" y="428625"/>
                </a:cubicBezTo>
                <a:cubicBezTo>
                  <a:pt x="74083" y="430212"/>
                  <a:pt x="68263" y="433387"/>
                  <a:pt x="60325" y="434975"/>
                </a:cubicBezTo>
                <a:cubicBezTo>
                  <a:pt x="52387" y="436563"/>
                  <a:pt x="43392" y="434975"/>
                  <a:pt x="34925" y="438150"/>
                </a:cubicBezTo>
                <a:cubicBezTo>
                  <a:pt x="26458" y="441325"/>
                  <a:pt x="9525" y="454025"/>
                  <a:pt x="9525" y="454025"/>
                </a:cubicBezTo>
                <a:cubicBezTo>
                  <a:pt x="3704" y="458258"/>
                  <a:pt x="1852" y="460904"/>
                  <a:pt x="0" y="46355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Полилиния 105"/>
          <p:cNvSpPr/>
          <p:nvPr/>
        </p:nvSpPr>
        <p:spPr>
          <a:xfrm>
            <a:off x="2501900" y="2724150"/>
            <a:ext cx="57201" cy="142875"/>
          </a:xfrm>
          <a:custGeom>
            <a:avLst/>
            <a:gdLst>
              <a:gd name="connsiteX0" fmla="*/ 0 w 57201"/>
              <a:gd name="connsiteY0" fmla="*/ 142875 h 142875"/>
              <a:gd name="connsiteX1" fmla="*/ 50800 w 57201"/>
              <a:gd name="connsiteY1" fmla="*/ 92075 h 142875"/>
              <a:gd name="connsiteX2" fmla="*/ 50800 w 57201"/>
              <a:gd name="connsiteY2" fmla="*/ 69850 h 142875"/>
              <a:gd name="connsiteX3" fmla="*/ 57150 w 57201"/>
              <a:gd name="connsiteY3" fmla="*/ 53975 h 142875"/>
              <a:gd name="connsiteX4" fmla="*/ 53975 w 57201"/>
              <a:gd name="connsiteY4" fmla="*/ 28575 h 142875"/>
              <a:gd name="connsiteX5" fmla="*/ 44450 w 57201"/>
              <a:gd name="connsiteY5" fmla="*/ 19050 h 142875"/>
              <a:gd name="connsiteX6" fmla="*/ 38100 w 57201"/>
              <a:gd name="connsiteY6" fmla="*/ 0 h 14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01" h="142875">
                <a:moveTo>
                  <a:pt x="0" y="142875"/>
                </a:moveTo>
                <a:cubicBezTo>
                  <a:pt x="21166" y="123560"/>
                  <a:pt x="42333" y="104246"/>
                  <a:pt x="50800" y="92075"/>
                </a:cubicBezTo>
                <a:cubicBezTo>
                  <a:pt x="59267" y="79904"/>
                  <a:pt x="49742" y="76200"/>
                  <a:pt x="50800" y="69850"/>
                </a:cubicBezTo>
                <a:cubicBezTo>
                  <a:pt x="51858" y="63500"/>
                  <a:pt x="56621" y="60854"/>
                  <a:pt x="57150" y="53975"/>
                </a:cubicBezTo>
                <a:cubicBezTo>
                  <a:pt x="57679" y="47096"/>
                  <a:pt x="53975" y="28575"/>
                  <a:pt x="53975" y="28575"/>
                </a:cubicBezTo>
                <a:cubicBezTo>
                  <a:pt x="51858" y="22754"/>
                  <a:pt x="47096" y="23812"/>
                  <a:pt x="44450" y="19050"/>
                </a:cubicBezTo>
                <a:cubicBezTo>
                  <a:pt x="41804" y="14288"/>
                  <a:pt x="39952" y="7144"/>
                  <a:pt x="38100" y="0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Полилиния 107"/>
          <p:cNvSpPr/>
          <p:nvPr/>
        </p:nvSpPr>
        <p:spPr>
          <a:xfrm>
            <a:off x="2504892" y="2851150"/>
            <a:ext cx="14105" cy="130175"/>
          </a:xfrm>
          <a:custGeom>
            <a:avLst/>
            <a:gdLst>
              <a:gd name="connsiteX0" fmla="*/ 6533 w 14105"/>
              <a:gd name="connsiteY0" fmla="*/ 0 h 130175"/>
              <a:gd name="connsiteX1" fmla="*/ 183 w 14105"/>
              <a:gd name="connsiteY1" fmla="*/ 76200 h 130175"/>
              <a:gd name="connsiteX2" fmla="*/ 12883 w 14105"/>
              <a:gd name="connsiteY2" fmla="*/ 92075 h 130175"/>
              <a:gd name="connsiteX3" fmla="*/ 12883 w 14105"/>
              <a:gd name="connsiteY3" fmla="*/ 130175 h 1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05" h="130175">
                <a:moveTo>
                  <a:pt x="6533" y="0"/>
                </a:moveTo>
                <a:cubicBezTo>
                  <a:pt x="2829" y="30427"/>
                  <a:pt x="-875" y="60854"/>
                  <a:pt x="183" y="76200"/>
                </a:cubicBezTo>
                <a:cubicBezTo>
                  <a:pt x="1241" y="91546"/>
                  <a:pt x="10766" y="83079"/>
                  <a:pt x="12883" y="92075"/>
                </a:cubicBezTo>
                <a:cubicBezTo>
                  <a:pt x="15000" y="101071"/>
                  <a:pt x="13941" y="115623"/>
                  <a:pt x="12883" y="130175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Блок-схема: узел 21"/>
          <p:cNvSpPr/>
          <p:nvPr/>
        </p:nvSpPr>
        <p:spPr>
          <a:xfrm>
            <a:off x="2493608" y="2657598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Полилиния 108"/>
          <p:cNvSpPr/>
          <p:nvPr/>
        </p:nvSpPr>
        <p:spPr>
          <a:xfrm>
            <a:off x="2504892" y="2867025"/>
            <a:ext cx="14105" cy="130175"/>
          </a:xfrm>
          <a:custGeom>
            <a:avLst/>
            <a:gdLst>
              <a:gd name="connsiteX0" fmla="*/ 6533 w 14105"/>
              <a:gd name="connsiteY0" fmla="*/ 0 h 130175"/>
              <a:gd name="connsiteX1" fmla="*/ 183 w 14105"/>
              <a:gd name="connsiteY1" fmla="*/ 76200 h 130175"/>
              <a:gd name="connsiteX2" fmla="*/ 12883 w 14105"/>
              <a:gd name="connsiteY2" fmla="*/ 92075 h 130175"/>
              <a:gd name="connsiteX3" fmla="*/ 12883 w 14105"/>
              <a:gd name="connsiteY3" fmla="*/ 130175 h 1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05" h="130175">
                <a:moveTo>
                  <a:pt x="6533" y="0"/>
                </a:moveTo>
                <a:cubicBezTo>
                  <a:pt x="2829" y="30427"/>
                  <a:pt x="-875" y="60854"/>
                  <a:pt x="183" y="76200"/>
                </a:cubicBezTo>
                <a:cubicBezTo>
                  <a:pt x="1241" y="91546"/>
                  <a:pt x="10766" y="83079"/>
                  <a:pt x="12883" y="92075"/>
                </a:cubicBezTo>
                <a:cubicBezTo>
                  <a:pt x="15000" y="101071"/>
                  <a:pt x="13941" y="115623"/>
                  <a:pt x="12883" y="13017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Полилиния 110"/>
          <p:cNvSpPr/>
          <p:nvPr/>
        </p:nvSpPr>
        <p:spPr>
          <a:xfrm>
            <a:off x="2517775" y="2724150"/>
            <a:ext cx="42667" cy="123825"/>
          </a:xfrm>
          <a:custGeom>
            <a:avLst/>
            <a:gdLst>
              <a:gd name="connsiteX0" fmla="*/ 0 w 42667"/>
              <a:gd name="connsiteY0" fmla="*/ 123825 h 123825"/>
              <a:gd name="connsiteX1" fmla="*/ 38100 w 42667"/>
              <a:gd name="connsiteY1" fmla="*/ 73025 h 123825"/>
              <a:gd name="connsiteX2" fmla="*/ 41275 w 42667"/>
              <a:gd name="connsiteY2" fmla="*/ 44450 h 123825"/>
              <a:gd name="connsiteX3" fmla="*/ 31750 w 42667"/>
              <a:gd name="connsiteY3" fmla="*/ 28575 h 123825"/>
              <a:gd name="connsiteX4" fmla="*/ 28575 w 42667"/>
              <a:gd name="connsiteY4" fmla="*/ 0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667" h="123825">
                <a:moveTo>
                  <a:pt x="0" y="123825"/>
                </a:moveTo>
                <a:cubicBezTo>
                  <a:pt x="15610" y="105039"/>
                  <a:pt x="31221" y="86254"/>
                  <a:pt x="38100" y="73025"/>
                </a:cubicBezTo>
                <a:cubicBezTo>
                  <a:pt x="44979" y="59796"/>
                  <a:pt x="42333" y="51858"/>
                  <a:pt x="41275" y="44450"/>
                </a:cubicBezTo>
                <a:cubicBezTo>
                  <a:pt x="40217" y="37042"/>
                  <a:pt x="33867" y="35983"/>
                  <a:pt x="31750" y="28575"/>
                </a:cubicBezTo>
                <a:cubicBezTo>
                  <a:pt x="29633" y="21167"/>
                  <a:pt x="29104" y="10583"/>
                  <a:pt x="28575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Полилиния 119"/>
          <p:cNvSpPr/>
          <p:nvPr/>
        </p:nvSpPr>
        <p:spPr>
          <a:xfrm>
            <a:off x="7335078" y="2492734"/>
            <a:ext cx="485030" cy="357809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Полилиния 120"/>
          <p:cNvSpPr/>
          <p:nvPr/>
        </p:nvSpPr>
        <p:spPr>
          <a:xfrm>
            <a:off x="7332427" y="2490081"/>
            <a:ext cx="485030" cy="357809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Блок-схема: узел 122"/>
          <p:cNvSpPr/>
          <p:nvPr/>
        </p:nvSpPr>
        <p:spPr>
          <a:xfrm>
            <a:off x="7402784" y="2513075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Полилиния 127"/>
          <p:cNvSpPr/>
          <p:nvPr/>
        </p:nvSpPr>
        <p:spPr>
          <a:xfrm>
            <a:off x="8269071" y="2585723"/>
            <a:ext cx="109175" cy="88404"/>
          </a:xfrm>
          <a:custGeom>
            <a:avLst/>
            <a:gdLst>
              <a:gd name="connsiteX0" fmla="*/ 108543 w 109175"/>
              <a:gd name="connsiteY0" fmla="*/ 88404 h 88404"/>
              <a:gd name="connsiteX1" fmla="*/ 98676 w 109175"/>
              <a:gd name="connsiteY1" fmla="*/ 9463 h 88404"/>
              <a:gd name="connsiteX2" fmla="*/ 36181 w 109175"/>
              <a:gd name="connsiteY2" fmla="*/ 2884 h 88404"/>
              <a:gd name="connsiteX3" fmla="*/ 0 w 109175"/>
              <a:gd name="connsiteY3" fmla="*/ 22619 h 88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175" h="88404">
                <a:moveTo>
                  <a:pt x="108543" y="88404"/>
                </a:moveTo>
                <a:cubicBezTo>
                  <a:pt x="109639" y="56060"/>
                  <a:pt x="110736" y="23716"/>
                  <a:pt x="98676" y="9463"/>
                </a:cubicBezTo>
                <a:cubicBezTo>
                  <a:pt x="86616" y="-4790"/>
                  <a:pt x="52627" y="691"/>
                  <a:pt x="36181" y="2884"/>
                </a:cubicBezTo>
                <a:cubicBezTo>
                  <a:pt x="19735" y="5077"/>
                  <a:pt x="9867" y="13848"/>
                  <a:pt x="0" y="22619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9" name="Полилиния 128"/>
          <p:cNvSpPr/>
          <p:nvPr/>
        </p:nvSpPr>
        <p:spPr>
          <a:xfrm>
            <a:off x="8266879" y="2586819"/>
            <a:ext cx="109175" cy="88404"/>
          </a:xfrm>
          <a:custGeom>
            <a:avLst/>
            <a:gdLst>
              <a:gd name="connsiteX0" fmla="*/ 108543 w 109175"/>
              <a:gd name="connsiteY0" fmla="*/ 88404 h 88404"/>
              <a:gd name="connsiteX1" fmla="*/ 98676 w 109175"/>
              <a:gd name="connsiteY1" fmla="*/ 9463 h 88404"/>
              <a:gd name="connsiteX2" fmla="*/ 36181 w 109175"/>
              <a:gd name="connsiteY2" fmla="*/ 2884 h 88404"/>
              <a:gd name="connsiteX3" fmla="*/ 0 w 109175"/>
              <a:gd name="connsiteY3" fmla="*/ 22619 h 88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175" h="88404">
                <a:moveTo>
                  <a:pt x="108543" y="88404"/>
                </a:moveTo>
                <a:cubicBezTo>
                  <a:pt x="109639" y="56060"/>
                  <a:pt x="110736" y="23716"/>
                  <a:pt x="98676" y="9463"/>
                </a:cubicBezTo>
                <a:cubicBezTo>
                  <a:pt x="86616" y="-4790"/>
                  <a:pt x="52627" y="691"/>
                  <a:pt x="36181" y="2884"/>
                </a:cubicBezTo>
                <a:cubicBezTo>
                  <a:pt x="19735" y="5077"/>
                  <a:pt x="9867" y="13848"/>
                  <a:pt x="0" y="22619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Полилиния 130"/>
          <p:cNvSpPr/>
          <p:nvPr/>
        </p:nvSpPr>
        <p:spPr>
          <a:xfrm>
            <a:off x="6663937" y="2052466"/>
            <a:ext cx="72362" cy="88809"/>
          </a:xfrm>
          <a:custGeom>
            <a:avLst/>
            <a:gdLst>
              <a:gd name="connsiteX0" fmla="*/ 0 w 72362"/>
              <a:gd name="connsiteY0" fmla="*/ 0 h 88809"/>
              <a:gd name="connsiteX1" fmla="*/ 29603 w 72362"/>
              <a:gd name="connsiteY1" fmla="*/ 42760 h 88809"/>
              <a:gd name="connsiteX2" fmla="*/ 52627 w 72362"/>
              <a:gd name="connsiteY2" fmla="*/ 69074 h 88809"/>
              <a:gd name="connsiteX3" fmla="*/ 72362 w 72362"/>
              <a:gd name="connsiteY3" fmla="*/ 88809 h 88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62" h="88809">
                <a:moveTo>
                  <a:pt x="0" y="0"/>
                </a:moveTo>
                <a:cubicBezTo>
                  <a:pt x="10416" y="15624"/>
                  <a:pt x="20832" y="31248"/>
                  <a:pt x="29603" y="42760"/>
                </a:cubicBezTo>
                <a:cubicBezTo>
                  <a:pt x="38374" y="54272"/>
                  <a:pt x="45500" y="61399"/>
                  <a:pt x="52627" y="69074"/>
                </a:cubicBezTo>
                <a:cubicBezTo>
                  <a:pt x="59754" y="76749"/>
                  <a:pt x="66058" y="82779"/>
                  <a:pt x="72362" y="88809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Полилиния 131"/>
          <p:cNvSpPr/>
          <p:nvPr/>
        </p:nvSpPr>
        <p:spPr>
          <a:xfrm>
            <a:off x="6670517" y="2062368"/>
            <a:ext cx="72362" cy="88809"/>
          </a:xfrm>
          <a:custGeom>
            <a:avLst/>
            <a:gdLst>
              <a:gd name="connsiteX0" fmla="*/ 0 w 72362"/>
              <a:gd name="connsiteY0" fmla="*/ 0 h 88809"/>
              <a:gd name="connsiteX1" fmla="*/ 29603 w 72362"/>
              <a:gd name="connsiteY1" fmla="*/ 42760 h 88809"/>
              <a:gd name="connsiteX2" fmla="*/ 52627 w 72362"/>
              <a:gd name="connsiteY2" fmla="*/ 69074 h 88809"/>
              <a:gd name="connsiteX3" fmla="*/ 72362 w 72362"/>
              <a:gd name="connsiteY3" fmla="*/ 88809 h 88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62" h="88809">
                <a:moveTo>
                  <a:pt x="0" y="0"/>
                </a:moveTo>
                <a:cubicBezTo>
                  <a:pt x="10416" y="15624"/>
                  <a:pt x="20832" y="31248"/>
                  <a:pt x="29603" y="42760"/>
                </a:cubicBezTo>
                <a:cubicBezTo>
                  <a:pt x="38374" y="54272"/>
                  <a:pt x="45500" y="61399"/>
                  <a:pt x="52627" y="69074"/>
                </a:cubicBezTo>
                <a:cubicBezTo>
                  <a:pt x="59754" y="76749"/>
                  <a:pt x="66058" y="82779"/>
                  <a:pt x="72362" y="88809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Полилиния 132"/>
          <p:cNvSpPr/>
          <p:nvPr/>
        </p:nvSpPr>
        <p:spPr>
          <a:xfrm>
            <a:off x="6733010" y="2134696"/>
            <a:ext cx="374970" cy="197353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Полилиния 133"/>
          <p:cNvSpPr/>
          <p:nvPr/>
        </p:nvSpPr>
        <p:spPr>
          <a:xfrm>
            <a:off x="6733010" y="2134696"/>
            <a:ext cx="374970" cy="197353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Полилиния 134"/>
          <p:cNvSpPr/>
          <p:nvPr/>
        </p:nvSpPr>
        <p:spPr>
          <a:xfrm>
            <a:off x="7098112" y="2325470"/>
            <a:ext cx="243401" cy="167750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Полилиния 135"/>
          <p:cNvSpPr/>
          <p:nvPr/>
        </p:nvSpPr>
        <p:spPr>
          <a:xfrm>
            <a:off x="7098112" y="2324741"/>
            <a:ext cx="243401" cy="167750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олилиния 136"/>
          <p:cNvSpPr/>
          <p:nvPr/>
        </p:nvSpPr>
        <p:spPr>
          <a:xfrm>
            <a:off x="6543675" y="2044700"/>
            <a:ext cx="82550" cy="92075"/>
          </a:xfrm>
          <a:custGeom>
            <a:avLst/>
            <a:gdLst>
              <a:gd name="connsiteX0" fmla="*/ 82550 w 82550"/>
              <a:gd name="connsiteY0" fmla="*/ 0 h 92075"/>
              <a:gd name="connsiteX1" fmla="*/ 22225 w 82550"/>
              <a:gd name="connsiteY1" fmla="*/ 73025 h 92075"/>
              <a:gd name="connsiteX2" fmla="*/ 6350 w 82550"/>
              <a:gd name="connsiteY2" fmla="*/ 82550 h 92075"/>
              <a:gd name="connsiteX3" fmla="*/ 0 w 82550"/>
              <a:gd name="connsiteY3" fmla="*/ 92075 h 9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92075">
                <a:moveTo>
                  <a:pt x="82550" y="0"/>
                </a:moveTo>
                <a:cubicBezTo>
                  <a:pt x="58737" y="29633"/>
                  <a:pt x="34925" y="59267"/>
                  <a:pt x="22225" y="73025"/>
                </a:cubicBezTo>
                <a:cubicBezTo>
                  <a:pt x="9525" y="86783"/>
                  <a:pt x="6350" y="82550"/>
                  <a:pt x="6350" y="82550"/>
                </a:cubicBezTo>
                <a:cubicBezTo>
                  <a:pt x="2646" y="85725"/>
                  <a:pt x="1323" y="88900"/>
                  <a:pt x="0" y="92075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8" name="Полилиния 137"/>
          <p:cNvSpPr/>
          <p:nvPr/>
        </p:nvSpPr>
        <p:spPr>
          <a:xfrm>
            <a:off x="6540500" y="2041522"/>
            <a:ext cx="82550" cy="92075"/>
          </a:xfrm>
          <a:custGeom>
            <a:avLst/>
            <a:gdLst>
              <a:gd name="connsiteX0" fmla="*/ 82550 w 82550"/>
              <a:gd name="connsiteY0" fmla="*/ 0 h 92075"/>
              <a:gd name="connsiteX1" fmla="*/ 22225 w 82550"/>
              <a:gd name="connsiteY1" fmla="*/ 73025 h 92075"/>
              <a:gd name="connsiteX2" fmla="*/ 6350 w 82550"/>
              <a:gd name="connsiteY2" fmla="*/ 82550 h 92075"/>
              <a:gd name="connsiteX3" fmla="*/ 0 w 82550"/>
              <a:gd name="connsiteY3" fmla="*/ 92075 h 9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92075">
                <a:moveTo>
                  <a:pt x="82550" y="0"/>
                </a:moveTo>
                <a:cubicBezTo>
                  <a:pt x="58737" y="29633"/>
                  <a:pt x="34925" y="59267"/>
                  <a:pt x="22225" y="73025"/>
                </a:cubicBezTo>
                <a:cubicBezTo>
                  <a:pt x="9525" y="86783"/>
                  <a:pt x="6350" y="82550"/>
                  <a:pt x="6350" y="82550"/>
                </a:cubicBezTo>
                <a:cubicBezTo>
                  <a:pt x="2646" y="85725"/>
                  <a:pt x="1323" y="88900"/>
                  <a:pt x="0" y="9207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Полилиния 138"/>
          <p:cNvSpPr/>
          <p:nvPr/>
        </p:nvSpPr>
        <p:spPr>
          <a:xfrm>
            <a:off x="6061075" y="2127250"/>
            <a:ext cx="488950" cy="206375"/>
          </a:xfrm>
          <a:custGeom>
            <a:avLst/>
            <a:gdLst>
              <a:gd name="connsiteX0" fmla="*/ 488950 w 488950"/>
              <a:gd name="connsiteY0" fmla="*/ 0 h 206375"/>
              <a:gd name="connsiteX1" fmla="*/ 425450 w 488950"/>
              <a:gd name="connsiteY1" fmla="*/ 60325 h 206375"/>
              <a:gd name="connsiteX2" fmla="*/ 396875 w 488950"/>
              <a:gd name="connsiteY2" fmla="*/ 82550 h 206375"/>
              <a:gd name="connsiteX3" fmla="*/ 355600 w 488950"/>
              <a:gd name="connsiteY3" fmla="*/ 101600 h 206375"/>
              <a:gd name="connsiteX4" fmla="*/ 307975 w 488950"/>
              <a:gd name="connsiteY4" fmla="*/ 127000 h 206375"/>
              <a:gd name="connsiteX5" fmla="*/ 260350 w 488950"/>
              <a:gd name="connsiteY5" fmla="*/ 152400 h 206375"/>
              <a:gd name="connsiteX6" fmla="*/ 212725 w 488950"/>
              <a:gd name="connsiteY6" fmla="*/ 165100 h 206375"/>
              <a:gd name="connsiteX7" fmla="*/ 161925 w 488950"/>
              <a:gd name="connsiteY7" fmla="*/ 174625 h 206375"/>
              <a:gd name="connsiteX8" fmla="*/ 127000 w 488950"/>
              <a:gd name="connsiteY8" fmla="*/ 174625 h 206375"/>
              <a:gd name="connsiteX9" fmla="*/ 95250 w 488950"/>
              <a:gd name="connsiteY9" fmla="*/ 168275 h 206375"/>
              <a:gd name="connsiteX10" fmla="*/ 73025 w 488950"/>
              <a:gd name="connsiteY10" fmla="*/ 174625 h 206375"/>
              <a:gd name="connsiteX11" fmla="*/ 57150 w 488950"/>
              <a:gd name="connsiteY11" fmla="*/ 187325 h 206375"/>
              <a:gd name="connsiteX12" fmla="*/ 22225 w 488950"/>
              <a:gd name="connsiteY12" fmla="*/ 200025 h 206375"/>
              <a:gd name="connsiteX13" fmla="*/ 0 w 488950"/>
              <a:gd name="connsiteY13" fmla="*/ 206375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88950" h="206375">
                <a:moveTo>
                  <a:pt x="488950" y="0"/>
                </a:moveTo>
                <a:cubicBezTo>
                  <a:pt x="464873" y="23283"/>
                  <a:pt x="440796" y="46567"/>
                  <a:pt x="425450" y="60325"/>
                </a:cubicBezTo>
                <a:cubicBezTo>
                  <a:pt x="410104" y="74083"/>
                  <a:pt x="408517" y="75671"/>
                  <a:pt x="396875" y="82550"/>
                </a:cubicBezTo>
                <a:cubicBezTo>
                  <a:pt x="385233" y="89429"/>
                  <a:pt x="370417" y="94192"/>
                  <a:pt x="355600" y="101600"/>
                </a:cubicBezTo>
                <a:cubicBezTo>
                  <a:pt x="340783" y="109008"/>
                  <a:pt x="307975" y="127000"/>
                  <a:pt x="307975" y="127000"/>
                </a:cubicBezTo>
                <a:cubicBezTo>
                  <a:pt x="292100" y="135467"/>
                  <a:pt x="276225" y="146050"/>
                  <a:pt x="260350" y="152400"/>
                </a:cubicBezTo>
                <a:cubicBezTo>
                  <a:pt x="244475" y="158750"/>
                  <a:pt x="229129" y="161396"/>
                  <a:pt x="212725" y="165100"/>
                </a:cubicBezTo>
                <a:cubicBezTo>
                  <a:pt x="196321" y="168804"/>
                  <a:pt x="176212" y="173038"/>
                  <a:pt x="161925" y="174625"/>
                </a:cubicBezTo>
                <a:cubicBezTo>
                  <a:pt x="147638" y="176212"/>
                  <a:pt x="138112" y="175683"/>
                  <a:pt x="127000" y="174625"/>
                </a:cubicBezTo>
                <a:cubicBezTo>
                  <a:pt x="115888" y="173567"/>
                  <a:pt x="104246" y="168275"/>
                  <a:pt x="95250" y="168275"/>
                </a:cubicBezTo>
                <a:cubicBezTo>
                  <a:pt x="86254" y="168275"/>
                  <a:pt x="79375" y="171450"/>
                  <a:pt x="73025" y="174625"/>
                </a:cubicBezTo>
                <a:cubicBezTo>
                  <a:pt x="66675" y="177800"/>
                  <a:pt x="65617" y="183092"/>
                  <a:pt x="57150" y="187325"/>
                </a:cubicBezTo>
                <a:cubicBezTo>
                  <a:pt x="48683" y="191558"/>
                  <a:pt x="31750" y="196850"/>
                  <a:pt x="22225" y="200025"/>
                </a:cubicBezTo>
                <a:cubicBezTo>
                  <a:pt x="12700" y="203200"/>
                  <a:pt x="6350" y="204787"/>
                  <a:pt x="0" y="206375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Полилиния 139"/>
          <p:cNvSpPr/>
          <p:nvPr/>
        </p:nvSpPr>
        <p:spPr>
          <a:xfrm>
            <a:off x="6057900" y="2127250"/>
            <a:ext cx="488950" cy="206375"/>
          </a:xfrm>
          <a:custGeom>
            <a:avLst/>
            <a:gdLst>
              <a:gd name="connsiteX0" fmla="*/ 488950 w 488950"/>
              <a:gd name="connsiteY0" fmla="*/ 0 h 206375"/>
              <a:gd name="connsiteX1" fmla="*/ 425450 w 488950"/>
              <a:gd name="connsiteY1" fmla="*/ 60325 h 206375"/>
              <a:gd name="connsiteX2" fmla="*/ 396875 w 488950"/>
              <a:gd name="connsiteY2" fmla="*/ 82550 h 206375"/>
              <a:gd name="connsiteX3" fmla="*/ 355600 w 488950"/>
              <a:gd name="connsiteY3" fmla="*/ 101600 h 206375"/>
              <a:gd name="connsiteX4" fmla="*/ 307975 w 488950"/>
              <a:gd name="connsiteY4" fmla="*/ 127000 h 206375"/>
              <a:gd name="connsiteX5" fmla="*/ 260350 w 488950"/>
              <a:gd name="connsiteY5" fmla="*/ 152400 h 206375"/>
              <a:gd name="connsiteX6" fmla="*/ 212725 w 488950"/>
              <a:gd name="connsiteY6" fmla="*/ 165100 h 206375"/>
              <a:gd name="connsiteX7" fmla="*/ 161925 w 488950"/>
              <a:gd name="connsiteY7" fmla="*/ 174625 h 206375"/>
              <a:gd name="connsiteX8" fmla="*/ 127000 w 488950"/>
              <a:gd name="connsiteY8" fmla="*/ 174625 h 206375"/>
              <a:gd name="connsiteX9" fmla="*/ 95250 w 488950"/>
              <a:gd name="connsiteY9" fmla="*/ 168275 h 206375"/>
              <a:gd name="connsiteX10" fmla="*/ 73025 w 488950"/>
              <a:gd name="connsiteY10" fmla="*/ 174625 h 206375"/>
              <a:gd name="connsiteX11" fmla="*/ 57150 w 488950"/>
              <a:gd name="connsiteY11" fmla="*/ 187325 h 206375"/>
              <a:gd name="connsiteX12" fmla="*/ 22225 w 488950"/>
              <a:gd name="connsiteY12" fmla="*/ 200025 h 206375"/>
              <a:gd name="connsiteX13" fmla="*/ 0 w 488950"/>
              <a:gd name="connsiteY13" fmla="*/ 206375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88950" h="206375">
                <a:moveTo>
                  <a:pt x="488950" y="0"/>
                </a:moveTo>
                <a:cubicBezTo>
                  <a:pt x="464873" y="23283"/>
                  <a:pt x="440796" y="46567"/>
                  <a:pt x="425450" y="60325"/>
                </a:cubicBezTo>
                <a:cubicBezTo>
                  <a:pt x="410104" y="74083"/>
                  <a:pt x="408517" y="75671"/>
                  <a:pt x="396875" y="82550"/>
                </a:cubicBezTo>
                <a:cubicBezTo>
                  <a:pt x="385233" y="89429"/>
                  <a:pt x="370417" y="94192"/>
                  <a:pt x="355600" y="101600"/>
                </a:cubicBezTo>
                <a:cubicBezTo>
                  <a:pt x="340783" y="109008"/>
                  <a:pt x="307975" y="127000"/>
                  <a:pt x="307975" y="127000"/>
                </a:cubicBezTo>
                <a:cubicBezTo>
                  <a:pt x="292100" y="135467"/>
                  <a:pt x="276225" y="146050"/>
                  <a:pt x="260350" y="152400"/>
                </a:cubicBezTo>
                <a:cubicBezTo>
                  <a:pt x="244475" y="158750"/>
                  <a:pt x="229129" y="161396"/>
                  <a:pt x="212725" y="165100"/>
                </a:cubicBezTo>
                <a:cubicBezTo>
                  <a:pt x="196321" y="168804"/>
                  <a:pt x="176212" y="173038"/>
                  <a:pt x="161925" y="174625"/>
                </a:cubicBezTo>
                <a:cubicBezTo>
                  <a:pt x="147638" y="176212"/>
                  <a:pt x="138112" y="175683"/>
                  <a:pt x="127000" y="174625"/>
                </a:cubicBezTo>
                <a:cubicBezTo>
                  <a:pt x="115888" y="173567"/>
                  <a:pt x="104246" y="168275"/>
                  <a:pt x="95250" y="168275"/>
                </a:cubicBezTo>
                <a:cubicBezTo>
                  <a:pt x="86254" y="168275"/>
                  <a:pt x="79375" y="171450"/>
                  <a:pt x="73025" y="174625"/>
                </a:cubicBezTo>
                <a:cubicBezTo>
                  <a:pt x="66675" y="177800"/>
                  <a:pt x="65617" y="183092"/>
                  <a:pt x="57150" y="187325"/>
                </a:cubicBezTo>
                <a:cubicBezTo>
                  <a:pt x="48683" y="191558"/>
                  <a:pt x="31750" y="196850"/>
                  <a:pt x="22225" y="200025"/>
                </a:cubicBezTo>
                <a:cubicBezTo>
                  <a:pt x="12700" y="203200"/>
                  <a:pt x="6350" y="204787"/>
                  <a:pt x="0" y="20637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Полилиния 140"/>
          <p:cNvSpPr/>
          <p:nvPr/>
        </p:nvSpPr>
        <p:spPr>
          <a:xfrm>
            <a:off x="5562600" y="2333625"/>
            <a:ext cx="504825" cy="209550"/>
          </a:xfrm>
          <a:custGeom>
            <a:avLst/>
            <a:gdLst>
              <a:gd name="connsiteX0" fmla="*/ 504825 w 504825"/>
              <a:gd name="connsiteY0" fmla="*/ 0 h 209550"/>
              <a:gd name="connsiteX1" fmla="*/ 438150 w 504825"/>
              <a:gd name="connsiteY1" fmla="*/ 34925 h 209550"/>
              <a:gd name="connsiteX2" fmla="*/ 403225 w 504825"/>
              <a:gd name="connsiteY2" fmla="*/ 41275 h 209550"/>
              <a:gd name="connsiteX3" fmla="*/ 361950 w 504825"/>
              <a:gd name="connsiteY3" fmla="*/ 38100 h 209550"/>
              <a:gd name="connsiteX4" fmla="*/ 339725 w 504825"/>
              <a:gd name="connsiteY4" fmla="*/ 31750 h 209550"/>
              <a:gd name="connsiteX5" fmla="*/ 288925 w 504825"/>
              <a:gd name="connsiteY5" fmla="*/ 9525 h 209550"/>
              <a:gd name="connsiteX6" fmla="*/ 257175 w 504825"/>
              <a:gd name="connsiteY6" fmla="*/ 0 h 209550"/>
              <a:gd name="connsiteX7" fmla="*/ 238125 w 504825"/>
              <a:gd name="connsiteY7" fmla="*/ 9525 h 209550"/>
              <a:gd name="connsiteX8" fmla="*/ 184150 w 504825"/>
              <a:gd name="connsiteY8" fmla="*/ 19050 h 209550"/>
              <a:gd name="connsiteX9" fmla="*/ 155575 w 504825"/>
              <a:gd name="connsiteY9" fmla="*/ 41275 h 209550"/>
              <a:gd name="connsiteX10" fmla="*/ 111125 w 504825"/>
              <a:gd name="connsiteY10" fmla="*/ 76200 h 209550"/>
              <a:gd name="connsiteX11" fmla="*/ 92075 w 504825"/>
              <a:gd name="connsiteY11" fmla="*/ 107950 h 209550"/>
              <a:gd name="connsiteX12" fmla="*/ 69850 w 504825"/>
              <a:gd name="connsiteY12" fmla="*/ 139700 h 209550"/>
              <a:gd name="connsiteX13" fmla="*/ 47625 w 504825"/>
              <a:gd name="connsiteY13" fmla="*/ 171450 h 209550"/>
              <a:gd name="connsiteX14" fmla="*/ 19050 w 504825"/>
              <a:gd name="connsiteY14" fmla="*/ 190500 h 209550"/>
              <a:gd name="connsiteX15" fmla="*/ 0 w 504825"/>
              <a:gd name="connsiteY15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4825" h="209550">
                <a:moveTo>
                  <a:pt x="504825" y="0"/>
                </a:moveTo>
                <a:cubicBezTo>
                  <a:pt x="479954" y="14023"/>
                  <a:pt x="455083" y="28046"/>
                  <a:pt x="438150" y="34925"/>
                </a:cubicBezTo>
                <a:cubicBezTo>
                  <a:pt x="421217" y="41804"/>
                  <a:pt x="415925" y="40746"/>
                  <a:pt x="403225" y="41275"/>
                </a:cubicBezTo>
                <a:cubicBezTo>
                  <a:pt x="390525" y="41804"/>
                  <a:pt x="372533" y="39688"/>
                  <a:pt x="361950" y="38100"/>
                </a:cubicBezTo>
                <a:cubicBezTo>
                  <a:pt x="351367" y="36513"/>
                  <a:pt x="351896" y="36512"/>
                  <a:pt x="339725" y="31750"/>
                </a:cubicBezTo>
                <a:cubicBezTo>
                  <a:pt x="327554" y="26988"/>
                  <a:pt x="302683" y="14817"/>
                  <a:pt x="288925" y="9525"/>
                </a:cubicBezTo>
                <a:cubicBezTo>
                  <a:pt x="275167" y="4233"/>
                  <a:pt x="265642" y="0"/>
                  <a:pt x="257175" y="0"/>
                </a:cubicBezTo>
                <a:cubicBezTo>
                  <a:pt x="248708" y="0"/>
                  <a:pt x="250296" y="6350"/>
                  <a:pt x="238125" y="9525"/>
                </a:cubicBezTo>
                <a:cubicBezTo>
                  <a:pt x="225954" y="12700"/>
                  <a:pt x="197908" y="13758"/>
                  <a:pt x="184150" y="19050"/>
                </a:cubicBezTo>
                <a:cubicBezTo>
                  <a:pt x="170392" y="24342"/>
                  <a:pt x="155575" y="41275"/>
                  <a:pt x="155575" y="41275"/>
                </a:cubicBezTo>
                <a:cubicBezTo>
                  <a:pt x="143404" y="50800"/>
                  <a:pt x="121708" y="65088"/>
                  <a:pt x="111125" y="76200"/>
                </a:cubicBezTo>
                <a:cubicBezTo>
                  <a:pt x="100542" y="87312"/>
                  <a:pt x="98954" y="97367"/>
                  <a:pt x="92075" y="107950"/>
                </a:cubicBezTo>
                <a:cubicBezTo>
                  <a:pt x="85196" y="118533"/>
                  <a:pt x="69850" y="139700"/>
                  <a:pt x="69850" y="139700"/>
                </a:cubicBezTo>
                <a:cubicBezTo>
                  <a:pt x="62442" y="150283"/>
                  <a:pt x="56092" y="162983"/>
                  <a:pt x="47625" y="171450"/>
                </a:cubicBezTo>
                <a:cubicBezTo>
                  <a:pt x="39158" y="179917"/>
                  <a:pt x="26987" y="184150"/>
                  <a:pt x="19050" y="190500"/>
                </a:cubicBezTo>
                <a:cubicBezTo>
                  <a:pt x="11113" y="196850"/>
                  <a:pt x="5556" y="203200"/>
                  <a:pt x="0" y="209550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Полилиния 141"/>
          <p:cNvSpPr/>
          <p:nvPr/>
        </p:nvSpPr>
        <p:spPr>
          <a:xfrm>
            <a:off x="5565775" y="2330450"/>
            <a:ext cx="504825" cy="209550"/>
          </a:xfrm>
          <a:custGeom>
            <a:avLst/>
            <a:gdLst>
              <a:gd name="connsiteX0" fmla="*/ 504825 w 504825"/>
              <a:gd name="connsiteY0" fmla="*/ 0 h 209550"/>
              <a:gd name="connsiteX1" fmla="*/ 438150 w 504825"/>
              <a:gd name="connsiteY1" fmla="*/ 34925 h 209550"/>
              <a:gd name="connsiteX2" fmla="*/ 403225 w 504825"/>
              <a:gd name="connsiteY2" fmla="*/ 41275 h 209550"/>
              <a:gd name="connsiteX3" fmla="*/ 361950 w 504825"/>
              <a:gd name="connsiteY3" fmla="*/ 38100 h 209550"/>
              <a:gd name="connsiteX4" fmla="*/ 339725 w 504825"/>
              <a:gd name="connsiteY4" fmla="*/ 31750 h 209550"/>
              <a:gd name="connsiteX5" fmla="*/ 288925 w 504825"/>
              <a:gd name="connsiteY5" fmla="*/ 9525 h 209550"/>
              <a:gd name="connsiteX6" fmla="*/ 257175 w 504825"/>
              <a:gd name="connsiteY6" fmla="*/ 0 h 209550"/>
              <a:gd name="connsiteX7" fmla="*/ 238125 w 504825"/>
              <a:gd name="connsiteY7" fmla="*/ 9525 h 209550"/>
              <a:gd name="connsiteX8" fmla="*/ 184150 w 504825"/>
              <a:gd name="connsiteY8" fmla="*/ 19050 h 209550"/>
              <a:gd name="connsiteX9" fmla="*/ 155575 w 504825"/>
              <a:gd name="connsiteY9" fmla="*/ 41275 h 209550"/>
              <a:gd name="connsiteX10" fmla="*/ 111125 w 504825"/>
              <a:gd name="connsiteY10" fmla="*/ 76200 h 209550"/>
              <a:gd name="connsiteX11" fmla="*/ 92075 w 504825"/>
              <a:gd name="connsiteY11" fmla="*/ 107950 h 209550"/>
              <a:gd name="connsiteX12" fmla="*/ 69850 w 504825"/>
              <a:gd name="connsiteY12" fmla="*/ 139700 h 209550"/>
              <a:gd name="connsiteX13" fmla="*/ 47625 w 504825"/>
              <a:gd name="connsiteY13" fmla="*/ 171450 h 209550"/>
              <a:gd name="connsiteX14" fmla="*/ 19050 w 504825"/>
              <a:gd name="connsiteY14" fmla="*/ 190500 h 209550"/>
              <a:gd name="connsiteX15" fmla="*/ 0 w 504825"/>
              <a:gd name="connsiteY15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4825" h="209550">
                <a:moveTo>
                  <a:pt x="504825" y="0"/>
                </a:moveTo>
                <a:cubicBezTo>
                  <a:pt x="479954" y="14023"/>
                  <a:pt x="455083" y="28046"/>
                  <a:pt x="438150" y="34925"/>
                </a:cubicBezTo>
                <a:cubicBezTo>
                  <a:pt x="421217" y="41804"/>
                  <a:pt x="415925" y="40746"/>
                  <a:pt x="403225" y="41275"/>
                </a:cubicBezTo>
                <a:cubicBezTo>
                  <a:pt x="390525" y="41804"/>
                  <a:pt x="372533" y="39688"/>
                  <a:pt x="361950" y="38100"/>
                </a:cubicBezTo>
                <a:cubicBezTo>
                  <a:pt x="351367" y="36513"/>
                  <a:pt x="351896" y="36512"/>
                  <a:pt x="339725" y="31750"/>
                </a:cubicBezTo>
                <a:cubicBezTo>
                  <a:pt x="327554" y="26988"/>
                  <a:pt x="302683" y="14817"/>
                  <a:pt x="288925" y="9525"/>
                </a:cubicBezTo>
                <a:cubicBezTo>
                  <a:pt x="275167" y="4233"/>
                  <a:pt x="265642" y="0"/>
                  <a:pt x="257175" y="0"/>
                </a:cubicBezTo>
                <a:cubicBezTo>
                  <a:pt x="248708" y="0"/>
                  <a:pt x="250296" y="6350"/>
                  <a:pt x="238125" y="9525"/>
                </a:cubicBezTo>
                <a:cubicBezTo>
                  <a:pt x="225954" y="12700"/>
                  <a:pt x="197908" y="13758"/>
                  <a:pt x="184150" y="19050"/>
                </a:cubicBezTo>
                <a:cubicBezTo>
                  <a:pt x="170392" y="24342"/>
                  <a:pt x="155575" y="41275"/>
                  <a:pt x="155575" y="41275"/>
                </a:cubicBezTo>
                <a:cubicBezTo>
                  <a:pt x="143404" y="50800"/>
                  <a:pt x="121708" y="65088"/>
                  <a:pt x="111125" y="76200"/>
                </a:cubicBezTo>
                <a:cubicBezTo>
                  <a:pt x="100542" y="87312"/>
                  <a:pt x="98954" y="97367"/>
                  <a:pt x="92075" y="107950"/>
                </a:cubicBezTo>
                <a:cubicBezTo>
                  <a:pt x="85196" y="118533"/>
                  <a:pt x="69850" y="139700"/>
                  <a:pt x="69850" y="139700"/>
                </a:cubicBezTo>
                <a:cubicBezTo>
                  <a:pt x="62442" y="150283"/>
                  <a:pt x="56092" y="162983"/>
                  <a:pt x="47625" y="171450"/>
                </a:cubicBezTo>
                <a:cubicBezTo>
                  <a:pt x="39158" y="179917"/>
                  <a:pt x="26987" y="184150"/>
                  <a:pt x="19050" y="190500"/>
                </a:cubicBezTo>
                <a:cubicBezTo>
                  <a:pt x="11113" y="196850"/>
                  <a:pt x="5556" y="203200"/>
                  <a:pt x="0" y="20955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Блок-схема: узел 37"/>
          <p:cNvSpPr/>
          <p:nvPr/>
        </p:nvSpPr>
        <p:spPr>
          <a:xfrm>
            <a:off x="6601118" y="1985989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3" name="Полилиния 142"/>
          <p:cNvSpPr/>
          <p:nvPr/>
        </p:nvSpPr>
        <p:spPr>
          <a:xfrm>
            <a:off x="5565775" y="2552700"/>
            <a:ext cx="335021" cy="355600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Полилиния 143"/>
          <p:cNvSpPr/>
          <p:nvPr/>
        </p:nvSpPr>
        <p:spPr>
          <a:xfrm>
            <a:off x="5565775" y="2555505"/>
            <a:ext cx="335021" cy="355600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Полилиния 144"/>
          <p:cNvSpPr/>
          <p:nvPr/>
        </p:nvSpPr>
        <p:spPr>
          <a:xfrm>
            <a:off x="5574930" y="2529734"/>
            <a:ext cx="355130" cy="390525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6" name="Полилиния 145"/>
          <p:cNvSpPr/>
          <p:nvPr/>
        </p:nvSpPr>
        <p:spPr>
          <a:xfrm>
            <a:off x="5549900" y="2571750"/>
            <a:ext cx="335021" cy="355600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Полилиния 151"/>
          <p:cNvSpPr/>
          <p:nvPr/>
        </p:nvSpPr>
        <p:spPr>
          <a:xfrm>
            <a:off x="5895975" y="287655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Полилиния 152"/>
          <p:cNvSpPr/>
          <p:nvPr/>
        </p:nvSpPr>
        <p:spPr>
          <a:xfrm>
            <a:off x="5895975" y="287655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4" name="Полилиния 153"/>
          <p:cNvSpPr/>
          <p:nvPr/>
        </p:nvSpPr>
        <p:spPr>
          <a:xfrm>
            <a:off x="5918200" y="287020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Полилиния 154"/>
          <p:cNvSpPr/>
          <p:nvPr/>
        </p:nvSpPr>
        <p:spPr>
          <a:xfrm>
            <a:off x="5876925" y="2889250"/>
            <a:ext cx="85725" cy="127000"/>
          </a:xfrm>
          <a:custGeom>
            <a:avLst/>
            <a:gdLst>
              <a:gd name="connsiteX0" fmla="*/ 85725 w 85725"/>
              <a:gd name="connsiteY0" fmla="*/ 127000 h 127000"/>
              <a:gd name="connsiteX1" fmla="*/ 50800 w 85725"/>
              <a:gd name="connsiteY1" fmla="*/ 66675 h 127000"/>
              <a:gd name="connsiteX2" fmla="*/ 31750 w 85725"/>
              <a:gd name="connsiteY2" fmla="*/ 53975 h 127000"/>
              <a:gd name="connsiteX3" fmla="*/ 15875 w 85725"/>
              <a:gd name="connsiteY3" fmla="*/ 44450 h 127000"/>
              <a:gd name="connsiteX4" fmla="*/ 3175 w 85725"/>
              <a:gd name="connsiteY4" fmla="*/ 31750 h 127000"/>
              <a:gd name="connsiteX5" fmla="*/ 0 w 85725"/>
              <a:gd name="connsiteY5" fmla="*/ 12700 h 127000"/>
              <a:gd name="connsiteX6" fmla="*/ 3175 w 85725"/>
              <a:gd name="connsiteY6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725" h="127000">
                <a:moveTo>
                  <a:pt x="85725" y="127000"/>
                </a:moveTo>
                <a:cubicBezTo>
                  <a:pt x="72760" y="102923"/>
                  <a:pt x="59796" y="78846"/>
                  <a:pt x="50800" y="66675"/>
                </a:cubicBezTo>
                <a:cubicBezTo>
                  <a:pt x="41804" y="54504"/>
                  <a:pt x="37571" y="57679"/>
                  <a:pt x="31750" y="53975"/>
                </a:cubicBezTo>
                <a:cubicBezTo>
                  <a:pt x="25929" y="50271"/>
                  <a:pt x="15875" y="44450"/>
                  <a:pt x="15875" y="44450"/>
                </a:cubicBezTo>
                <a:cubicBezTo>
                  <a:pt x="11113" y="40746"/>
                  <a:pt x="5821" y="37042"/>
                  <a:pt x="3175" y="31750"/>
                </a:cubicBezTo>
                <a:cubicBezTo>
                  <a:pt x="529" y="26458"/>
                  <a:pt x="0" y="12700"/>
                  <a:pt x="0" y="12700"/>
                </a:cubicBezTo>
                <a:cubicBezTo>
                  <a:pt x="0" y="7408"/>
                  <a:pt x="1587" y="3704"/>
                  <a:pt x="3175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Блок-схема: узел 146"/>
          <p:cNvSpPr/>
          <p:nvPr/>
        </p:nvSpPr>
        <p:spPr>
          <a:xfrm>
            <a:off x="5860030" y="2836124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6" name="Блок-схема: узел 155"/>
          <p:cNvSpPr/>
          <p:nvPr/>
        </p:nvSpPr>
        <p:spPr>
          <a:xfrm>
            <a:off x="5944513" y="2976025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7" name="Блок-схема: узел 156"/>
          <p:cNvSpPr/>
          <p:nvPr/>
        </p:nvSpPr>
        <p:spPr>
          <a:xfrm>
            <a:off x="3280692" y="3335392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8" name="Блок-схема: узел 157"/>
          <p:cNvSpPr/>
          <p:nvPr/>
        </p:nvSpPr>
        <p:spPr>
          <a:xfrm>
            <a:off x="3545370" y="1534543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9" name="Блок-схема: узел 158"/>
          <p:cNvSpPr/>
          <p:nvPr/>
        </p:nvSpPr>
        <p:spPr>
          <a:xfrm>
            <a:off x="2331578" y="2455887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0" name="Блок-схема: узел 159"/>
          <p:cNvSpPr/>
          <p:nvPr/>
        </p:nvSpPr>
        <p:spPr>
          <a:xfrm>
            <a:off x="1009058" y="2078149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1" name="Блок-схема: узел 160"/>
          <p:cNvSpPr/>
          <p:nvPr/>
        </p:nvSpPr>
        <p:spPr>
          <a:xfrm>
            <a:off x="1304576" y="1963173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Блок-схема: узел 161"/>
          <p:cNvSpPr/>
          <p:nvPr/>
        </p:nvSpPr>
        <p:spPr>
          <a:xfrm>
            <a:off x="321129" y="3469470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3" name="Блок-схема: узел 162"/>
          <p:cNvSpPr/>
          <p:nvPr/>
        </p:nvSpPr>
        <p:spPr>
          <a:xfrm>
            <a:off x="976168" y="4481395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4" name="Блок-схема: узел 163"/>
          <p:cNvSpPr/>
          <p:nvPr/>
        </p:nvSpPr>
        <p:spPr>
          <a:xfrm>
            <a:off x="911793" y="4683409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Блок-схема: узел 164"/>
          <p:cNvSpPr/>
          <p:nvPr/>
        </p:nvSpPr>
        <p:spPr>
          <a:xfrm>
            <a:off x="1088296" y="4795666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Блок-схема: узел 166"/>
          <p:cNvSpPr/>
          <p:nvPr/>
        </p:nvSpPr>
        <p:spPr>
          <a:xfrm>
            <a:off x="1787980" y="4247354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8" name="Блок-схема: узел 167"/>
          <p:cNvSpPr/>
          <p:nvPr/>
        </p:nvSpPr>
        <p:spPr>
          <a:xfrm>
            <a:off x="1497275" y="3418344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9" name="Блок-схема: узел 168"/>
          <p:cNvSpPr/>
          <p:nvPr/>
        </p:nvSpPr>
        <p:spPr>
          <a:xfrm>
            <a:off x="2474777" y="2944297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Блок-схема: узел 169"/>
          <p:cNvSpPr/>
          <p:nvPr/>
        </p:nvSpPr>
        <p:spPr>
          <a:xfrm>
            <a:off x="3554763" y="2064841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Блок-схема: узел 170"/>
          <p:cNvSpPr/>
          <p:nvPr/>
        </p:nvSpPr>
        <p:spPr>
          <a:xfrm>
            <a:off x="7866684" y="4538157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2" name="Блок-схема: узел 171"/>
          <p:cNvSpPr/>
          <p:nvPr/>
        </p:nvSpPr>
        <p:spPr>
          <a:xfrm>
            <a:off x="6179468" y="1554550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Блок-схема: узел 172"/>
          <p:cNvSpPr/>
          <p:nvPr/>
        </p:nvSpPr>
        <p:spPr>
          <a:xfrm>
            <a:off x="7785008" y="2826989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Блок-схема: узел 174"/>
          <p:cNvSpPr/>
          <p:nvPr/>
        </p:nvSpPr>
        <p:spPr>
          <a:xfrm>
            <a:off x="7735208" y="3563182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6" name="Блок-схема: узел 175"/>
          <p:cNvSpPr/>
          <p:nvPr/>
        </p:nvSpPr>
        <p:spPr>
          <a:xfrm>
            <a:off x="8825509" y="3218002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7" name="Блок-схема: узел 176"/>
          <p:cNvSpPr/>
          <p:nvPr/>
        </p:nvSpPr>
        <p:spPr>
          <a:xfrm>
            <a:off x="8301721" y="4092172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8" name="Блок-схема: узел 177"/>
          <p:cNvSpPr/>
          <p:nvPr/>
        </p:nvSpPr>
        <p:spPr>
          <a:xfrm>
            <a:off x="5192721" y="5789513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9" name="Полилиния 178"/>
          <p:cNvSpPr/>
          <p:nvPr/>
        </p:nvSpPr>
        <p:spPr>
          <a:xfrm>
            <a:off x="4919903" y="1299248"/>
            <a:ext cx="98521" cy="12316"/>
          </a:xfrm>
          <a:custGeom>
            <a:avLst/>
            <a:gdLst>
              <a:gd name="connsiteX0" fmla="*/ 98521 w 98521"/>
              <a:gd name="connsiteY0" fmla="*/ 12316 h 12316"/>
              <a:gd name="connsiteX1" fmla="*/ 43103 w 98521"/>
              <a:gd name="connsiteY1" fmla="*/ 6158 h 12316"/>
              <a:gd name="connsiteX2" fmla="*/ 15394 w 98521"/>
              <a:gd name="connsiteY2" fmla="*/ 0 h 12316"/>
              <a:gd name="connsiteX3" fmla="*/ 0 w 98521"/>
              <a:gd name="connsiteY3" fmla="*/ 6158 h 12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521" h="12316">
                <a:moveTo>
                  <a:pt x="98521" y="12316"/>
                </a:moveTo>
                <a:cubicBezTo>
                  <a:pt x="77739" y="10263"/>
                  <a:pt x="56957" y="8211"/>
                  <a:pt x="43103" y="6158"/>
                </a:cubicBezTo>
                <a:cubicBezTo>
                  <a:pt x="29249" y="4105"/>
                  <a:pt x="22578" y="0"/>
                  <a:pt x="15394" y="0"/>
                </a:cubicBezTo>
                <a:cubicBezTo>
                  <a:pt x="8210" y="0"/>
                  <a:pt x="4105" y="3079"/>
                  <a:pt x="0" y="6158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0" name="Полилиния 179"/>
          <p:cNvSpPr/>
          <p:nvPr/>
        </p:nvSpPr>
        <p:spPr>
          <a:xfrm>
            <a:off x="4888965" y="1295042"/>
            <a:ext cx="98521" cy="12316"/>
          </a:xfrm>
          <a:custGeom>
            <a:avLst/>
            <a:gdLst>
              <a:gd name="connsiteX0" fmla="*/ 98521 w 98521"/>
              <a:gd name="connsiteY0" fmla="*/ 12316 h 12316"/>
              <a:gd name="connsiteX1" fmla="*/ 43103 w 98521"/>
              <a:gd name="connsiteY1" fmla="*/ 6158 h 12316"/>
              <a:gd name="connsiteX2" fmla="*/ 15394 w 98521"/>
              <a:gd name="connsiteY2" fmla="*/ 0 h 12316"/>
              <a:gd name="connsiteX3" fmla="*/ 0 w 98521"/>
              <a:gd name="connsiteY3" fmla="*/ 6158 h 12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521" h="12316">
                <a:moveTo>
                  <a:pt x="98521" y="12316"/>
                </a:moveTo>
                <a:cubicBezTo>
                  <a:pt x="77739" y="10263"/>
                  <a:pt x="56957" y="8211"/>
                  <a:pt x="43103" y="6158"/>
                </a:cubicBezTo>
                <a:cubicBezTo>
                  <a:pt x="29249" y="4105"/>
                  <a:pt x="22578" y="0"/>
                  <a:pt x="15394" y="0"/>
                </a:cubicBezTo>
                <a:cubicBezTo>
                  <a:pt x="8210" y="0"/>
                  <a:pt x="4105" y="3079"/>
                  <a:pt x="0" y="6158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1" name="Полилиния 180"/>
          <p:cNvSpPr/>
          <p:nvPr/>
        </p:nvSpPr>
        <p:spPr>
          <a:xfrm>
            <a:off x="4870642" y="1245248"/>
            <a:ext cx="64655" cy="54000"/>
          </a:xfrm>
          <a:custGeom>
            <a:avLst/>
            <a:gdLst>
              <a:gd name="connsiteX0" fmla="*/ 64655 w 64655"/>
              <a:gd name="connsiteY0" fmla="*/ 54000 h 54000"/>
              <a:gd name="connsiteX1" fmla="*/ 12316 w 64655"/>
              <a:gd name="connsiteY1" fmla="*/ 4740 h 54000"/>
              <a:gd name="connsiteX2" fmla="*/ 0 w 64655"/>
              <a:gd name="connsiteY2" fmla="*/ 4740 h 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655" h="54000">
                <a:moveTo>
                  <a:pt x="64655" y="54000"/>
                </a:moveTo>
                <a:lnTo>
                  <a:pt x="12316" y="4740"/>
                </a:lnTo>
                <a:cubicBezTo>
                  <a:pt x="1540" y="-3470"/>
                  <a:pt x="770" y="635"/>
                  <a:pt x="0" y="4740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2" name="Полилиния 181"/>
          <p:cNvSpPr/>
          <p:nvPr/>
        </p:nvSpPr>
        <p:spPr>
          <a:xfrm>
            <a:off x="4868164" y="1239768"/>
            <a:ext cx="64655" cy="54000"/>
          </a:xfrm>
          <a:custGeom>
            <a:avLst/>
            <a:gdLst>
              <a:gd name="connsiteX0" fmla="*/ 64655 w 64655"/>
              <a:gd name="connsiteY0" fmla="*/ 54000 h 54000"/>
              <a:gd name="connsiteX1" fmla="*/ 12316 w 64655"/>
              <a:gd name="connsiteY1" fmla="*/ 4740 h 54000"/>
              <a:gd name="connsiteX2" fmla="*/ 0 w 64655"/>
              <a:gd name="connsiteY2" fmla="*/ 4740 h 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655" h="54000">
                <a:moveTo>
                  <a:pt x="64655" y="54000"/>
                </a:moveTo>
                <a:lnTo>
                  <a:pt x="12316" y="4740"/>
                </a:lnTo>
                <a:cubicBezTo>
                  <a:pt x="1540" y="-3470"/>
                  <a:pt x="770" y="635"/>
                  <a:pt x="0" y="474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Блок-схема: узел 40"/>
          <p:cNvSpPr/>
          <p:nvPr/>
        </p:nvSpPr>
        <p:spPr>
          <a:xfrm>
            <a:off x="4996607" y="1283282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3" name="Блок-схема: узел 182"/>
          <p:cNvSpPr/>
          <p:nvPr/>
        </p:nvSpPr>
        <p:spPr>
          <a:xfrm>
            <a:off x="4828519" y="1207181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5" name="Полилиния 184"/>
          <p:cNvSpPr/>
          <p:nvPr/>
        </p:nvSpPr>
        <p:spPr>
          <a:xfrm>
            <a:off x="5132339" y="1856509"/>
            <a:ext cx="136652" cy="141624"/>
          </a:xfrm>
          <a:custGeom>
            <a:avLst/>
            <a:gdLst>
              <a:gd name="connsiteX0" fmla="*/ 0 w 136652"/>
              <a:gd name="connsiteY0" fmla="*/ 0 h 141624"/>
              <a:gd name="connsiteX1" fmla="*/ 46182 w 136652"/>
              <a:gd name="connsiteY1" fmla="*/ 24630 h 141624"/>
              <a:gd name="connsiteX2" fmla="*/ 64655 w 136652"/>
              <a:gd name="connsiteY2" fmla="*/ 46182 h 141624"/>
              <a:gd name="connsiteX3" fmla="*/ 92364 w 136652"/>
              <a:gd name="connsiteY3" fmla="*/ 58497 h 141624"/>
              <a:gd name="connsiteX4" fmla="*/ 116994 w 136652"/>
              <a:gd name="connsiteY4" fmla="*/ 70812 h 141624"/>
              <a:gd name="connsiteX5" fmla="*/ 123152 w 136652"/>
              <a:gd name="connsiteY5" fmla="*/ 89285 h 141624"/>
              <a:gd name="connsiteX6" fmla="*/ 135467 w 136652"/>
              <a:gd name="connsiteY6" fmla="*/ 116994 h 141624"/>
              <a:gd name="connsiteX7" fmla="*/ 135467 w 136652"/>
              <a:gd name="connsiteY7" fmla="*/ 141624 h 141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652" h="141624">
                <a:moveTo>
                  <a:pt x="0" y="0"/>
                </a:moveTo>
                <a:cubicBezTo>
                  <a:pt x="17703" y="8466"/>
                  <a:pt x="35406" y="16933"/>
                  <a:pt x="46182" y="24630"/>
                </a:cubicBezTo>
                <a:cubicBezTo>
                  <a:pt x="56958" y="32327"/>
                  <a:pt x="56958" y="40538"/>
                  <a:pt x="64655" y="46182"/>
                </a:cubicBezTo>
                <a:cubicBezTo>
                  <a:pt x="72352" y="51827"/>
                  <a:pt x="83641" y="54392"/>
                  <a:pt x="92364" y="58497"/>
                </a:cubicBezTo>
                <a:cubicBezTo>
                  <a:pt x="101087" y="62602"/>
                  <a:pt x="116994" y="70812"/>
                  <a:pt x="116994" y="70812"/>
                </a:cubicBezTo>
                <a:cubicBezTo>
                  <a:pt x="122125" y="75943"/>
                  <a:pt x="120073" y="81588"/>
                  <a:pt x="123152" y="89285"/>
                </a:cubicBezTo>
                <a:cubicBezTo>
                  <a:pt x="126231" y="96982"/>
                  <a:pt x="133414" y="108271"/>
                  <a:pt x="135467" y="116994"/>
                </a:cubicBezTo>
                <a:cubicBezTo>
                  <a:pt x="137520" y="125717"/>
                  <a:pt x="136493" y="133670"/>
                  <a:pt x="135467" y="141624"/>
                </a:cubicBezTo>
              </a:path>
            </a:pathLst>
          </a:cu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6" name="Полилиния 185"/>
          <p:cNvSpPr/>
          <p:nvPr/>
        </p:nvSpPr>
        <p:spPr>
          <a:xfrm>
            <a:off x="5133877" y="1861124"/>
            <a:ext cx="136652" cy="141624"/>
          </a:xfrm>
          <a:custGeom>
            <a:avLst/>
            <a:gdLst>
              <a:gd name="connsiteX0" fmla="*/ 0 w 136652"/>
              <a:gd name="connsiteY0" fmla="*/ 0 h 141624"/>
              <a:gd name="connsiteX1" fmla="*/ 46182 w 136652"/>
              <a:gd name="connsiteY1" fmla="*/ 24630 h 141624"/>
              <a:gd name="connsiteX2" fmla="*/ 64655 w 136652"/>
              <a:gd name="connsiteY2" fmla="*/ 46182 h 141624"/>
              <a:gd name="connsiteX3" fmla="*/ 92364 w 136652"/>
              <a:gd name="connsiteY3" fmla="*/ 58497 h 141624"/>
              <a:gd name="connsiteX4" fmla="*/ 116994 w 136652"/>
              <a:gd name="connsiteY4" fmla="*/ 70812 h 141624"/>
              <a:gd name="connsiteX5" fmla="*/ 123152 w 136652"/>
              <a:gd name="connsiteY5" fmla="*/ 89285 h 141624"/>
              <a:gd name="connsiteX6" fmla="*/ 135467 w 136652"/>
              <a:gd name="connsiteY6" fmla="*/ 116994 h 141624"/>
              <a:gd name="connsiteX7" fmla="*/ 135467 w 136652"/>
              <a:gd name="connsiteY7" fmla="*/ 141624 h 141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652" h="141624">
                <a:moveTo>
                  <a:pt x="0" y="0"/>
                </a:moveTo>
                <a:cubicBezTo>
                  <a:pt x="17703" y="8466"/>
                  <a:pt x="35406" y="16933"/>
                  <a:pt x="46182" y="24630"/>
                </a:cubicBezTo>
                <a:cubicBezTo>
                  <a:pt x="56958" y="32327"/>
                  <a:pt x="56958" y="40538"/>
                  <a:pt x="64655" y="46182"/>
                </a:cubicBezTo>
                <a:cubicBezTo>
                  <a:pt x="72352" y="51827"/>
                  <a:pt x="83641" y="54392"/>
                  <a:pt x="92364" y="58497"/>
                </a:cubicBezTo>
                <a:cubicBezTo>
                  <a:pt x="101087" y="62602"/>
                  <a:pt x="116994" y="70812"/>
                  <a:pt x="116994" y="70812"/>
                </a:cubicBezTo>
                <a:cubicBezTo>
                  <a:pt x="122125" y="75943"/>
                  <a:pt x="120073" y="81588"/>
                  <a:pt x="123152" y="89285"/>
                </a:cubicBezTo>
                <a:cubicBezTo>
                  <a:pt x="126231" y="96982"/>
                  <a:pt x="133414" y="108271"/>
                  <a:pt x="135467" y="116994"/>
                </a:cubicBezTo>
                <a:cubicBezTo>
                  <a:pt x="137520" y="125717"/>
                  <a:pt x="136493" y="133670"/>
                  <a:pt x="135467" y="141624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Блок-схема: узел 39"/>
          <p:cNvSpPr/>
          <p:nvPr/>
        </p:nvSpPr>
        <p:spPr>
          <a:xfrm>
            <a:off x="5069250" y="1800409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1" name="Полилиния 190"/>
          <p:cNvSpPr/>
          <p:nvPr/>
        </p:nvSpPr>
        <p:spPr>
          <a:xfrm>
            <a:off x="5055369" y="1958034"/>
            <a:ext cx="127768" cy="73694"/>
          </a:xfrm>
          <a:custGeom>
            <a:avLst/>
            <a:gdLst>
              <a:gd name="connsiteX0" fmla="*/ 132388 w 132388"/>
              <a:gd name="connsiteY0" fmla="*/ 80124 h 80124"/>
              <a:gd name="connsiteX1" fmla="*/ 76970 w 132388"/>
              <a:gd name="connsiteY1" fmla="*/ 18548 h 80124"/>
              <a:gd name="connsiteX2" fmla="*/ 52339 w 132388"/>
              <a:gd name="connsiteY2" fmla="*/ 75 h 80124"/>
              <a:gd name="connsiteX3" fmla="*/ 15394 w 132388"/>
              <a:gd name="connsiteY3" fmla="*/ 12390 h 80124"/>
              <a:gd name="connsiteX4" fmla="*/ 0 w 132388"/>
              <a:gd name="connsiteY4" fmla="*/ 21627 h 8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388" h="80124">
                <a:moveTo>
                  <a:pt x="132388" y="80124"/>
                </a:moveTo>
                <a:cubicBezTo>
                  <a:pt x="111349" y="56006"/>
                  <a:pt x="90311" y="31889"/>
                  <a:pt x="76970" y="18548"/>
                </a:cubicBezTo>
                <a:cubicBezTo>
                  <a:pt x="63629" y="5207"/>
                  <a:pt x="62602" y="1101"/>
                  <a:pt x="52339" y="75"/>
                </a:cubicBezTo>
                <a:cubicBezTo>
                  <a:pt x="42076" y="-951"/>
                  <a:pt x="24117" y="8798"/>
                  <a:pt x="15394" y="12390"/>
                </a:cubicBezTo>
                <a:cubicBezTo>
                  <a:pt x="6671" y="15982"/>
                  <a:pt x="3335" y="18804"/>
                  <a:pt x="0" y="21627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2" name="Полилиния 191"/>
          <p:cNvSpPr/>
          <p:nvPr/>
        </p:nvSpPr>
        <p:spPr>
          <a:xfrm>
            <a:off x="5166206" y="1973503"/>
            <a:ext cx="95442" cy="52339"/>
          </a:xfrm>
          <a:custGeom>
            <a:avLst/>
            <a:gdLst>
              <a:gd name="connsiteX0" fmla="*/ 95442 w 95442"/>
              <a:gd name="connsiteY0" fmla="*/ 0 h 52339"/>
              <a:gd name="connsiteX1" fmla="*/ 55418 w 95442"/>
              <a:gd name="connsiteY1" fmla="*/ 36945 h 52339"/>
              <a:gd name="connsiteX2" fmla="*/ 30788 w 95442"/>
              <a:gd name="connsiteY2" fmla="*/ 46182 h 52339"/>
              <a:gd name="connsiteX3" fmla="*/ 18473 w 95442"/>
              <a:gd name="connsiteY3" fmla="*/ 52339 h 52339"/>
              <a:gd name="connsiteX4" fmla="*/ 0 w 95442"/>
              <a:gd name="connsiteY4" fmla="*/ 46182 h 5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42" h="52339">
                <a:moveTo>
                  <a:pt x="95442" y="0"/>
                </a:moveTo>
                <a:cubicBezTo>
                  <a:pt x="80818" y="14624"/>
                  <a:pt x="66194" y="29248"/>
                  <a:pt x="55418" y="36945"/>
                </a:cubicBezTo>
                <a:cubicBezTo>
                  <a:pt x="44642" y="44642"/>
                  <a:pt x="30788" y="46182"/>
                  <a:pt x="30788" y="46182"/>
                </a:cubicBezTo>
                <a:cubicBezTo>
                  <a:pt x="24631" y="48748"/>
                  <a:pt x="23604" y="52339"/>
                  <a:pt x="18473" y="52339"/>
                </a:cubicBezTo>
                <a:cubicBezTo>
                  <a:pt x="13342" y="52339"/>
                  <a:pt x="6671" y="49260"/>
                  <a:pt x="0" y="46182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3" name="Полилиния 192"/>
          <p:cNvSpPr/>
          <p:nvPr/>
        </p:nvSpPr>
        <p:spPr>
          <a:xfrm>
            <a:off x="5049212" y="1960892"/>
            <a:ext cx="221673" cy="66141"/>
          </a:xfrm>
          <a:custGeom>
            <a:avLst/>
            <a:gdLst>
              <a:gd name="connsiteX0" fmla="*/ 221673 w 221673"/>
              <a:gd name="connsiteY0" fmla="*/ 296 h 66141"/>
              <a:gd name="connsiteX1" fmla="*/ 163176 w 221673"/>
              <a:gd name="connsiteY1" fmla="*/ 58793 h 66141"/>
              <a:gd name="connsiteX2" fmla="*/ 138546 w 221673"/>
              <a:gd name="connsiteY2" fmla="*/ 64950 h 66141"/>
              <a:gd name="connsiteX3" fmla="*/ 120073 w 221673"/>
              <a:gd name="connsiteY3" fmla="*/ 55714 h 66141"/>
              <a:gd name="connsiteX4" fmla="*/ 95443 w 221673"/>
              <a:gd name="connsiteY4" fmla="*/ 34162 h 66141"/>
              <a:gd name="connsiteX5" fmla="*/ 67733 w 221673"/>
              <a:gd name="connsiteY5" fmla="*/ 6453 h 66141"/>
              <a:gd name="connsiteX6" fmla="*/ 46182 w 221673"/>
              <a:gd name="connsiteY6" fmla="*/ 296 h 66141"/>
              <a:gd name="connsiteX7" fmla="*/ 24630 w 221673"/>
              <a:gd name="connsiteY7" fmla="*/ 12611 h 66141"/>
              <a:gd name="connsiteX8" fmla="*/ 12315 w 221673"/>
              <a:gd name="connsiteY8" fmla="*/ 18768 h 66141"/>
              <a:gd name="connsiteX9" fmla="*/ 0 w 221673"/>
              <a:gd name="connsiteY9" fmla="*/ 24926 h 66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1673" h="66141">
                <a:moveTo>
                  <a:pt x="221673" y="296"/>
                </a:moveTo>
                <a:cubicBezTo>
                  <a:pt x="199351" y="24156"/>
                  <a:pt x="177030" y="48017"/>
                  <a:pt x="163176" y="58793"/>
                </a:cubicBezTo>
                <a:cubicBezTo>
                  <a:pt x="149322" y="69569"/>
                  <a:pt x="145730" y="65463"/>
                  <a:pt x="138546" y="64950"/>
                </a:cubicBezTo>
                <a:cubicBezTo>
                  <a:pt x="131362" y="64437"/>
                  <a:pt x="127257" y="60845"/>
                  <a:pt x="120073" y="55714"/>
                </a:cubicBezTo>
                <a:cubicBezTo>
                  <a:pt x="112889" y="50583"/>
                  <a:pt x="104166" y="42372"/>
                  <a:pt x="95443" y="34162"/>
                </a:cubicBezTo>
                <a:cubicBezTo>
                  <a:pt x="86720" y="25952"/>
                  <a:pt x="75943" y="12097"/>
                  <a:pt x="67733" y="6453"/>
                </a:cubicBezTo>
                <a:cubicBezTo>
                  <a:pt x="59523" y="809"/>
                  <a:pt x="53366" y="-730"/>
                  <a:pt x="46182" y="296"/>
                </a:cubicBezTo>
                <a:cubicBezTo>
                  <a:pt x="38998" y="1322"/>
                  <a:pt x="24630" y="12611"/>
                  <a:pt x="24630" y="12611"/>
                </a:cubicBezTo>
                <a:cubicBezTo>
                  <a:pt x="18986" y="15690"/>
                  <a:pt x="12315" y="18768"/>
                  <a:pt x="12315" y="18768"/>
                </a:cubicBezTo>
                <a:lnTo>
                  <a:pt x="0" y="24926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4" name="Блок-схема: узел 193"/>
          <p:cNvSpPr/>
          <p:nvPr/>
        </p:nvSpPr>
        <p:spPr>
          <a:xfrm>
            <a:off x="5025413" y="1932967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6" name="Полилиния 195"/>
          <p:cNvSpPr/>
          <p:nvPr/>
        </p:nvSpPr>
        <p:spPr>
          <a:xfrm>
            <a:off x="5265804" y="1985818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825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7" name="Полилиния 196"/>
          <p:cNvSpPr/>
          <p:nvPr/>
        </p:nvSpPr>
        <p:spPr>
          <a:xfrm>
            <a:off x="5238559" y="2002752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8" name="Полилиния 197"/>
          <p:cNvSpPr/>
          <p:nvPr/>
        </p:nvSpPr>
        <p:spPr>
          <a:xfrm>
            <a:off x="5248261" y="1991975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9" name="Полилиния 198"/>
          <p:cNvSpPr/>
          <p:nvPr/>
        </p:nvSpPr>
        <p:spPr>
          <a:xfrm>
            <a:off x="5275499" y="1975040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0" name="Полилиния 199"/>
          <p:cNvSpPr/>
          <p:nvPr/>
        </p:nvSpPr>
        <p:spPr>
          <a:xfrm>
            <a:off x="5286277" y="1964262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1" name="Полилиния 200"/>
          <p:cNvSpPr/>
          <p:nvPr/>
        </p:nvSpPr>
        <p:spPr>
          <a:xfrm>
            <a:off x="5263195" y="1983197"/>
            <a:ext cx="293077" cy="532630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4" name="Блок-схема: узел 183"/>
          <p:cNvSpPr/>
          <p:nvPr/>
        </p:nvSpPr>
        <p:spPr>
          <a:xfrm>
            <a:off x="5227560" y="1947455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Блок-схема: узел 36"/>
          <p:cNvSpPr/>
          <p:nvPr/>
        </p:nvSpPr>
        <p:spPr>
          <a:xfrm>
            <a:off x="5516899" y="2500716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2" name="Полилиния 201"/>
          <p:cNvSpPr/>
          <p:nvPr/>
        </p:nvSpPr>
        <p:spPr>
          <a:xfrm>
            <a:off x="7315200" y="4280289"/>
            <a:ext cx="100976" cy="179515"/>
          </a:xfrm>
          <a:custGeom>
            <a:avLst/>
            <a:gdLst>
              <a:gd name="connsiteX0" fmla="*/ 100976 w 100976"/>
              <a:gd name="connsiteY0" fmla="*/ 0 h 179515"/>
              <a:gd name="connsiteX1" fmla="*/ 61708 w 100976"/>
              <a:gd name="connsiteY1" fmla="*/ 53294 h 179515"/>
              <a:gd name="connsiteX2" fmla="*/ 47683 w 100976"/>
              <a:gd name="connsiteY2" fmla="*/ 95367 h 179515"/>
              <a:gd name="connsiteX3" fmla="*/ 39268 w 100976"/>
              <a:gd name="connsiteY3" fmla="*/ 115002 h 179515"/>
              <a:gd name="connsiteX4" fmla="*/ 22439 w 100976"/>
              <a:gd name="connsiteY4" fmla="*/ 137441 h 179515"/>
              <a:gd name="connsiteX5" fmla="*/ 5609 w 100976"/>
              <a:gd name="connsiteY5" fmla="*/ 171100 h 179515"/>
              <a:gd name="connsiteX6" fmla="*/ 0 w 100976"/>
              <a:gd name="connsiteY6" fmla="*/ 179515 h 17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76" h="179515">
                <a:moveTo>
                  <a:pt x="100976" y="0"/>
                </a:moveTo>
                <a:cubicBezTo>
                  <a:pt x="85783" y="18699"/>
                  <a:pt x="70590" y="37399"/>
                  <a:pt x="61708" y="53294"/>
                </a:cubicBezTo>
                <a:cubicBezTo>
                  <a:pt x="52826" y="69189"/>
                  <a:pt x="51423" y="85082"/>
                  <a:pt x="47683" y="95367"/>
                </a:cubicBezTo>
                <a:cubicBezTo>
                  <a:pt x="43943" y="105652"/>
                  <a:pt x="43475" y="107990"/>
                  <a:pt x="39268" y="115002"/>
                </a:cubicBezTo>
                <a:cubicBezTo>
                  <a:pt x="35061" y="122014"/>
                  <a:pt x="28049" y="128091"/>
                  <a:pt x="22439" y="137441"/>
                </a:cubicBezTo>
                <a:cubicBezTo>
                  <a:pt x="16829" y="146791"/>
                  <a:pt x="5609" y="171100"/>
                  <a:pt x="5609" y="171100"/>
                </a:cubicBezTo>
                <a:cubicBezTo>
                  <a:pt x="1869" y="178112"/>
                  <a:pt x="934" y="178813"/>
                  <a:pt x="0" y="179515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3" name="Полилиния 202"/>
          <p:cNvSpPr/>
          <p:nvPr/>
        </p:nvSpPr>
        <p:spPr>
          <a:xfrm>
            <a:off x="7324548" y="4255977"/>
            <a:ext cx="100976" cy="179515"/>
          </a:xfrm>
          <a:custGeom>
            <a:avLst/>
            <a:gdLst>
              <a:gd name="connsiteX0" fmla="*/ 100976 w 100976"/>
              <a:gd name="connsiteY0" fmla="*/ 0 h 179515"/>
              <a:gd name="connsiteX1" fmla="*/ 61708 w 100976"/>
              <a:gd name="connsiteY1" fmla="*/ 53294 h 179515"/>
              <a:gd name="connsiteX2" fmla="*/ 47683 w 100976"/>
              <a:gd name="connsiteY2" fmla="*/ 95367 h 179515"/>
              <a:gd name="connsiteX3" fmla="*/ 39268 w 100976"/>
              <a:gd name="connsiteY3" fmla="*/ 115002 h 179515"/>
              <a:gd name="connsiteX4" fmla="*/ 22439 w 100976"/>
              <a:gd name="connsiteY4" fmla="*/ 137441 h 179515"/>
              <a:gd name="connsiteX5" fmla="*/ 5609 w 100976"/>
              <a:gd name="connsiteY5" fmla="*/ 171100 h 179515"/>
              <a:gd name="connsiteX6" fmla="*/ 0 w 100976"/>
              <a:gd name="connsiteY6" fmla="*/ 179515 h 17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76" h="179515">
                <a:moveTo>
                  <a:pt x="100976" y="0"/>
                </a:moveTo>
                <a:cubicBezTo>
                  <a:pt x="85783" y="18699"/>
                  <a:pt x="70590" y="37399"/>
                  <a:pt x="61708" y="53294"/>
                </a:cubicBezTo>
                <a:cubicBezTo>
                  <a:pt x="52826" y="69189"/>
                  <a:pt x="51423" y="85082"/>
                  <a:pt x="47683" y="95367"/>
                </a:cubicBezTo>
                <a:cubicBezTo>
                  <a:pt x="43943" y="105652"/>
                  <a:pt x="43475" y="107990"/>
                  <a:pt x="39268" y="115002"/>
                </a:cubicBezTo>
                <a:cubicBezTo>
                  <a:pt x="35061" y="122014"/>
                  <a:pt x="28049" y="128091"/>
                  <a:pt x="22439" y="137441"/>
                </a:cubicBezTo>
                <a:cubicBezTo>
                  <a:pt x="16829" y="146791"/>
                  <a:pt x="5609" y="171100"/>
                  <a:pt x="5609" y="171100"/>
                </a:cubicBezTo>
                <a:cubicBezTo>
                  <a:pt x="1869" y="178112"/>
                  <a:pt x="934" y="178813"/>
                  <a:pt x="0" y="17951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Полилиния 83"/>
          <p:cNvSpPr/>
          <p:nvPr/>
        </p:nvSpPr>
        <p:spPr>
          <a:xfrm>
            <a:off x="7400925" y="3933825"/>
            <a:ext cx="460375" cy="355600"/>
          </a:xfrm>
          <a:custGeom>
            <a:avLst/>
            <a:gdLst>
              <a:gd name="connsiteX0" fmla="*/ 460375 w 460375"/>
              <a:gd name="connsiteY0" fmla="*/ 0 h 355600"/>
              <a:gd name="connsiteX1" fmla="*/ 444500 w 460375"/>
              <a:gd name="connsiteY1" fmla="*/ 60325 h 355600"/>
              <a:gd name="connsiteX2" fmla="*/ 438150 w 460375"/>
              <a:gd name="connsiteY2" fmla="*/ 85725 h 355600"/>
              <a:gd name="connsiteX3" fmla="*/ 441325 w 460375"/>
              <a:gd name="connsiteY3" fmla="*/ 114300 h 355600"/>
              <a:gd name="connsiteX4" fmla="*/ 441325 w 460375"/>
              <a:gd name="connsiteY4" fmla="*/ 120650 h 355600"/>
              <a:gd name="connsiteX5" fmla="*/ 419100 w 460375"/>
              <a:gd name="connsiteY5" fmla="*/ 127000 h 355600"/>
              <a:gd name="connsiteX6" fmla="*/ 387350 w 460375"/>
              <a:gd name="connsiteY6" fmla="*/ 133350 h 355600"/>
              <a:gd name="connsiteX7" fmla="*/ 374650 w 460375"/>
              <a:gd name="connsiteY7" fmla="*/ 133350 h 355600"/>
              <a:gd name="connsiteX8" fmla="*/ 374650 w 460375"/>
              <a:gd name="connsiteY8" fmla="*/ 152400 h 355600"/>
              <a:gd name="connsiteX9" fmla="*/ 368300 w 460375"/>
              <a:gd name="connsiteY9" fmla="*/ 171450 h 355600"/>
              <a:gd name="connsiteX10" fmla="*/ 368300 w 460375"/>
              <a:gd name="connsiteY10" fmla="*/ 193675 h 355600"/>
              <a:gd name="connsiteX11" fmla="*/ 346075 w 460375"/>
              <a:gd name="connsiteY11" fmla="*/ 203200 h 355600"/>
              <a:gd name="connsiteX12" fmla="*/ 349250 w 460375"/>
              <a:gd name="connsiteY12" fmla="*/ 228600 h 355600"/>
              <a:gd name="connsiteX13" fmla="*/ 330200 w 460375"/>
              <a:gd name="connsiteY13" fmla="*/ 247650 h 355600"/>
              <a:gd name="connsiteX14" fmla="*/ 317500 w 460375"/>
              <a:gd name="connsiteY14" fmla="*/ 266700 h 355600"/>
              <a:gd name="connsiteX15" fmla="*/ 304800 w 460375"/>
              <a:gd name="connsiteY15" fmla="*/ 285750 h 355600"/>
              <a:gd name="connsiteX16" fmla="*/ 276225 w 460375"/>
              <a:gd name="connsiteY16" fmla="*/ 292100 h 355600"/>
              <a:gd name="connsiteX17" fmla="*/ 231775 w 460375"/>
              <a:gd name="connsiteY17" fmla="*/ 314325 h 355600"/>
              <a:gd name="connsiteX18" fmla="*/ 168275 w 460375"/>
              <a:gd name="connsiteY18" fmla="*/ 311150 h 355600"/>
              <a:gd name="connsiteX19" fmla="*/ 98425 w 460375"/>
              <a:gd name="connsiteY19" fmla="*/ 333375 h 355600"/>
              <a:gd name="connsiteX20" fmla="*/ 28575 w 460375"/>
              <a:gd name="connsiteY20" fmla="*/ 349250 h 355600"/>
              <a:gd name="connsiteX21" fmla="*/ 0 w 460375"/>
              <a:gd name="connsiteY21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60375" h="355600">
                <a:moveTo>
                  <a:pt x="460375" y="0"/>
                </a:moveTo>
                <a:cubicBezTo>
                  <a:pt x="454289" y="23019"/>
                  <a:pt x="448204" y="46038"/>
                  <a:pt x="444500" y="60325"/>
                </a:cubicBezTo>
                <a:cubicBezTo>
                  <a:pt x="440796" y="74612"/>
                  <a:pt x="438679" y="76729"/>
                  <a:pt x="438150" y="85725"/>
                </a:cubicBezTo>
                <a:cubicBezTo>
                  <a:pt x="437621" y="94721"/>
                  <a:pt x="441325" y="114300"/>
                  <a:pt x="441325" y="114300"/>
                </a:cubicBezTo>
                <a:cubicBezTo>
                  <a:pt x="441854" y="120121"/>
                  <a:pt x="445029" y="118533"/>
                  <a:pt x="441325" y="120650"/>
                </a:cubicBezTo>
                <a:cubicBezTo>
                  <a:pt x="437621" y="122767"/>
                  <a:pt x="428096" y="124883"/>
                  <a:pt x="419100" y="127000"/>
                </a:cubicBezTo>
                <a:cubicBezTo>
                  <a:pt x="410104" y="129117"/>
                  <a:pt x="387350" y="133350"/>
                  <a:pt x="387350" y="133350"/>
                </a:cubicBezTo>
                <a:cubicBezTo>
                  <a:pt x="379942" y="134408"/>
                  <a:pt x="376767" y="130175"/>
                  <a:pt x="374650" y="133350"/>
                </a:cubicBezTo>
                <a:cubicBezTo>
                  <a:pt x="372533" y="136525"/>
                  <a:pt x="375708" y="146050"/>
                  <a:pt x="374650" y="152400"/>
                </a:cubicBezTo>
                <a:cubicBezTo>
                  <a:pt x="373592" y="158750"/>
                  <a:pt x="369358" y="164571"/>
                  <a:pt x="368300" y="171450"/>
                </a:cubicBezTo>
                <a:cubicBezTo>
                  <a:pt x="367242" y="178329"/>
                  <a:pt x="372004" y="188383"/>
                  <a:pt x="368300" y="193675"/>
                </a:cubicBezTo>
                <a:cubicBezTo>
                  <a:pt x="364596" y="198967"/>
                  <a:pt x="349250" y="197379"/>
                  <a:pt x="346075" y="203200"/>
                </a:cubicBezTo>
                <a:cubicBezTo>
                  <a:pt x="342900" y="209021"/>
                  <a:pt x="351896" y="221192"/>
                  <a:pt x="349250" y="228600"/>
                </a:cubicBezTo>
                <a:cubicBezTo>
                  <a:pt x="346604" y="236008"/>
                  <a:pt x="335492" y="241300"/>
                  <a:pt x="330200" y="247650"/>
                </a:cubicBezTo>
                <a:cubicBezTo>
                  <a:pt x="324908" y="254000"/>
                  <a:pt x="317500" y="266700"/>
                  <a:pt x="317500" y="266700"/>
                </a:cubicBezTo>
                <a:cubicBezTo>
                  <a:pt x="313267" y="273050"/>
                  <a:pt x="311679" y="281517"/>
                  <a:pt x="304800" y="285750"/>
                </a:cubicBezTo>
                <a:cubicBezTo>
                  <a:pt x="297921" y="289983"/>
                  <a:pt x="288396" y="287338"/>
                  <a:pt x="276225" y="292100"/>
                </a:cubicBezTo>
                <a:cubicBezTo>
                  <a:pt x="264054" y="296862"/>
                  <a:pt x="249767" y="311150"/>
                  <a:pt x="231775" y="314325"/>
                </a:cubicBezTo>
                <a:cubicBezTo>
                  <a:pt x="213783" y="317500"/>
                  <a:pt x="190500" y="307975"/>
                  <a:pt x="168275" y="311150"/>
                </a:cubicBezTo>
                <a:cubicBezTo>
                  <a:pt x="146050" y="314325"/>
                  <a:pt x="121708" y="327025"/>
                  <a:pt x="98425" y="333375"/>
                </a:cubicBezTo>
                <a:cubicBezTo>
                  <a:pt x="75142" y="339725"/>
                  <a:pt x="28575" y="349250"/>
                  <a:pt x="28575" y="349250"/>
                </a:cubicBezTo>
                <a:lnTo>
                  <a:pt x="0" y="355600"/>
                </a:ln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Полилиния 84"/>
          <p:cNvSpPr/>
          <p:nvPr/>
        </p:nvSpPr>
        <p:spPr>
          <a:xfrm>
            <a:off x="7398118" y="3933455"/>
            <a:ext cx="460375" cy="355600"/>
          </a:xfrm>
          <a:custGeom>
            <a:avLst/>
            <a:gdLst>
              <a:gd name="connsiteX0" fmla="*/ 460375 w 460375"/>
              <a:gd name="connsiteY0" fmla="*/ 0 h 355600"/>
              <a:gd name="connsiteX1" fmla="*/ 444500 w 460375"/>
              <a:gd name="connsiteY1" fmla="*/ 60325 h 355600"/>
              <a:gd name="connsiteX2" fmla="*/ 438150 w 460375"/>
              <a:gd name="connsiteY2" fmla="*/ 85725 h 355600"/>
              <a:gd name="connsiteX3" fmla="*/ 441325 w 460375"/>
              <a:gd name="connsiteY3" fmla="*/ 114300 h 355600"/>
              <a:gd name="connsiteX4" fmla="*/ 441325 w 460375"/>
              <a:gd name="connsiteY4" fmla="*/ 120650 h 355600"/>
              <a:gd name="connsiteX5" fmla="*/ 419100 w 460375"/>
              <a:gd name="connsiteY5" fmla="*/ 127000 h 355600"/>
              <a:gd name="connsiteX6" fmla="*/ 387350 w 460375"/>
              <a:gd name="connsiteY6" fmla="*/ 133350 h 355600"/>
              <a:gd name="connsiteX7" fmla="*/ 374650 w 460375"/>
              <a:gd name="connsiteY7" fmla="*/ 133350 h 355600"/>
              <a:gd name="connsiteX8" fmla="*/ 374650 w 460375"/>
              <a:gd name="connsiteY8" fmla="*/ 152400 h 355600"/>
              <a:gd name="connsiteX9" fmla="*/ 368300 w 460375"/>
              <a:gd name="connsiteY9" fmla="*/ 171450 h 355600"/>
              <a:gd name="connsiteX10" fmla="*/ 368300 w 460375"/>
              <a:gd name="connsiteY10" fmla="*/ 193675 h 355600"/>
              <a:gd name="connsiteX11" fmla="*/ 346075 w 460375"/>
              <a:gd name="connsiteY11" fmla="*/ 203200 h 355600"/>
              <a:gd name="connsiteX12" fmla="*/ 349250 w 460375"/>
              <a:gd name="connsiteY12" fmla="*/ 228600 h 355600"/>
              <a:gd name="connsiteX13" fmla="*/ 330200 w 460375"/>
              <a:gd name="connsiteY13" fmla="*/ 247650 h 355600"/>
              <a:gd name="connsiteX14" fmla="*/ 317500 w 460375"/>
              <a:gd name="connsiteY14" fmla="*/ 266700 h 355600"/>
              <a:gd name="connsiteX15" fmla="*/ 304800 w 460375"/>
              <a:gd name="connsiteY15" fmla="*/ 285750 h 355600"/>
              <a:gd name="connsiteX16" fmla="*/ 276225 w 460375"/>
              <a:gd name="connsiteY16" fmla="*/ 292100 h 355600"/>
              <a:gd name="connsiteX17" fmla="*/ 231775 w 460375"/>
              <a:gd name="connsiteY17" fmla="*/ 314325 h 355600"/>
              <a:gd name="connsiteX18" fmla="*/ 168275 w 460375"/>
              <a:gd name="connsiteY18" fmla="*/ 311150 h 355600"/>
              <a:gd name="connsiteX19" fmla="*/ 98425 w 460375"/>
              <a:gd name="connsiteY19" fmla="*/ 333375 h 355600"/>
              <a:gd name="connsiteX20" fmla="*/ 28575 w 460375"/>
              <a:gd name="connsiteY20" fmla="*/ 349250 h 355600"/>
              <a:gd name="connsiteX21" fmla="*/ 0 w 460375"/>
              <a:gd name="connsiteY21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60375" h="355600">
                <a:moveTo>
                  <a:pt x="460375" y="0"/>
                </a:moveTo>
                <a:cubicBezTo>
                  <a:pt x="454289" y="23019"/>
                  <a:pt x="448204" y="46038"/>
                  <a:pt x="444500" y="60325"/>
                </a:cubicBezTo>
                <a:cubicBezTo>
                  <a:pt x="440796" y="74612"/>
                  <a:pt x="438679" y="76729"/>
                  <a:pt x="438150" y="85725"/>
                </a:cubicBezTo>
                <a:cubicBezTo>
                  <a:pt x="437621" y="94721"/>
                  <a:pt x="441325" y="114300"/>
                  <a:pt x="441325" y="114300"/>
                </a:cubicBezTo>
                <a:cubicBezTo>
                  <a:pt x="441854" y="120121"/>
                  <a:pt x="445029" y="118533"/>
                  <a:pt x="441325" y="120650"/>
                </a:cubicBezTo>
                <a:cubicBezTo>
                  <a:pt x="437621" y="122767"/>
                  <a:pt x="428096" y="124883"/>
                  <a:pt x="419100" y="127000"/>
                </a:cubicBezTo>
                <a:cubicBezTo>
                  <a:pt x="410104" y="129117"/>
                  <a:pt x="387350" y="133350"/>
                  <a:pt x="387350" y="133350"/>
                </a:cubicBezTo>
                <a:cubicBezTo>
                  <a:pt x="379942" y="134408"/>
                  <a:pt x="376767" y="130175"/>
                  <a:pt x="374650" y="133350"/>
                </a:cubicBezTo>
                <a:cubicBezTo>
                  <a:pt x="372533" y="136525"/>
                  <a:pt x="375708" y="146050"/>
                  <a:pt x="374650" y="152400"/>
                </a:cubicBezTo>
                <a:cubicBezTo>
                  <a:pt x="373592" y="158750"/>
                  <a:pt x="369358" y="164571"/>
                  <a:pt x="368300" y="171450"/>
                </a:cubicBezTo>
                <a:cubicBezTo>
                  <a:pt x="367242" y="178329"/>
                  <a:pt x="372004" y="188383"/>
                  <a:pt x="368300" y="193675"/>
                </a:cubicBezTo>
                <a:cubicBezTo>
                  <a:pt x="364596" y="198967"/>
                  <a:pt x="349250" y="197379"/>
                  <a:pt x="346075" y="203200"/>
                </a:cubicBezTo>
                <a:cubicBezTo>
                  <a:pt x="342900" y="209021"/>
                  <a:pt x="351896" y="221192"/>
                  <a:pt x="349250" y="228600"/>
                </a:cubicBezTo>
                <a:cubicBezTo>
                  <a:pt x="346604" y="236008"/>
                  <a:pt x="335492" y="241300"/>
                  <a:pt x="330200" y="247650"/>
                </a:cubicBezTo>
                <a:cubicBezTo>
                  <a:pt x="324908" y="254000"/>
                  <a:pt x="317500" y="266700"/>
                  <a:pt x="317500" y="266700"/>
                </a:cubicBezTo>
                <a:cubicBezTo>
                  <a:pt x="313267" y="273050"/>
                  <a:pt x="311679" y="281517"/>
                  <a:pt x="304800" y="285750"/>
                </a:cubicBezTo>
                <a:cubicBezTo>
                  <a:pt x="297921" y="289983"/>
                  <a:pt x="288396" y="287338"/>
                  <a:pt x="276225" y="292100"/>
                </a:cubicBezTo>
                <a:cubicBezTo>
                  <a:pt x="264054" y="296862"/>
                  <a:pt x="249767" y="311150"/>
                  <a:pt x="231775" y="314325"/>
                </a:cubicBezTo>
                <a:cubicBezTo>
                  <a:pt x="213783" y="317500"/>
                  <a:pt x="190500" y="307975"/>
                  <a:pt x="168275" y="311150"/>
                </a:cubicBezTo>
                <a:cubicBezTo>
                  <a:pt x="146050" y="314325"/>
                  <a:pt x="121708" y="327025"/>
                  <a:pt x="98425" y="333375"/>
                </a:cubicBezTo>
                <a:cubicBezTo>
                  <a:pt x="75142" y="339725"/>
                  <a:pt x="28575" y="349250"/>
                  <a:pt x="28575" y="349250"/>
                </a:cubicBezTo>
                <a:lnTo>
                  <a:pt x="0" y="355600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4" name="Блок-схема: узел 173"/>
          <p:cNvSpPr/>
          <p:nvPr/>
        </p:nvSpPr>
        <p:spPr>
          <a:xfrm>
            <a:off x="7832081" y="3886659"/>
            <a:ext cx="74333" cy="7065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5" name="Полилиния 204"/>
          <p:cNvSpPr/>
          <p:nvPr/>
        </p:nvSpPr>
        <p:spPr>
          <a:xfrm>
            <a:off x="7078709" y="4442974"/>
            <a:ext cx="239296" cy="594641"/>
          </a:xfrm>
          <a:custGeom>
            <a:avLst/>
            <a:gdLst>
              <a:gd name="connsiteX0" fmla="*/ 239296 w 239296"/>
              <a:gd name="connsiteY0" fmla="*/ 0 h 594641"/>
              <a:gd name="connsiteX1" fmla="*/ 236491 w 239296"/>
              <a:gd name="connsiteY1" fmla="*/ 50489 h 594641"/>
              <a:gd name="connsiteX2" fmla="*/ 225271 w 239296"/>
              <a:gd name="connsiteY2" fmla="*/ 70123 h 594641"/>
              <a:gd name="connsiteX3" fmla="*/ 228076 w 239296"/>
              <a:gd name="connsiteY3" fmla="*/ 103782 h 594641"/>
              <a:gd name="connsiteX4" fmla="*/ 216857 w 239296"/>
              <a:gd name="connsiteY4" fmla="*/ 137441 h 594641"/>
              <a:gd name="connsiteX5" fmla="*/ 208442 w 239296"/>
              <a:gd name="connsiteY5" fmla="*/ 157075 h 594641"/>
              <a:gd name="connsiteX6" fmla="*/ 216857 w 239296"/>
              <a:gd name="connsiteY6" fmla="*/ 187929 h 594641"/>
              <a:gd name="connsiteX7" fmla="*/ 216857 w 239296"/>
              <a:gd name="connsiteY7" fmla="*/ 218783 h 594641"/>
              <a:gd name="connsiteX8" fmla="*/ 197222 w 239296"/>
              <a:gd name="connsiteY8" fmla="*/ 238417 h 594641"/>
              <a:gd name="connsiteX9" fmla="*/ 169173 w 239296"/>
              <a:gd name="connsiteY9" fmla="*/ 260857 h 594641"/>
              <a:gd name="connsiteX10" fmla="*/ 160758 w 239296"/>
              <a:gd name="connsiteY10" fmla="*/ 283296 h 594641"/>
              <a:gd name="connsiteX11" fmla="*/ 135514 w 239296"/>
              <a:gd name="connsiteY11" fmla="*/ 300125 h 594641"/>
              <a:gd name="connsiteX12" fmla="*/ 129904 w 239296"/>
              <a:gd name="connsiteY12" fmla="*/ 345004 h 594641"/>
              <a:gd name="connsiteX13" fmla="*/ 107465 w 239296"/>
              <a:gd name="connsiteY13" fmla="*/ 356224 h 594641"/>
              <a:gd name="connsiteX14" fmla="*/ 62587 w 239296"/>
              <a:gd name="connsiteY14" fmla="*/ 359028 h 594641"/>
              <a:gd name="connsiteX15" fmla="*/ 17708 w 239296"/>
              <a:gd name="connsiteY15" fmla="*/ 378663 h 594641"/>
              <a:gd name="connsiteX16" fmla="*/ 879 w 239296"/>
              <a:gd name="connsiteY16" fmla="*/ 392687 h 594641"/>
              <a:gd name="connsiteX17" fmla="*/ 3684 w 239296"/>
              <a:gd name="connsiteY17" fmla="*/ 437566 h 594641"/>
              <a:gd name="connsiteX18" fmla="*/ 14903 w 239296"/>
              <a:gd name="connsiteY18" fmla="*/ 485249 h 594641"/>
              <a:gd name="connsiteX19" fmla="*/ 17708 w 239296"/>
              <a:gd name="connsiteY19" fmla="*/ 541347 h 594641"/>
              <a:gd name="connsiteX20" fmla="*/ 12098 w 239296"/>
              <a:gd name="connsiteY20" fmla="*/ 572201 h 594641"/>
              <a:gd name="connsiteX21" fmla="*/ 12098 w 239296"/>
              <a:gd name="connsiteY21" fmla="*/ 594641 h 594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39296" h="594641">
                <a:moveTo>
                  <a:pt x="239296" y="0"/>
                </a:moveTo>
                <a:cubicBezTo>
                  <a:pt x="239062" y="19401"/>
                  <a:pt x="238828" y="38802"/>
                  <a:pt x="236491" y="50489"/>
                </a:cubicBezTo>
                <a:cubicBezTo>
                  <a:pt x="234154" y="62176"/>
                  <a:pt x="226673" y="61241"/>
                  <a:pt x="225271" y="70123"/>
                </a:cubicBezTo>
                <a:cubicBezTo>
                  <a:pt x="223868" y="79005"/>
                  <a:pt x="229478" y="92562"/>
                  <a:pt x="228076" y="103782"/>
                </a:cubicBezTo>
                <a:cubicBezTo>
                  <a:pt x="226674" y="115002"/>
                  <a:pt x="220129" y="128559"/>
                  <a:pt x="216857" y="137441"/>
                </a:cubicBezTo>
                <a:cubicBezTo>
                  <a:pt x="213585" y="146323"/>
                  <a:pt x="208442" y="148660"/>
                  <a:pt x="208442" y="157075"/>
                </a:cubicBezTo>
                <a:cubicBezTo>
                  <a:pt x="208442" y="165490"/>
                  <a:pt x="215455" y="177644"/>
                  <a:pt x="216857" y="187929"/>
                </a:cubicBezTo>
                <a:cubicBezTo>
                  <a:pt x="218259" y="198214"/>
                  <a:pt x="220129" y="210368"/>
                  <a:pt x="216857" y="218783"/>
                </a:cubicBezTo>
                <a:cubicBezTo>
                  <a:pt x="213585" y="227198"/>
                  <a:pt x="205169" y="231405"/>
                  <a:pt x="197222" y="238417"/>
                </a:cubicBezTo>
                <a:cubicBezTo>
                  <a:pt x="189275" y="245429"/>
                  <a:pt x="175250" y="253377"/>
                  <a:pt x="169173" y="260857"/>
                </a:cubicBezTo>
                <a:cubicBezTo>
                  <a:pt x="163096" y="268337"/>
                  <a:pt x="166368" y="276751"/>
                  <a:pt x="160758" y="283296"/>
                </a:cubicBezTo>
                <a:cubicBezTo>
                  <a:pt x="155148" y="289841"/>
                  <a:pt x="140656" y="289840"/>
                  <a:pt x="135514" y="300125"/>
                </a:cubicBezTo>
                <a:cubicBezTo>
                  <a:pt x="130372" y="310410"/>
                  <a:pt x="134579" y="335654"/>
                  <a:pt x="129904" y="345004"/>
                </a:cubicBezTo>
                <a:cubicBezTo>
                  <a:pt x="125229" y="354354"/>
                  <a:pt x="118685" y="353887"/>
                  <a:pt x="107465" y="356224"/>
                </a:cubicBezTo>
                <a:cubicBezTo>
                  <a:pt x="96245" y="358561"/>
                  <a:pt x="77547" y="355288"/>
                  <a:pt x="62587" y="359028"/>
                </a:cubicBezTo>
                <a:cubicBezTo>
                  <a:pt x="47627" y="362768"/>
                  <a:pt x="27993" y="373053"/>
                  <a:pt x="17708" y="378663"/>
                </a:cubicBezTo>
                <a:cubicBezTo>
                  <a:pt x="7423" y="384273"/>
                  <a:pt x="3216" y="382870"/>
                  <a:pt x="879" y="392687"/>
                </a:cubicBezTo>
                <a:cubicBezTo>
                  <a:pt x="-1458" y="402504"/>
                  <a:pt x="1347" y="422139"/>
                  <a:pt x="3684" y="437566"/>
                </a:cubicBezTo>
                <a:cubicBezTo>
                  <a:pt x="6021" y="452993"/>
                  <a:pt x="12566" y="467952"/>
                  <a:pt x="14903" y="485249"/>
                </a:cubicBezTo>
                <a:cubicBezTo>
                  <a:pt x="17240" y="502546"/>
                  <a:pt x="18175" y="526855"/>
                  <a:pt x="17708" y="541347"/>
                </a:cubicBezTo>
                <a:cubicBezTo>
                  <a:pt x="17241" y="555839"/>
                  <a:pt x="13033" y="563319"/>
                  <a:pt x="12098" y="572201"/>
                </a:cubicBezTo>
                <a:cubicBezTo>
                  <a:pt x="11163" y="581083"/>
                  <a:pt x="11630" y="587862"/>
                  <a:pt x="12098" y="594641"/>
                </a:cubicBezTo>
              </a:path>
            </a:pathLst>
          </a:cu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6" name="Полилиния 205"/>
          <p:cNvSpPr/>
          <p:nvPr/>
        </p:nvSpPr>
        <p:spPr>
          <a:xfrm>
            <a:off x="7099280" y="4460736"/>
            <a:ext cx="239296" cy="594641"/>
          </a:xfrm>
          <a:custGeom>
            <a:avLst/>
            <a:gdLst>
              <a:gd name="connsiteX0" fmla="*/ 239296 w 239296"/>
              <a:gd name="connsiteY0" fmla="*/ 0 h 594641"/>
              <a:gd name="connsiteX1" fmla="*/ 236491 w 239296"/>
              <a:gd name="connsiteY1" fmla="*/ 50489 h 594641"/>
              <a:gd name="connsiteX2" fmla="*/ 225271 w 239296"/>
              <a:gd name="connsiteY2" fmla="*/ 70123 h 594641"/>
              <a:gd name="connsiteX3" fmla="*/ 228076 w 239296"/>
              <a:gd name="connsiteY3" fmla="*/ 103782 h 594641"/>
              <a:gd name="connsiteX4" fmla="*/ 216857 w 239296"/>
              <a:gd name="connsiteY4" fmla="*/ 137441 h 594641"/>
              <a:gd name="connsiteX5" fmla="*/ 208442 w 239296"/>
              <a:gd name="connsiteY5" fmla="*/ 157075 h 594641"/>
              <a:gd name="connsiteX6" fmla="*/ 216857 w 239296"/>
              <a:gd name="connsiteY6" fmla="*/ 187929 h 594641"/>
              <a:gd name="connsiteX7" fmla="*/ 216857 w 239296"/>
              <a:gd name="connsiteY7" fmla="*/ 218783 h 594641"/>
              <a:gd name="connsiteX8" fmla="*/ 197222 w 239296"/>
              <a:gd name="connsiteY8" fmla="*/ 238417 h 594641"/>
              <a:gd name="connsiteX9" fmla="*/ 169173 w 239296"/>
              <a:gd name="connsiteY9" fmla="*/ 260857 h 594641"/>
              <a:gd name="connsiteX10" fmla="*/ 160758 w 239296"/>
              <a:gd name="connsiteY10" fmla="*/ 283296 h 594641"/>
              <a:gd name="connsiteX11" fmla="*/ 135514 w 239296"/>
              <a:gd name="connsiteY11" fmla="*/ 300125 h 594641"/>
              <a:gd name="connsiteX12" fmla="*/ 129904 w 239296"/>
              <a:gd name="connsiteY12" fmla="*/ 345004 h 594641"/>
              <a:gd name="connsiteX13" fmla="*/ 107465 w 239296"/>
              <a:gd name="connsiteY13" fmla="*/ 356224 h 594641"/>
              <a:gd name="connsiteX14" fmla="*/ 62587 w 239296"/>
              <a:gd name="connsiteY14" fmla="*/ 359028 h 594641"/>
              <a:gd name="connsiteX15" fmla="*/ 17708 w 239296"/>
              <a:gd name="connsiteY15" fmla="*/ 378663 h 594641"/>
              <a:gd name="connsiteX16" fmla="*/ 879 w 239296"/>
              <a:gd name="connsiteY16" fmla="*/ 392687 h 594641"/>
              <a:gd name="connsiteX17" fmla="*/ 3684 w 239296"/>
              <a:gd name="connsiteY17" fmla="*/ 437566 h 594641"/>
              <a:gd name="connsiteX18" fmla="*/ 14903 w 239296"/>
              <a:gd name="connsiteY18" fmla="*/ 485249 h 594641"/>
              <a:gd name="connsiteX19" fmla="*/ 17708 w 239296"/>
              <a:gd name="connsiteY19" fmla="*/ 541347 h 594641"/>
              <a:gd name="connsiteX20" fmla="*/ 12098 w 239296"/>
              <a:gd name="connsiteY20" fmla="*/ 572201 h 594641"/>
              <a:gd name="connsiteX21" fmla="*/ 12098 w 239296"/>
              <a:gd name="connsiteY21" fmla="*/ 594641 h 594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39296" h="594641">
                <a:moveTo>
                  <a:pt x="239296" y="0"/>
                </a:moveTo>
                <a:cubicBezTo>
                  <a:pt x="239062" y="19401"/>
                  <a:pt x="238828" y="38802"/>
                  <a:pt x="236491" y="50489"/>
                </a:cubicBezTo>
                <a:cubicBezTo>
                  <a:pt x="234154" y="62176"/>
                  <a:pt x="226673" y="61241"/>
                  <a:pt x="225271" y="70123"/>
                </a:cubicBezTo>
                <a:cubicBezTo>
                  <a:pt x="223868" y="79005"/>
                  <a:pt x="229478" y="92562"/>
                  <a:pt x="228076" y="103782"/>
                </a:cubicBezTo>
                <a:cubicBezTo>
                  <a:pt x="226674" y="115002"/>
                  <a:pt x="220129" y="128559"/>
                  <a:pt x="216857" y="137441"/>
                </a:cubicBezTo>
                <a:cubicBezTo>
                  <a:pt x="213585" y="146323"/>
                  <a:pt x="208442" y="148660"/>
                  <a:pt x="208442" y="157075"/>
                </a:cubicBezTo>
                <a:cubicBezTo>
                  <a:pt x="208442" y="165490"/>
                  <a:pt x="215455" y="177644"/>
                  <a:pt x="216857" y="187929"/>
                </a:cubicBezTo>
                <a:cubicBezTo>
                  <a:pt x="218259" y="198214"/>
                  <a:pt x="220129" y="210368"/>
                  <a:pt x="216857" y="218783"/>
                </a:cubicBezTo>
                <a:cubicBezTo>
                  <a:pt x="213585" y="227198"/>
                  <a:pt x="205169" y="231405"/>
                  <a:pt x="197222" y="238417"/>
                </a:cubicBezTo>
                <a:cubicBezTo>
                  <a:pt x="189275" y="245429"/>
                  <a:pt x="175250" y="253377"/>
                  <a:pt x="169173" y="260857"/>
                </a:cubicBezTo>
                <a:cubicBezTo>
                  <a:pt x="163096" y="268337"/>
                  <a:pt x="166368" y="276751"/>
                  <a:pt x="160758" y="283296"/>
                </a:cubicBezTo>
                <a:cubicBezTo>
                  <a:pt x="155148" y="289841"/>
                  <a:pt x="140656" y="289840"/>
                  <a:pt x="135514" y="300125"/>
                </a:cubicBezTo>
                <a:cubicBezTo>
                  <a:pt x="130372" y="310410"/>
                  <a:pt x="134579" y="335654"/>
                  <a:pt x="129904" y="345004"/>
                </a:cubicBezTo>
                <a:cubicBezTo>
                  <a:pt x="125229" y="354354"/>
                  <a:pt x="118685" y="353887"/>
                  <a:pt x="107465" y="356224"/>
                </a:cubicBezTo>
                <a:cubicBezTo>
                  <a:pt x="96245" y="358561"/>
                  <a:pt x="77547" y="355288"/>
                  <a:pt x="62587" y="359028"/>
                </a:cubicBezTo>
                <a:cubicBezTo>
                  <a:pt x="47627" y="362768"/>
                  <a:pt x="27993" y="373053"/>
                  <a:pt x="17708" y="378663"/>
                </a:cubicBezTo>
                <a:cubicBezTo>
                  <a:pt x="7423" y="384273"/>
                  <a:pt x="3216" y="382870"/>
                  <a:pt x="879" y="392687"/>
                </a:cubicBezTo>
                <a:cubicBezTo>
                  <a:pt x="-1458" y="402504"/>
                  <a:pt x="1347" y="422139"/>
                  <a:pt x="3684" y="437566"/>
                </a:cubicBezTo>
                <a:cubicBezTo>
                  <a:pt x="6021" y="452993"/>
                  <a:pt x="12566" y="467952"/>
                  <a:pt x="14903" y="485249"/>
                </a:cubicBezTo>
                <a:cubicBezTo>
                  <a:pt x="17240" y="502546"/>
                  <a:pt x="18175" y="526855"/>
                  <a:pt x="17708" y="541347"/>
                </a:cubicBezTo>
                <a:cubicBezTo>
                  <a:pt x="17241" y="555839"/>
                  <a:pt x="13033" y="563319"/>
                  <a:pt x="12098" y="572201"/>
                </a:cubicBezTo>
                <a:cubicBezTo>
                  <a:pt x="11163" y="581083"/>
                  <a:pt x="11630" y="587862"/>
                  <a:pt x="12098" y="594641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7" name="Полилиния 206"/>
          <p:cNvSpPr/>
          <p:nvPr/>
        </p:nvSpPr>
        <p:spPr>
          <a:xfrm>
            <a:off x="7077771" y="4442042"/>
            <a:ext cx="239296" cy="594641"/>
          </a:xfrm>
          <a:custGeom>
            <a:avLst/>
            <a:gdLst>
              <a:gd name="connsiteX0" fmla="*/ 239296 w 239296"/>
              <a:gd name="connsiteY0" fmla="*/ 0 h 594641"/>
              <a:gd name="connsiteX1" fmla="*/ 236491 w 239296"/>
              <a:gd name="connsiteY1" fmla="*/ 50489 h 594641"/>
              <a:gd name="connsiteX2" fmla="*/ 225271 w 239296"/>
              <a:gd name="connsiteY2" fmla="*/ 70123 h 594641"/>
              <a:gd name="connsiteX3" fmla="*/ 228076 w 239296"/>
              <a:gd name="connsiteY3" fmla="*/ 103782 h 594641"/>
              <a:gd name="connsiteX4" fmla="*/ 216857 w 239296"/>
              <a:gd name="connsiteY4" fmla="*/ 137441 h 594641"/>
              <a:gd name="connsiteX5" fmla="*/ 208442 w 239296"/>
              <a:gd name="connsiteY5" fmla="*/ 157075 h 594641"/>
              <a:gd name="connsiteX6" fmla="*/ 216857 w 239296"/>
              <a:gd name="connsiteY6" fmla="*/ 187929 h 594641"/>
              <a:gd name="connsiteX7" fmla="*/ 216857 w 239296"/>
              <a:gd name="connsiteY7" fmla="*/ 218783 h 594641"/>
              <a:gd name="connsiteX8" fmla="*/ 197222 w 239296"/>
              <a:gd name="connsiteY8" fmla="*/ 238417 h 594641"/>
              <a:gd name="connsiteX9" fmla="*/ 169173 w 239296"/>
              <a:gd name="connsiteY9" fmla="*/ 260857 h 594641"/>
              <a:gd name="connsiteX10" fmla="*/ 160758 w 239296"/>
              <a:gd name="connsiteY10" fmla="*/ 283296 h 594641"/>
              <a:gd name="connsiteX11" fmla="*/ 135514 w 239296"/>
              <a:gd name="connsiteY11" fmla="*/ 300125 h 594641"/>
              <a:gd name="connsiteX12" fmla="*/ 129904 w 239296"/>
              <a:gd name="connsiteY12" fmla="*/ 345004 h 594641"/>
              <a:gd name="connsiteX13" fmla="*/ 107465 w 239296"/>
              <a:gd name="connsiteY13" fmla="*/ 356224 h 594641"/>
              <a:gd name="connsiteX14" fmla="*/ 62587 w 239296"/>
              <a:gd name="connsiteY14" fmla="*/ 359028 h 594641"/>
              <a:gd name="connsiteX15" fmla="*/ 17708 w 239296"/>
              <a:gd name="connsiteY15" fmla="*/ 378663 h 594641"/>
              <a:gd name="connsiteX16" fmla="*/ 879 w 239296"/>
              <a:gd name="connsiteY16" fmla="*/ 392687 h 594641"/>
              <a:gd name="connsiteX17" fmla="*/ 3684 w 239296"/>
              <a:gd name="connsiteY17" fmla="*/ 437566 h 594641"/>
              <a:gd name="connsiteX18" fmla="*/ 14903 w 239296"/>
              <a:gd name="connsiteY18" fmla="*/ 485249 h 594641"/>
              <a:gd name="connsiteX19" fmla="*/ 17708 w 239296"/>
              <a:gd name="connsiteY19" fmla="*/ 541347 h 594641"/>
              <a:gd name="connsiteX20" fmla="*/ 12098 w 239296"/>
              <a:gd name="connsiteY20" fmla="*/ 572201 h 594641"/>
              <a:gd name="connsiteX21" fmla="*/ 12098 w 239296"/>
              <a:gd name="connsiteY21" fmla="*/ 594641 h 594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39296" h="594641">
                <a:moveTo>
                  <a:pt x="239296" y="0"/>
                </a:moveTo>
                <a:cubicBezTo>
                  <a:pt x="239062" y="19401"/>
                  <a:pt x="238828" y="38802"/>
                  <a:pt x="236491" y="50489"/>
                </a:cubicBezTo>
                <a:cubicBezTo>
                  <a:pt x="234154" y="62176"/>
                  <a:pt x="226673" y="61241"/>
                  <a:pt x="225271" y="70123"/>
                </a:cubicBezTo>
                <a:cubicBezTo>
                  <a:pt x="223868" y="79005"/>
                  <a:pt x="229478" y="92562"/>
                  <a:pt x="228076" y="103782"/>
                </a:cubicBezTo>
                <a:cubicBezTo>
                  <a:pt x="226674" y="115002"/>
                  <a:pt x="220129" y="128559"/>
                  <a:pt x="216857" y="137441"/>
                </a:cubicBezTo>
                <a:cubicBezTo>
                  <a:pt x="213585" y="146323"/>
                  <a:pt x="208442" y="148660"/>
                  <a:pt x="208442" y="157075"/>
                </a:cubicBezTo>
                <a:cubicBezTo>
                  <a:pt x="208442" y="165490"/>
                  <a:pt x="215455" y="177644"/>
                  <a:pt x="216857" y="187929"/>
                </a:cubicBezTo>
                <a:cubicBezTo>
                  <a:pt x="218259" y="198214"/>
                  <a:pt x="220129" y="210368"/>
                  <a:pt x="216857" y="218783"/>
                </a:cubicBezTo>
                <a:cubicBezTo>
                  <a:pt x="213585" y="227198"/>
                  <a:pt x="205169" y="231405"/>
                  <a:pt x="197222" y="238417"/>
                </a:cubicBezTo>
                <a:cubicBezTo>
                  <a:pt x="189275" y="245429"/>
                  <a:pt x="175250" y="253377"/>
                  <a:pt x="169173" y="260857"/>
                </a:cubicBezTo>
                <a:cubicBezTo>
                  <a:pt x="163096" y="268337"/>
                  <a:pt x="166368" y="276751"/>
                  <a:pt x="160758" y="283296"/>
                </a:cubicBezTo>
                <a:cubicBezTo>
                  <a:pt x="155148" y="289841"/>
                  <a:pt x="140656" y="289840"/>
                  <a:pt x="135514" y="300125"/>
                </a:cubicBezTo>
                <a:cubicBezTo>
                  <a:pt x="130372" y="310410"/>
                  <a:pt x="134579" y="335654"/>
                  <a:pt x="129904" y="345004"/>
                </a:cubicBezTo>
                <a:cubicBezTo>
                  <a:pt x="125229" y="354354"/>
                  <a:pt x="118685" y="353887"/>
                  <a:pt x="107465" y="356224"/>
                </a:cubicBezTo>
                <a:cubicBezTo>
                  <a:pt x="96245" y="358561"/>
                  <a:pt x="77547" y="355288"/>
                  <a:pt x="62587" y="359028"/>
                </a:cubicBezTo>
                <a:cubicBezTo>
                  <a:pt x="47627" y="362768"/>
                  <a:pt x="27993" y="373053"/>
                  <a:pt x="17708" y="378663"/>
                </a:cubicBezTo>
                <a:cubicBezTo>
                  <a:pt x="7423" y="384273"/>
                  <a:pt x="3216" y="382870"/>
                  <a:pt x="879" y="392687"/>
                </a:cubicBezTo>
                <a:cubicBezTo>
                  <a:pt x="-1458" y="402504"/>
                  <a:pt x="1347" y="422139"/>
                  <a:pt x="3684" y="437566"/>
                </a:cubicBezTo>
                <a:cubicBezTo>
                  <a:pt x="6021" y="452993"/>
                  <a:pt x="12566" y="467952"/>
                  <a:pt x="14903" y="485249"/>
                </a:cubicBezTo>
                <a:cubicBezTo>
                  <a:pt x="17240" y="502546"/>
                  <a:pt x="18175" y="526855"/>
                  <a:pt x="17708" y="541347"/>
                </a:cubicBezTo>
                <a:cubicBezTo>
                  <a:pt x="17241" y="555839"/>
                  <a:pt x="13033" y="563319"/>
                  <a:pt x="12098" y="572201"/>
                </a:cubicBezTo>
                <a:cubicBezTo>
                  <a:pt x="11163" y="581083"/>
                  <a:pt x="11630" y="587862"/>
                  <a:pt x="12098" y="594641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8" name="Полилиния 207"/>
          <p:cNvSpPr/>
          <p:nvPr/>
        </p:nvSpPr>
        <p:spPr>
          <a:xfrm>
            <a:off x="7058131" y="4430818"/>
            <a:ext cx="239296" cy="594641"/>
          </a:xfrm>
          <a:custGeom>
            <a:avLst/>
            <a:gdLst>
              <a:gd name="connsiteX0" fmla="*/ 239296 w 239296"/>
              <a:gd name="connsiteY0" fmla="*/ 0 h 594641"/>
              <a:gd name="connsiteX1" fmla="*/ 236491 w 239296"/>
              <a:gd name="connsiteY1" fmla="*/ 50489 h 594641"/>
              <a:gd name="connsiteX2" fmla="*/ 225271 w 239296"/>
              <a:gd name="connsiteY2" fmla="*/ 70123 h 594641"/>
              <a:gd name="connsiteX3" fmla="*/ 228076 w 239296"/>
              <a:gd name="connsiteY3" fmla="*/ 103782 h 594641"/>
              <a:gd name="connsiteX4" fmla="*/ 216857 w 239296"/>
              <a:gd name="connsiteY4" fmla="*/ 137441 h 594641"/>
              <a:gd name="connsiteX5" fmla="*/ 208442 w 239296"/>
              <a:gd name="connsiteY5" fmla="*/ 157075 h 594641"/>
              <a:gd name="connsiteX6" fmla="*/ 216857 w 239296"/>
              <a:gd name="connsiteY6" fmla="*/ 187929 h 594641"/>
              <a:gd name="connsiteX7" fmla="*/ 216857 w 239296"/>
              <a:gd name="connsiteY7" fmla="*/ 218783 h 594641"/>
              <a:gd name="connsiteX8" fmla="*/ 197222 w 239296"/>
              <a:gd name="connsiteY8" fmla="*/ 238417 h 594641"/>
              <a:gd name="connsiteX9" fmla="*/ 169173 w 239296"/>
              <a:gd name="connsiteY9" fmla="*/ 260857 h 594641"/>
              <a:gd name="connsiteX10" fmla="*/ 160758 w 239296"/>
              <a:gd name="connsiteY10" fmla="*/ 283296 h 594641"/>
              <a:gd name="connsiteX11" fmla="*/ 135514 w 239296"/>
              <a:gd name="connsiteY11" fmla="*/ 300125 h 594641"/>
              <a:gd name="connsiteX12" fmla="*/ 129904 w 239296"/>
              <a:gd name="connsiteY12" fmla="*/ 345004 h 594641"/>
              <a:gd name="connsiteX13" fmla="*/ 107465 w 239296"/>
              <a:gd name="connsiteY13" fmla="*/ 356224 h 594641"/>
              <a:gd name="connsiteX14" fmla="*/ 62587 w 239296"/>
              <a:gd name="connsiteY14" fmla="*/ 359028 h 594641"/>
              <a:gd name="connsiteX15" fmla="*/ 17708 w 239296"/>
              <a:gd name="connsiteY15" fmla="*/ 378663 h 594641"/>
              <a:gd name="connsiteX16" fmla="*/ 879 w 239296"/>
              <a:gd name="connsiteY16" fmla="*/ 392687 h 594641"/>
              <a:gd name="connsiteX17" fmla="*/ 3684 w 239296"/>
              <a:gd name="connsiteY17" fmla="*/ 437566 h 594641"/>
              <a:gd name="connsiteX18" fmla="*/ 14903 w 239296"/>
              <a:gd name="connsiteY18" fmla="*/ 485249 h 594641"/>
              <a:gd name="connsiteX19" fmla="*/ 17708 w 239296"/>
              <a:gd name="connsiteY19" fmla="*/ 541347 h 594641"/>
              <a:gd name="connsiteX20" fmla="*/ 12098 w 239296"/>
              <a:gd name="connsiteY20" fmla="*/ 572201 h 594641"/>
              <a:gd name="connsiteX21" fmla="*/ 12098 w 239296"/>
              <a:gd name="connsiteY21" fmla="*/ 594641 h 594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39296" h="594641">
                <a:moveTo>
                  <a:pt x="239296" y="0"/>
                </a:moveTo>
                <a:cubicBezTo>
                  <a:pt x="239062" y="19401"/>
                  <a:pt x="238828" y="38802"/>
                  <a:pt x="236491" y="50489"/>
                </a:cubicBezTo>
                <a:cubicBezTo>
                  <a:pt x="234154" y="62176"/>
                  <a:pt x="226673" y="61241"/>
                  <a:pt x="225271" y="70123"/>
                </a:cubicBezTo>
                <a:cubicBezTo>
                  <a:pt x="223868" y="79005"/>
                  <a:pt x="229478" y="92562"/>
                  <a:pt x="228076" y="103782"/>
                </a:cubicBezTo>
                <a:cubicBezTo>
                  <a:pt x="226674" y="115002"/>
                  <a:pt x="220129" y="128559"/>
                  <a:pt x="216857" y="137441"/>
                </a:cubicBezTo>
                <a:cubicBezTo>
                  <a:pt x="213585" y="146323"/>
                  <a:pt x="208442" y="148660"/>
                  <a:pt x="208442" y="157075"/>
                </a:cubicBezTo>
                <a:cubicBezTo>
                  <a:pt x="208442" y="165490"/>
                  <a:pt x="215455" y="177644"/>
                  <a:pt x="216857" y="187929"/>
                </a:cubicBezTo>
                <a:cubicBezTo>
                  <a:pt x="218259" y="198214"/>
                  <a:pt x="220129" y="210368"/>
                  <a:pt x="216857" y="218783"/>
                </a:cubicBezTo>
                <a:cubicBezTo>
                  <a:pt x="213585" y="227198"/>
                  <a:pt x="205169" y="231405"/>
                  <a:pt x="197222" y="238417"/>
                </a:cubicBezTo>
                <a:cubicBezTo>
                  <a:pt x="189275" y="245429"/>
                  <a:pt x="175250" y="253377"/>
                  <a:pt x="169173" y="260857"/>
                </a:cubicBezTo>
                <a:cubicBezTo>
                  <a:pt x="163096" y="268337"/>
                  <a:pt x="166368" y="276751"/>
                  <a:pt x="160758" y="283296"/>
                </a:cubicBezTo>
                <a:cubicBezTo>
                  <a:pt x="155148" y="289841"/>
                  <a:pt x="140656" y="289840"/>
                  <a:pt x="135514" y="300125"/>
                </a:cubicBezTo>
                <a:cubicBezTo>
                  <a:pt x="130372" y="310410"/>
                  <a:pt x="134579" y="335654"/>
                  <a:pt x="129904" y="345004"/>
                </a:cubicBezTo>
                <a:cubicBezTo>
                  <a:pt x="125229" y="354354"/>
                  <a:pt x="118685" y="353887"/>
                  <a:pt x="107465" y="356224"/>
                </a:cubicBezTo>
                <a:cubicBezTo>
                  <a:pt x="96245" y="358561"/>
                  <a:pt x="77547" y="355288"/>
                  <a:pt x="62587" y="359028"/>
                </a:cubicBezTo>
                <a:cubicBezTo>
                  <a:pt x="47627" y="362768"/>
                  <a:pt x="27993" y="373053"/>
                  <a:pt x="17708" y="378663"/>
                </a:cubicBezTo>
                <a:cubicBezTo>
                  <a:pt x="7423" y="384273"/>
                  <a:pt x="3216" y="382870"/>
                  <a:pt x="879" y="392687"/>
                </a:cubicBezTo>
                <a:cubicBezTo>
                  <a:pt x="-1458" y="402504"/>
                  <a:pt x="1347" y="422139"/>
                  <a:pt x="3684" y="437566"/>
                </a:cubicBezTo>
                <a:cubicBezTo>
                  <a:pt x="6021" y="452993"/>
                  <a:pt x="12566" y="467952"/>
                  <a:pt x="14903" y="485249"/>
                </a:cubicBezTo>
                <a:cubicBezTo>
                  <a:pt x="17240" y="502546"/>
                  <a:pt x="18175" y="526855"/>
                  <a:pt x="17708" y="541347"/>
                </a:cubicBezTo>
                <a:cubicBezTo>
                  <a:pt x="17241" y="555839"/>
                  <a:pt x="13033" y="563319"/>
                  <a:pt x="12098" y="572201"/>
                </a:cubicBezTo>
                <a:cubicBezTo>
                  <a:pt x="11163" y="581083"/>
                  <a:pt x="11630" y="587862"/>
                  <a:pt x="12098" y="594641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4" name="Блок-схема: узел 203"/>
          <p:cNvSpPr/>
          <p:nvPr/>
        </p:nvSpPr>
        <p:spPr>
          <a:xfrm>
            <a:off x="7284398" y="4408588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9" name="Полилиния 208"/>
          <p:cNvSpPr/>
          <p:nvPr/>
        </p:nvSpPr>
        <p:spPr>
          <a:xfrm>
            <a:off x="6978611" y="5051639"/>
            <a:ext cx="92562" cy="28588"/>
          </a:xfrm>
          <a:custGeom>
            <a:avLst/>
            <a:gdLst>
              <a:gd name="connsiteX0" fmla="*/ 92562 w 92562"/>
              <a:gd name="connsiteY0" fmla="*/ 0 h 28588"/>
              <a:gd name="connsiteX1" fmla="*/ 42074 w 92562"/>
              <a:gd name="connsiteY1" fmla="*/ 22440 h 28588"/>
              <a:gd name="connsiteX2" fmla="*/ 16829 w 92562"/>
              <a:gd name="connsiteY2" fmla="*/ 28049 h 28588"/>
              <a:gd name="connsiteX3" fmla="*/ 0 w 92562"/>
              <a:gd name="connsiteY3" fmla="*/ 28049 h 2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62" h="28588">
                <a:moveTo>
                  <a:pt x="92562" y="0"/>
                </a:moveTo>
                <a:cubicBezTo>
                  <a:pt x="73629" y="8882"/>
                  <a:pt x="54696" y="17765"/>
                  <a:pt x="42074" y="22440"/>
                </a:cubicBezTo>
                <a:cubicBezTo>
                  <a:pt x="29452" y="27115"/>
                  <a:pt x="23841" y="27114"/>
                  <a:pt x="16829" y="28049"/>
                </a:cubicBezTo>
                <a:cubicBezTo>
                  <a:pt x="9817" y="28984"/>
                  <a:pt x="4908" y="28516"/>
                  <a:pt x="0" y="28049"/>
                </a:cubicBezTo>
              </a:path>
            </a:pathLst>
          </a:cu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0" name="Полилиния 209"/>
          <p:cNvSpPr/>
          <p:nvPr/>
        </p:nvSpPr>
        <p:spPr>
          <a:xfrm>
            <a:off x="6979543" y="5046959"/>
            <a:ext cx="92562" cy="28588"/>
          </a:xfrm>
          <a:custGeom>
            <a:avLst/>
            <a:gdLst>
              <a:gd name="connsiteX0" fmla="*/ 92562 w 92562"/>
              <a:gd name="connsiteY0" fmla="*/ 0 h 28588"/>
              <a:gd name="connsiteX1" fmla="*/ 42074 w 92562"/>
              <a:gd name="connsiteY1" fmla="*/ 22440 h 28588"/>
              <a:gd name="connsiteX2" fmla="*/ 16829 w 92562"/>
              <a:gd name="connsiteY2" fmla="*/ 28049 h 28588"/>
              <a:gd name="connsiteX3" fmla="*/ 0 w 92562"/>
              <a:gd name="connsiteY3" fmla="*/ 28049 h 2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62" h="28588">
                <a:moveTo>
                  <a:pt x="92562" y="0"/>
                </a:moveTo>
                <a:cubicBezTo>
                  <a:pt x="73629" y="8882"/>
                  <a:pt x="54696" y="17765"/>
                  <a:pt x="42074" y="22440"/>
                </a:cubicBezTo>
                <a:cubicBezTo>
                  <a:pt x="29452" y="27115"/>
                  <a:pt x="23841" y="27114"/>
                  <a:pt x="16829" y="28049"/>
                </a:cubicBezTo>
                <a:cubicBezTo>
                  <a:pt x="9817" y="28984"/>
                  <a:pt x="4908" y="28516"/>
                  <a:pt x="0" y="28049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1" name="Полилиния 210"/>
          <p:cNvSpPr/>
          <p:nvPr/>
        </p:nvSpPr>
        <p:spPr>
          <a:xfrm>
            <a:off x="6620882" y="5057010"/>
            <a:ext cx="366144" cy="19873"/>
          </a:xfrm>
          <a:custGeom>
            <a:avLst/>
            <a:gdLst>
              <a:gd name="connsiteX0" fmla="*/ 366144 w 366144"/>
              <a:gd name="connsiteY0" fmla="*/ 19873 h 19873"/>
              <a:gd name="connsiteX1" fmla="*/ 301631 w 366144"/>
              <a:gd name="connsiteY1" fmla="*/ 14264 h 19873"/>
              <a:gd name="connsiteX2" fmla="*/ 262362 w 366144"/>
              <a:gd name="connsiteY2" fmla="*/ 239 h 19873"/>
              <a:gd name="connsiteX3" fmla="*/ 234313 w 366144"/>
              <a:gd name="connsiteY3" fmla="*/ 5849 h 19873"/>
              <a:gd name="connsiteX4" fmla="*/ 189435 w 366144"/>
              <a:gd name="connsiteY4" fmla="*/ 11459 h 19873"/>
              <a:gd name="connsiteX5" fmla="*/ 141751 w 366144"/>
              <a:gd name="connsiteY5" fmla="*/ 11459 h 19873"/>
              <a:gd name="connsiteX6" fmla="*/ 85653 w 366144"/>
              <a:gd name="connsiteY6" fmla="*/ 5849 h 19873"/>
              <a:gd name="connsiteX7" fmla="*/ 37970 w 366144"/>
              <a:gd name="connsiteY7" fmla="*/ 5849 h 19873"/>
              <a:gd name="connsiteX8" fmla="*/ 4311 w 366144"/>
              <a:gd name="connsiteY8" fmla="*/ 11459 h 19873"/>
              <a:gd name="connsiteX9" fmla="*/ 1506 w 366144"/>
              <a:gd name="connsiteY9" fmla="*/ 17069 h 1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6144" h="19873">
                <a:moveTo>
                  <a:pt x="366144" y="19873"/>
                </a:moveTo>
                <a:cubicBezTo>
                  <a:pt x="342536" y="18704"/>
                  <a:pt x="318928" y="17536"/>
                  <a:pt x="301631" y="14264"/>
                </a:cubicBezTo>
                <a:cubicBezTo>
                  <a:pt x="284334" y="10992"/>
                  <a:pt x="273582" y="1641"/>
                  <a:pt x="262362" y="239"/>
                </a:cubicBezTo>
                <a:cubicBezTo>
                  <a:pt x="251142" y="-1164"/>
                  <a:pt x="246467" y="3979"/>
                  <a:pt x="234313" y="5849"/>
                </a:cubicBezTo>
                <a:cubicBezTo>
                  <a:pt x="222159" y="7719"/>
                  <a:pt x="204862" y="10524"/>
                  <a:pt x="189435" y="11459"/>
                </a:cubicBezTo>
                <a:cubicBezTo>
                  <a:pt x="174008" y="12394"/>
                  <a:pt x="159048" y="12394"/>
                  <a:pt x="141751" y="11459"/>
                </a:cubicBezTo>
                <a:cubicBezTo>
                  <a:pt x="124454" y="10524"/>
                  <a:pt x="102950" y="6784"/>
                  <a:pt x="85653" y="5849"/>
                </a:cubicBezTo>
                <a:cubicBezTo>
                  <a:pt x="68356" y="4914"/>
                  <a:pt x="51527" y="4914"/>
                  <a:pt x="37970" y="5849"/>
                </a:cubicBezTo>
                <a:cubicBezTo>
                  <a:pt x="24413" y="6784"/>
                  <a:pt x="4311" y="11459"/>
                  <a:pt x="4311" y="11459"/>
                </a:cubicBezTo>
                <a:cubicBezTo>
                  <a:pt x="-1766" y="13329"/>
                  <a:pt x="-130" y="15199"/>
                  <a:pt x="1506" y="17069"/>
                </a:cubicBezTo>
              </a:path>
            </a:pathLst>
          </a:custGeom>
          <a:noFill/>
          <a:ln w="7620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3" name="Полилиния 212"/>
          <p:cNvSpPr/>
          <p:nvPr/>
        </p:nvSpPr>
        <p:spPr>
          <a:xfrm>
            <a:off x="6426044" y="5062859"/>
            <a:ext cx="204758" cy="78537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5" name="Полилиния 214"/>
          <p:cNvSpPr/>
          <p:nvPr/>
        </p:nvSpPr>
        <p:spPr>
          <a:xfrm>
            <a:off x="6422306" y="5039490"/>
            <a:ext cx="204758" cy="78537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6" name="Полилиния 215"/>
          <p:cNvSpPr/>
          <p:nvPr/>
        </p:nvSpPr>
        <p:spPr>
          <a:xfrm>
            <a:off x="6431652" y="5085293"/>
            <a:ext cx="204758" cy="78537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4" name="Полилиния 213"/>
          <p:cNvSpPr/>
          <p:nvPr/>
        </p:nvSpPr>
        <p:spPr>
          <a:xfrm>
            <a:off x="6421370" y="5066598"/>
            <a:ext cx="204758" cy="78537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2" name="Полилиния 211"/>
          <p:cNvSpPr/>
          <p:nvPr/>
        </p:nvSpPr>
        <p:spPr>
          <a:xfrm>
            <a:off x="6624622" y="5055141"/>
            <a:ext cx="366144" cy="19873"/>
          </a:xfrm>
          <a:custGeom>
            <a:avLst/>
            <a:gdLst>
              <a:gd name="connsiteX0" fmla="*/ 366144 w 366144"/>
              <a:gd name="connsiteY0" fmla="*/ 19873 h 19873"/>
              <a:gd name="connsiteX1" fmla="*/ 301631 w 366144"/>
              <a:gd name="connsiteY1" fmla="*/ 14264 h 19873"/>
              <a:gd name="connsiteX2" fmla="*/ 262362 w 366144"/>
              <a:gd name="connsiteY2" fmla="*/ 239 h 19873"/>
              <a:gd name="connsiteX3" fmla="*/ 234313 w 366144"/>
              <a:gd name="connsiteY3" fmla="*/ 5849 h 19873"/>
              <a:gd name="connsiteX4" fmla="*/ 189435 w 366144"/>
              <a:gd name="connsiteY4" fmla="*/ 11459 h 19873"/>
              <a:gd name="connsiteX5" fmla="*/ 141751 w 366144"/>
              <a:gd name="connsiteY5" fmla="*/ 11459 h 19873"/>
              <a:gd name="connsiteX6" fmla="*/ 85653 w 366144"/>
              <a:gd name="connsiteY6" fmla="*/ 5849 h 19873"/>
              <a:gd name="connsiteX7" fmla="*/ 37970 w 366144"/>
              <a:gd name="connsiteY7" fmla="*/ 5849 h 19873"/>
              <a:gd name="connsiteX8" fmla="*/ 4311 w 366144"/>
              <a:gd name="connsiteY8" fmla="*/ 11459 h 19873"/>
              <a:gd name="connsiteX9" fmla="*/ 1506 w 366144"/>
              <a:gd name="connsiteY9" fmla="*/ 17069 h 1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6144" h="19873">
                <a:moveTo>
                  <a:pt x="366144" y="19873"/>
                </a:moveTo>
                <a:cubicBezTo>
                  <a:pt x="342536" y="18704"/>
                  <a:pt x="318928" y="17536"/>
                  <a:pt x="301631" y="14264"/>
                </a:cubicBezTo>
                <a:cubicBezTo>
                  <a:pt x="284334" y="10992"/>
                  <a:pt x="273582" y="1641"/>
                  <a:pt x="262362" y="239"/>
                </a:cubicBezTo>
                <a:cubicBezTo>
                  <a:pt x="251142" y="-1164"/>
                  <a:pt x="246467" y="3979"/>
                  <a:pt x="234313" y="5849"/>
                </a:cubicBezTo>
                <a:cubicBezTo>
                  <a:pt x="222159" y="7719"/>
                  <a:pt x="204862" y="10524"/>
                  <a:pt x="189435" y="11459"/>
                </a:cubicBezTo>
                <a:cubicBezTo>
                  <a:pt x="174008" y="12394"/>
                  <a:pt x="159048" y="12394"/>
                  <a:pt x="141751" y="11459"/>
                </a:cubicBezTo>
                <a:cubicBezTo>
                  <a:pt x="124454" y="10524"/>
                  <a:pt x="102950" y="6784"/>
                  <a:pt x="85653" y="5849"/>
                </a:cubicBezTo>
                <a:cubicBezTo>
                  <a:pt x="68356" y="4914"/>
                  <a:pt x="51527" y="4914"/>
                  <a:pt x="37970" y="5849"/>
                </a:cubicBezTo>
                <a:cubicBezTo>
                  <a:pt x="24413" y="6784"/>
                  <a:pt x="4311" y="11459"/>
                  <a:pt x="4311" y="11459"/>
                </a:cubicBezTo>
                <a:cubicBezTo>
                  <a:pt x="-1766" y="13329"/>
                  <a:pt x="-130" y="15199"/>
                  <a:pt x="1506" y="17069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7" name="Полилиния 216"/>
          <p:cNvSpPr/>
          <p:nvPr/>
        </p:nvSpPr>
        <p:spPr>
          <a:xfrm>
            <a:off x="6628361" y="5033631"/>
            <a:ext cx="366144" cy="19873"/>
          </a:xfrm>
          <a:custGeom>
            <a:avLst/>
            <a:gdLst>
              <a:gd name="connsiteX0" fmla="*/ 366144 w 366144"/>
              <a:gd name="connsiteY0" fmla="*/ 19873 h 19873"/>
              <a:gd name="connsiteX1" fmla="*/ 301631 w 366144"/>
              <a:gd name="connsiteY1" fmla="*/ 14264 h 19873"/>
              <a:gd name="connsiteX2" fmla="*/ 262362 w 366144"/>
              <a:gd name="connsiteY2" fmla="*/ 239 h 19873"/>
              <a:gd name="connsiteX3" fmla="*/ 234313 w 366144"/>
              <a:gd name="connsiteY3" fmla="*/ 5849 h 19873"/>
              <a:gd name="connsiteX4" fmla="*/ 189435 w 366144"/>
              <a:gd name="connsiteY4" fmla="*/ 11459 h 19873"/>
              <a:gd name="connsiteX5" fmla="*/ 141751 w 366144"/>
              <a:gd name="connsiteY5" fmla="*/ 11459 h 19873"/>
              <a:gd name="connsiteX6" fmla="*/ 85653 w 366144"/>
              <a:gd name="connsiteY6" fmla="*/ 5849 h 19873"/>
              <a:gd name="connsiteX7" fmla="*/ 37970 w 366144"/>
              <a:gd name="connsiteY7" fmla="*/ 5849 h 19873"/>
              <a:gd name="connsiteX8" fmla="*/ 4311 w 366144"/>
              <a:gd name="connsiteY8" fmla="*/ 11459 h 19873"/>
              <a:gd name="connsiteX9" fmla="*/ 1506 w 366144"/>
              <a:gd name="connsiteY9" fmla="*/ 17069 h 1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6144" h="19873">
                <a:moveTo>
                  <a:pt x="366144" y="19873"/>
                </a:moveTo>
                <a:cubicBezTo>
                  <a:pt x="342536" y="18704"/>
                  <a:pt x="318928" y="17536"/>
                  <a:pt x="301631" y="14264"/>
                </a:cubicBezTo>
                <a:cubicBezTo>
                  <a:pt x="284334" y="10992"/>
                  <a:pt x="273582" y="1641"/>
                  <a:pt x="262362" y="239"/>
                </a:cubicBezTo>
                <a:cubicBezTo>
                  <a:pt x="251142" y="-1164"/>
                  <a:pt x="246467" y="3979"/>
                  <a:pt x="234313" y="5849"/>
                </a:cubicBezTo>
                <a:cubicBezTo>
                  <a:pt x="222159" y="7719"/>
                  <a:pt x="204862" y="10524"/>
                  <a:pt x="189435" y="11459"/>
                </a:cubicBezTo>
                <a:cubicBezTo>
                  <a:pt x="174008" y="12394"/>
                  <a:pt x="159048" y="12394"/>
                  <a:pt x="141751" y="11459"/>
                </a:cubicBezTo>
                <a:cubicBezTo>
                  <a:pt x="124454" y="10524"/>
                  <a:pt x="102950" y="6784"/>
                  <a:pt x="85653" y="5849"/>
                </a:cubicBezTo>
                <a:cubicBezTo>
                  <a:pt x="68356" y="4914"/>
                  <a:pt x="51527" y="4914"/>
                  <a:pt x="37970" y="5849"/>
                </a:cubicBezTo>
                <a:cubicBezTo>
                  <a:pt x="24413" y="6784"/>
                  <a:pt x="4311" y="11459"/>
                  <a:pt x="4311" y="11459"/>
                </a:cubicBezTo>
                <a:cubicBezTo>
                  <a:pt x="-1766" y="13329"/>
                  <a:pt x="-130" y="15199"/>
                  <a:pt x="1506" y="1706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8" name="Полилиния 217"/>
          <p:cNvSpPr/>
          <p:nvPr/>
        </p:nvSpPr>
        <p:spPr>
          <a:xfrm>
            <a:off x="6626488" y="5079445"/>
            <a:ext cx="366144" cy="19873"/>
          </a:xfrm>
          <a:custGeom>
            <a:avLst/>
            <a:gdLst>
              <a:gd name="connsiteX0" fmla="*/ 366144 w 366144"/>
              <a:gd name="connsiteY0" fmla="*/ 19873 h 19873"/>
              <a:gd name="connsiteX1" fmla="*/ 301631 w 366144"/>
              <a:gd name="connsiteY1" fmla="*/ 14264 h 19873"/>
              <a:gd name="connsiteX2" fmla="*/ 262362 w 366144"/>
              <a:gd name="connsiteY2" fmla="*/ 239 h 19873"/>
              <a:gd name="connsiteX3" fmla="*/ 234313 w 366144"/>
              <a:gd name="connsiteY3" fmla="*/ 5849 h 19873"/>
              <a:gd name="connsiteX4" fmla="*/ 189435 w 366144"/>
              <a:gd name="connsiteY4" fmla="*/ 11459 h 19873"/>
              <a:gd name="connsiteX5" fmla="*/ 141751 w 366144"/>
              <a:gd name="connsiteY5" fmla="*/ 11459 h 19873"/>
              <a:gd name="connsiteX6" fmla="*/ 85653 w 366144"/>
              <a:gd name="connsiteY6" fmla="*/ 5849 h 19873"/>
              <a:gd name="connsiteX7" fmla="*/ 37970 w 366144"/>
              <a:gd name="connsiteY7" fmla="*/ 5849 h 19873"/>
              <a:gd name="connsiteX8" fmla="*/ 4311 w 366144"/>
              <a:gd name="connsiteY8" fmla="*/ 11459 h 19873"/>
              <a:gd name="connsiteX9" fmla="*/ 1506 w 366144"/>
              <a:gd name="connsiteY9" fmla="*/ 17069 h 1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6144" h="19873">
                <a:moveTo>
                  <a:pt x="366144" y="19873"/>
                </a:moveTo>
                <a:cubicBezTo>
                  <a:pt x="342536" y="18704"/>
                  <a:pt x="318928" y="17536"/>
                  <a:pt x="301631" y="14264"/>
                </a:cubicBezTo>
                <a:cubicBezTo>
                  <a:pt x="284334" y="10992"/>
                  <a:pt x="273582" y="1641"/>
                  <a:pt x="262362" y="239"/>
                </a:cubicBezTo>
                <a:cubicBezTo>
                  <a:pt x="251142" y="-1164"/>
                  <a:pt x="246467" y="3979"/>
                  <a:pt x="234313" y="5849"/>
                </a:cubicBezTo>
                <a:cubicBezTo>
                  <a:pt x="222159" y="7719"/>
                  <a:pt x="204862" y="10524"/>
                  <a:pt x="189435" y="11459"/>
                </a:cubicBezTo>
                <a:cubicBezTo>
                  <a:pt x="174008" y="12394"/>
                  <a:pt x="159048" y="12394"/>
                  <a:pt x="141751" y="11459"/>
                </a:cubicBezTo>
                <a:cubicBezTo>
                  <a:pt x="124454" y="10524"/>
                  <a:pt x="102950" y="6784"/>
                  <a:pt x="85653" y="5849"/>
                </a:cubicBezTo>
                <a:cubicBezTo>
                  <a:pt x="68356" y="4914"/>
                  <a:pt x="51527" y="4914"/>
                  <a:pt x="37970" y="5849"/>
                </a:cubicBezTo>
                <a:cubicBezTo>
                  <a:pt x="24413" y="6784"/>
                  <a:pt x="4311" y="11459"/>
                  <a:pt x="4311" y="11459"/>
                </a:cubicBezTo>
                <a:cubicBezTo>
                  <a:pt x="-1766" y="13329"/>
                  <a:pt x="-130" y="15199"/>
                  <a:pt x="1506" y="1706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9" name="Полилиния 218"/>
          <p:cNvSpPr/>
          <p:nvPr/>
        </p:nvSpPr>
        <p:spPr>
          <a:xfrm>
            <a:off x="6977673" y="5025456"/>
            <a:ext cx="92562" cy="28588"/>
          </a:xfrm>
          <a:custGeom>
            <a:avLst/>
            <a:gdLst>
              <a:gd name="connsiteX0" fmla="*/ 92562 w 92562"/>
              <a:gd name="connsiteY0" fmla="*/ 0 h 28588"/>
              <a:gd name="connsiteX1" fmla="*/ 42074 w 92562"/>
              <a:gd name="connsiteY1" fmla="*/ 22440 h 28588"/>
              <a:gd name="connsiteX2" fmla="*/ 16829 w 92562"/>
              <a:gd name="connsiteY2" fmla="*/ 28049 h 28588"/>
              <a:gd name="connsiteX3" fmla="*/ 0 w 92562"/>
              <a:gd name="connsiteY3" fmla="*/ 28049 h 2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62" h="28588">
                <a:moveTo>
                  <a:pt x="92562" y="0"/>
                </a:moveTo>
                <a:cubicBezTo>
                  <a:pt x="73629" y="8882"/>
                  <a:pt x="54696" y="17765"/>
                  <a:pt x="42074" y="22440"/>
                </a:cubicBezTo>
                <a:cubicBezTo>
                  <a:pt x="29452" y="27115"/>
                  <a:pt x="23841" y="27114"/>
                  <a:pt x="16829" y="28049"/>
                </a:cubicBezTo>
                <a:cubicBezTo>
                  <a:pt x="9817" y="28984"/>
                  <a:pt x="4908" y="28516"/>
                  <a:pt x="0" y="2804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0" name="Полилиния 219"/>
          <p:cNvSpPr/>
          <p:nvPr/>
        </p:nvSpPr>
        <p:spPr>
          <a:xfrm>
            <a:off x="6981408" y="5071269"/>
            <a:ext cx="92562" cy="28588"/>
          </a:xfrm>
          <a:custGeom>
            <a:avLst/>
            <a:gdLst>
              <a:gd name="connsiteX0" fmla="*/ 92562 w 92562"/>
              <a:gd name="connsiteY0" fmla="*/ 0 h 28588"/>
              <a:gd name="connsiteX1" fmla="*/ 42074 w 92562"/>
              <a:gd name="connsiteY1" fmla="*/ 22440 h 28588"/>
              <a:gd name="connsiteX2" fmla="*/ 16829 w 92562"/>
              <a:gd name="connsiteY2" fmla="*/ 28049 h 28588"/>
              <a:gd name="connsiteX3" fmla="*/ 0 w 92562"/>
              <a:gd name="connsiteY3" fmla="*/ 28049 h 2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562" h="28588">
                <a:moveTo>
                  <a:pt x="92562" y="0"/>
                </a:moveTo>
                <a:cubicBezTo>
                  <a:pt x="73629" y="8882"/>
                  <a:pt x="54696" y="17765"/>
                  <a:pt x="42074" y="22440"/>
                </a:cubicBezTo>
                <a:cubicBezTo>
                  <a:pt x="29452" y="27115"/>
                  <a:pt x="23841" y="27114"/>
                  <a:pt x="16829" y="28049"/>
                </a:cubicBezTo>
                <a:cubicBezTo>
                  <a:pt x="9817" y="28984"/>
                  <a:pt x="4908" y="28516"/>
                  <a:pt x="0" y="2804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Блок-схема: узел 46"/>
          <p:cNvSpPr/>
          <p:nvPr/>
        </p:nvSpPr>
        <p:spPr>
          <a:xfrm>
            <a:off x="7050134" y="5003211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2" name="Полилиния 221"/>
          <p:cNvSpPr/>
          <p:nvPr/>
        </p:nvSpPr>
        <p:spPr>
          <a:xfrm>
            <a:off x="6128562" y="3904432"/>
            <a:ext cx="796756" cy="956474"/>
          </a:xfrm>
          <a:custGeom>
            <a:avLst/>
            <a:gdLst>
              <a:gd name="connsiteX0" fmla="*/ 333946 w 796756"/>
              <a:gd name="connsiteY0" fmla="*/ 0 h 956474"/>
              <a:gd name="connsiteX1" fmla="*/ 277848 w 796756"/>
              <a:gd name="connsiteY1" fmla="*/ 36464 h 956474"/>
              <a:gd name="connsiteX2" fmla="*/ 258213 w 796756"/>
              <a:gd name="connsiteY2" fmla="*/ 56098 h 956474"/>
              <a:gd name="connsiteX3" fmla="*/ 232969 w 796756"/>
              <a:gd name="connsiteY3" fmla="*/ 84147 h 956474"/>
              <a:gd name="connsiteX4" fmla="*/ 196505 w 796756"/>
              <a:gd name="connsiteY4" fmla="*/ 109391 h 956474"/>
              <a:gd name="connsiteX5" fmla="*/ 162847 w 796756"/>
              <a:gd name="connsiteY5" fmla="*/ 137440 h 956474"/>
              <a:gd name="connsiteX6" fmla="*/ 120773 w 796756"/>
              <a:gd name="connsiteY6" fmla="*/ 165489 h 956474"/>
              <a:gd name="connsiteX7" fmla="*/ 98334 w 796756"/>
              <a:gd name="connsiteY7" fmla="*/ 199148 h 956474"/>
              <a:gd name="connsiteX8" fmla="*/ 73090 w 796756"/>
              <a:gd name="connsiteY8" fmla="*/ 244027 h 956474"/>
              <a:gd name="connsiteX9" fmla="*/ 61870 w 796756"/>
              <a:gd name="connsiteY9" fmla="*/ 297320 h 956474"/>
              <a:gd name="connsiteX10" fmla="*/ 56260 w 796756"/>
              <a:gd name="connsiteY10" fmla="*/ 330979 h 956474"/>
              <a:gd name="connsiteX11" fmla="*/ 39431 w 796756"/>
              <a:gd name="connsiteY11" fmla="*/ 359028 h 956474"/>
              <a:gd name="connsiteX12" fmla="*/ 19796 w 796756"/>
              <a:gd name="connsiteY12" fmla="*/ 378662 h 956474"/>
              <a:gd name="connsiteX13" fmla="*/ 5772 w 796756"/>
              <a:gd name="connsiteY13" fmla="*/ 395492 h 956474"/>
              <a:gd name="connsiteX14" fmla="*/ 162 w 796756"/>
              <a:gd name="connsiteY14" fmla="*/ 423541 h 956474"/>
              <a:gd name="connsiteX15" fmla="*/ 11382 w 796756"/>
              <a:gd name="connsiteY15" fmla="*/ 457200 h 956474"/>
              <a:gd name="connsiteX16" fmla="*/ 42236 w 796756"/>
              <a:gd name="connsiteY16" fmla="*/ 504883 h 956474"/>
              <a:gd name="connsiteX17" fmla="*/ 95529 w 796756"/>
              <a:gd name="connsiteY17" fmla="*/ 552567 h 956474"/>
              <a:gd name="connsiteX18" fmla="*/ 154432 w 796756"/>
              <a:gd name="connsiteY18" fmla="*/ 614275 h 956474"/>
              <a:gd name="connsiteX19" fmla="*/ 185286 w 796756"/>
              <a:gd name="connsiteY19" fmla="*/ 667568 h 956474"/>
              <a:gd name="connsiteX20" fmla="*/ 232969 w 796756"/>
              <a:gd name="connsiteY20" fmla="*/ 701227 h 956474"/>
              <a:gd name="connsiteX21" fmla="*/ 249799 w 796756"/>
              <a:gd name="connsiteY21" fmla="*/ 715251 h 956474"/>
              <a:gd name="connsiteX22" fmla="*/ 277848 w 796756"/>
              <a:gd name="connsiteY22" fmla="*/ 718056 h 956474"/>
              <a:gd name="connsiteX23" fmla="*/ 297482 w 796756"/>
              <a:gd name="connsiteY23" fmla="*/ 746105 h 956474"/>
              <a:gd name="connsiteX24" fmla="*/ 328336 w 796756"/>
              <a:gd name="connsiteY24" fmla="*/ 760130 h 956474"/>
              <a:gd name="connsiteX25" fmla="*/ 361995 w 796756"/>
              <a:gd name="connsiteY25" fmla="*/ 760130 h 956474"/>
              <a:gd name="connsiteX26" fmla="*/ 392849 w 796756"/>
              <a:gd name="connsiteY26" fmla="*/ 790984 h 956474"/>
              <a:gd name="connsiteX27" fmla="*/ 496631 w 796756"/>
              <a:gd name="connsiteY27" fmla="*/ 827448 h 956474"/>
              <a:gd name="connsiteX28" fmla="*/ 558339 w 796756"/>
              <a:gd name="connsiteY28" fmla="*/ 833058 h 956474"/>
              <a:gd name="connsiteX29" fmla="*/ 597607 w 796756"/>
              <a:gd name="connsiteY29" fmla="*/ 833058 h 956474"/>
              <a:gd name="connsiteX30" fmla="*/ 617242 w 796756"/>
              <a:gd name="connsiteY30" fmla="*/ 849887 h 956474"/>
              <a:gd name="connsiteX31" fmla="*/ 648096 w 796756"/>
              <a:gd name="connsiteY31" fmla="*/ 872326 h 956474"/>
              <a:gd name="connsiteX32" fmla="*/ 673340 w 796756"/>
              <a:gd name="connsiteY32" fmla="*/ 891961 h 956474"/>
              <a:gd name="connsiteX33" fmla="*/ 701389 w 796756"/>
              <a:gd name="connsiteY33" fmla="*/ 897570 h 956474"/>
              <a:gd name="connsiteX34" fmla="*/ 723828 w 796756"/>
              <a:gd name="connsiteY34" fmla="*/ 894766 h 956474"/>
              <a:gd name="connsiteX35" fmla="*/ 751877 w 796756"/>
              <a:gd name="connsiteY35" fmla="*/ 920010 h 956474"/>
              <a:gd name="connsiteX36" fmla="*/ 771512 w 796756"/>
              <a:gd name="connsiteY36" fmla="*/ 939644 h 956474"/>
              <a:gd name="connsiteX37" fmla="*/ 796756 w 796756"/>
              <a:gd name="connsiteY37" fmla="*/ 956474 h 956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796756" h="956474">
                <a:moveTo>
                  <a:pt x="333946" y="0"/>
                </a:moveTo>
                <a:cubicBezTo>
                  <a:pt x="312208" y="13557"/>
                  <a:pt x="290470" y="27114"/>
                  <a:pt x="277848" y="36464"/>
                </a:cubicBezTo>
                <a:cubicBezTo>
                  <a:pt x="265226" y="45814"/>
                  <a:pt x="265693" y="48151"/>
                  <a:pt x="258213" y="56098"/>
                </a:cubicBezTo>
                <a:cubicBezTo>
                  <a:pt x="250733" y="64045"/>
                  <a:pt x="243254" y="75265"/>
                  <a:pt x="232969" y="84147"/>
                </a:cubicBezTo>
                <a:cubicBezTo>
                  <a:pt x="222684" y="93029"/>
                  <a:pt x="208192" y="100509"/>
                  <a:pt x="196505" y="109391"/>
                </a:cubicBezTo>
                <a:cubicBezTo>
                  <a:pt x="184818" y="118273"/>
                  <a:pt x="175469" y="128090"/>
                  <a:pt x="162847" y="137440"/>
                </a:cubicBezTo>
                <a:cubicBezTo>
                  <a:pt x="150225" y="146790"/>
                  <a:pt x="131525" y="155204"/>
                  <a:pt x="120773" y="165489"/>
                </a:cubicBezTo>
                <a:cubicBezTo>
                  <a:pt x="110021" y="175774"/>
                  <a:pt x="106281" y="186058"/>
                  <a:pt x="98334" y="199148"/>
                </a:cubicBezTo>
                <a:cubicBezTo>
                  <a:pt x="90387" y="212238"/>
                  <a:pt x="79167" y="227665"/>
                  <a:pt x="73090" y="244027"/>
                </a:cubicBezTo>
                <a:cubicBezTo>
                  <a:pt x="67013" y="260389"/>
                  <a:pt x="64675" y="282828"/>
                  <a:pt x="61870" y="297320"/>
                </a:cubicBezTo>
                <a:cubicBezTo>
                  <a:pt x="59065" y="311812"/>
                  <a:pt x="60000" y="320694"/>
                  <a:pt x="56260" y="330979"/>
                </a:cubicBezTo>
                <a:cubicBezTo>
                  <a:pt x="52520" y="341264"/>
                  <a:pt x="45508" y="351081"/>
                  <a:pt x="39431" y="359028"/>
                </a:cubicBezTo>
                <a:cubicBezTo>
                  <a:pt x="33354" y="366975"/>
                  <a:pt x="25406" y="372585"/>
                  <a:pt x="19796" y="378662"/>
                </a:cubicBezTo>
                <a:cubicBezTo>
                  <a:pt x="14186" y="384739"/>
                  <a:pt x="9044" y="388012"/>
                  <a:pt x="5772" y="395492"/>
                </a:cubicBezTo>
                <a:cubicBezTo>
                  <a:pt x="2500" y="402972"/>
                  <a:pt x="-773" y="413256"/>
                  <a:pt x="162" y="423541"/>
                </a:cubicBezTo>
                <a:cubicBezTo>
                  <a:pt x="1097" y="433826"/>
                  <a:pt x="4370" y="443643"/>
                  <a:pt x="11382" y="457200"/>
                </a:cubicBezTo>
                <a:cubicBezTo>
                  <a:pt x="18394" y="470757"/>
                  <a:pt x="28211" y="488989"/>
                  <a:pt x="42236" y="504883"/>
                </a:cubicBezTo>
                <a:cubicBezTo>
                  <a:pt x="56260" y="520778"/>
                  <a:pt x="76830" y="534335"/>
                  <a:pt x="95529" y="552567"/>
                </a:cubicBezTo>
                <a:cubicBezTo>
                  <a:pt x="114228" y="570799"/>
                  <a:pt x="139473" y="595108"/>
                  <a:pt x="154432" y="614275"/>
                </a:cubicBezTo>
                <a:cubicBezTo>
                  <a:pt x="169391" y="633442"/>
                  <a:pt x="172196" y="653076"/>
                  <a:pt x="185286" y="667568"/>
                </a:cubicBezTo>
                <a:cubicBezTo>
                  <a:pt x="198375" y="682060"/>
                  <a:pt x="222217" y="693280"/>
                  <a:pt x="232969" y="701227"/>
                </a:cubicBezTo>
                <a:cubicBezTo>
                  <a:pt x="243721" y="709174"/>
                  <a:pt x="242319" y="712446"/>
                  <a:pt x="249799" y="715251"/>
                </a:cubicBezTo>
                <a:cubicBezTo>
                  <a:pt x="257279" y="718056"/>
                  <a:pt x="269901" y="712914"/>
                  <a:pt x="277848" y="718056"/>
                </a:cubicBezTo>
                <a:cubicBezTo>
                  <a:pt x="285795" y="723198"/>
                  <a:pt x="289068" y="739093"/>
                  <a:pt x="297482" y="746105"/>
                </a:cubicBezTo>
                <a:cubicBezTo>
                  <a:pt x="305896" y="753117"/>
                  <a:pt x="317584" y="757793"/>
                  <a:pt x="328336" y="760130"/>
                </a:cubicBezTo>
                <a:cubicBezTo>
                  <a:pt x="339088" y="762468"/>
                  <a:pt x="351243" y="754988"/>
                  <a:pt x="361995" y="760130"/>
                </a:cubicBezTo>
                <a:cubicBezTo>
                  <a:pt x="372747" y="765272"/>
                  <a:pt x="370410" y="779764"/>
                  <a:pt x="392849" y="790984"/>
                </a:cubicBezTo>
                <a:cubicBezTo>
                  <a:pt x="415288" y="802204"/>
                  <a:pt x="469049" y="820436"/>
                  <a:pt x="496631" y="827448"/>
                </a:cubicBezTo>
                <a:cubicBezTo>
                  <a:pt x="524213" y="834460"/>
                  <a:pt x="541510" y="832123"/>
                  <a:pt x="558339" y="833058"/>
                </a:cubicBezTo>
                <a:cubicBezTo>
                  <a:pt x="575168" y="833993"/>
                  <a:pt x="587790" y="830253"/>
                  <a:pt x="597607" y="833058"/>
                </a:cubicBezTo>
                <a:cubicBezTo>
                  <a:pt x="607424" y="835863"/>
                  <a:pt x="608827" y="843342"/>
                  <a:pt x="617242" y="849887"/>
                </a:cubicBezTo>
                <a:cubicBezTo>
                  <a:pt x="625657" y="856432"/>
                  <a:pt x="638746" y="865314"/>
                  <a:pt x="648096" y="872326"/>
                </a:cubicBezTo>
                <a:cubicBezTo>
                  <a:pt x="657446" y="879338"/>
                  <a:pt x="664458" y="887754"/>
                  <a:pt x="673340" y="891961"/>
                </a:cubicBezTo>
                <a:cubicBezTo>
                  <a:pt x="682222" y="896168"/>
                  <a:pt x="692974" y="897102"/>
                  <a:pt x="701389" y="897570"/>
                </a:cubicBezTo>
                <a:cubicBezTo>
                  <a:pt x="709804" y="898038"/>
                  <a:pt x="715413" y="891026"/>
                  <a:pt x="723828" y="894766"/>
                </a:cubicBezTo>
                <a:cubicBezTo>
                  <a:pt x="732243" y="898506"/>
                  <a:pt x="743930" y="912530"/>
                  <a:pt x="751877" y="920010"/>
                </a:cubicBezTo>
                <a:cubicBezTo>
                  <a:pt x="759824" y="927490"/>
                  <a:pt x="764032" y="933567"/>
                  <a:pt x="771512" y="939644"/>
                </a:cubicBezTo>
                <a:cubicBezTo>
                  <a:pt x="778992" y="945721"/>
                  <a:pt x="787874" y="951097"/>
                  <a:pt x="796756" y="956474"/>
                </a:cubicBezTo>
              </a:path>
            </a:pathLst>
          </a:custGeom>
          <a:noFill/>
          <a:ln w="7620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7" name="Полилиния 226"/>
          <p:cNvSpPr/>
          <p:nvPr/>
        </p:nvSpPr>
        <p:spPr>
          <a:xfrm>
            <a:off x="6124819" y="3900682"/>
            <a:ext cx="796756" cy="956474"/>
          </a:xfrm>
          <a:custGeom>
            <a:avLst/>
            <a:gdLst>
              <a:gd name="connsiteX0" fmla="*/ 333946 w 796756"/>
              <a:gd name="connsiteY0" fmla="*/ 0 h 956474"/>
              <a:gd name="connsiteX1" fmla="*/ 277848 w 796756"/>
              <a:gd name="connsiteY1" fmla="*/ 36464 h 956474"/>
              <a:gd name="connsiteX2" fmla="*/ 258213 w 796756"/>
              <a:gd name="connsiteY2" fmla="*/ 56098 h 956474"/>
              <a:gd name="connsiteX3" fmla="*/ 232969 w 796756"/>
              <a:gd name="connsiteY3" fmla="*/ 84147 h 956474"/>
              <a:gd name="connsiteX4" fmla="*/ 196505 w 796756"/>
              <a:gd name="connsiteY4" fmla="*/ 109391 h 956474"/>
              <a:gd name="connsiteX5" fmla="*/ 162847 w 796756"/>
              <a:gd name="connsiteY5" fmla="*/ 137440 h 956474"/>
              <a:gd name="connsiteX6" fmla="*/ 120773 w 796756"/>
              <a:gd name="connsiteY6" fmla="*/ 165489 h 956474"/>
              <a:gd name="connsiteX7" fmla="*/ 98334 w 796756"/>
              <a:gd name="connsiteY7" fmla="*/ 199148 h 956474"/>
              <a:gd name="connsiteX8" fmla="*/ 73090 w 796756"/>
              <a:gd name="connsiteY8" fmla="*/ 244027 h 956474"/>
              <a:gd name="connsiteX9" fmla="*/ 61870 w 796756"/>
              <a:gd name="connsiteY9" fmla="*/ 297320 h 956474"/>
              <a:gd name="connsiteX10" fmla="*/ 56260 w 796756"/>
              <a:gd name="connsiteY10" fmla="*/ 330979 h 956474"/>
              <a:gd name="connsiteX11" fmla="*/ 39431 w 796756"/>
              <a:gd name="connsiteY11" fmla="*/ 359028 h 956474"/>
              <a:gd name="connsiteX12" fmla="*/ 19796 w 796756"/>
              <a:gd name="connsiteY12" fmla="*/ 378662 h 956474"/>
              <a:gd name="connsiteX13" fmla="*/ 5772 w 796756"/>
              <a:gd name="connsiteY13" fmla="*/ 395492 h 956474"/>
              <a:gd name="connsiteX14" fmla="*/ 162 w 796756"/>
              <a:gd name="connsiteY14" fmla="*/ 423541 h 956474"/>
              <a:gd name="connsiteX15" fmla="*/ 11382 w 796756"/>
              <a:gd name="connsiteY15" fmla="*/ 457200 h 956474"/>
              <a:gd name="connsiteX16" fmla="*/ 42236 w 796756"/>
              <a:gd name="connsiteY16" fmla="*/ 504883 h 956474"/>
              <a:gd name="connsiteX17" fmla="*/ 95529 w 796756"/>
              <a:gd name="connsiteY17" fmla="*/ 552567 h 956474"/>
              <a:gd name="connsiteX18" fmla="*/ 154432 w 796756"/>
              <a:gd name="connsiteY18" fmla="*/ 614275 h 956474"/>
              <a:gd name="connsiteX19" fmla="*/ 185286 w 796756"/>
              <a:gd name="connsiteY19" fmla="*/ 667568 h 956474"/>
              <a:gd name="connsiteX20" fmla="*/ 232969 w 796756"/>
              <a:gd name="connsiteY20" fmla="*/ 701227 h 956474"/>
              <a:gd name="connsiteX21" fmla="*/ 249799 w 796756"/>
              <a:gd name="connsiteY21" fmla="*/ 715251 h 956474"/>
              <a:gd name="connsiteX22" fmla="*/ 277848 w 796756"/>
              <a:gd name="connsiteY22" fmla="*/ 718056 h 956474"/>
              <a:gd name="connsiteX23" fmla="*/ 297482 w 796756"/>
              <a:gd name="connsiteY23" fmla="*/ 746105 h 956474"/>
              <a:gd name="connsiteX24" fmla="*/ 328336 w 796756"/>
              <a:gd name="connsiteY24" fmla="*/ 760130 h 956474"/>
              <a:gd name="connsiteX25" fmla="*/ 361995 w 796756"/>
              <a:gd name="connsiteY25" fmla="*/ 760130 h 956474"/>
              <a:gd name="connsiteX26" fmla="*/ 392849 w 796756"/>
              <a:gd name="connsiteY26" fmla="*/ 790984 h 956474"/>
              <a:gd name="connsiteX27" fmla="*/ 496631 w 796756"/>
              <a:gd name="connsiteY27" fmla="*/ 827448 h 956474"/>
              <a:gd name="connsiteX28" fmla="*/ 558339 w 796756"/>
              <a:gd name="connsiteY28" fmla="*/ 833058 h 956474"/>
              <a:gd name="connsiteX29" fmla="*/ 597607 w 796756"/>
              <a:gd name="connsiteY29" fmla="*/ 833058 h 956474"/>
              <a:gd name="connsiteX30" fmla="*/ 617242 w 796756"/>
              <a:gd name="connsiteY30" fmla="*/ 849887 h 956474"/>
              <a:gd name="connsiteX31" fmla="*/ 648096 w 796756"/>
              <a:gd name="connsiteY31" fmla="*/ 872326 h 956474"/>
              <a:gd name="connsiteX32" fmla="*/ 673340 w 796756"/>
              <a:gd name="connsiteY32" fmla="*/ 891961 h 956474"/>
              <a:gd name="connsiteX33" fmla="*/ 701389 w 796756"/>
              <a:gd name="connsiteY33" fmla="*/ 897570 h 956474"/>
              <a:gd name="connsiteX34" fmla="*/ 723828 w 796756"/>
              <a:gd name="connsiteY34" fmla="*/ 894766 h 956474"/>
              <a:gd name="connsiteX35" fmla="*/ 751877 w 796756"/>
              <a:gd name="connsiteY35" fmla="*/ 920010 h 956474"/>
              <a:gd name="connsiteX36" fmla="*/ 771512 w 796756"/>
              <a:gd name="connsiteY36" fmla="*/ 939644 h 956474"/>
              <a:gd name="connsiteX37" fmla="*/ 796756 w 796756"/>
              <a:gd name="connsiteY37" fmla="*/ 956474 h 956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796756" h="956474">
                <a:moveTo>
                  <a:pt x="333946" y="0"/>
                </a:moveTo>
                <a:cubicBezTo>
                  <a:pt x="312208" y="13557"/>
                  <a:pt x="290470" y="27114"/>
                  <a:pt x="277848" y="36464"/>
                </a:cubicBezTo>
                <a:cubicBezTo>
                  <a:pt x="265226" y="45814"/>
                  <a:pt x="265693" y="48151"/>
                  <a:pt x="258213" y="56098"/>
                </a:cubicBezTo>
                <a:cubicBezTo>
                  <a:pt x="250733" y="64045"/>
                  <a:pt x="243254" y="75265"/>
                  <a:pt x="232969" y="84147"/>
                </a:cubicBezTo>
                <a:cubicBezTo>
                  <a:pt x="222684" y="93029"/>
                  <a:pt x="208192" y="100509"/>
                  <a:pt x="196505" y="109391"/>
                </a:cubicBezTo>
                <a:cubicBezTo>
                  <a:pt x="184818" y="118273"/>
                  <a:pt x="175469" y="128090"/>
                  <a:pt x="162847" y="137440"/>
                </a:cubicBezTo>
                <a:cubicBezTo>
                  <a:pt x="150225" y="146790"/>
                  <a:pt x="131525" y="155204"/>
                  <a:pt x="120773" y="165489"/>
                </a:cubicBezTo>
                <a:cubicBezTo>
                  <a:pt x="110021" y="175774"/>
                  <a:pt x="106281" y="186058"/>
                  <a:pt x="98334" y="199148"/>
                </a:cubicBezTo>
                <a:cubicBezTo>
                  <a:pt x="90387" y="212238"/>
                  <a:pt x="79167" y="227665"/>
                  <a:pt x="73090" y="244027"/>
                </a:cubicBezTo>
                <a:cubicBezTo>
                  <a:pt x="67013" y="260389"/>
                  <a:pt x="64675" y="282828"/>
                  <a:pt x="61870" y="297320"/>
                </a:cubicBezTo>
                <a:cubicBezTo>
                  <a:pt x="59065" y="311812"/>
                  <a:pt x="60000" y="320694"/>
                  <a:pt x="56260" y="330979"/>
                </a:cubicBezTo>
                <a:cubicBezTo>
                  <a:pt x="52520" y="341264"/>
                  <a:pt x="45508" y="351081"/>
                  <a:pt x="39431" y="359028"/>
                </a:cubicBezTo>
                <a:cubicBezTo>
                  <a:pt x="33354" y="366975"/>
                  <a:pt x="25406" y="372585"/>
                  <a:pt x="19796" y="378662"/>
                </a:cubicBezTo>
                <a:cubicBezTo>
                  <a:pt x="14186" y="384739"/>
                  <a:pt x="9044" y="388012"/>
                  <a:pt x="5772" y="395492"/>
                </a:cubicBezTo>
                <a:cubicBezTo>
                  <a:pt x="2500" y="402972"/>
                  <a:pt x="-773" y="413256"/>
                  <a:pt x="162" y="423541"/>
                </a:cubicBezTo>
                <a:cubicBezTo>
                  <a:pt x="1097" y="433826"/>
                  <a:pt x="4370" y="443643"/>
                  <a:pt x="11382" y="457200"/>
                </a:cubicBezTo>
                <a:cubicBezTo>
                  <a:pt x="18394" y="470757"/>
                  <a:pt x="28211" y="488989"/>
                  <a:pt x="42236" y="504883"/>
                </a:cubicBezTo>
                <a:cubicBezTo>
                  <a:pt x="56260" y="520778"/>
                  <a:pt x="76830" y="534335"/>
                  <a:pt x="95529" y="552567"/>
                </a:cubicBezTo>
                <a:cubicBezTo>
                  <a:pt x="114228" y="570799"/>
                  <a:pt x="139473" y="595108"/>
                  <a:pt x="154432" y="614275"/>
                </a:cubicBezTo>
                <a:cubicBezTo>
                  <a:pt x="169391" y="633442"/>
                  <a:pt x="172196" y="653076"/>
                  <a:pt x="185286" y="667568"/>
                </a:cubicBezTo>
                <a:cubicBezTo>
                  <a:pt x="198375" y="682060"/>
                  <a:pt x="222217" y="693280"/>
                  <a:pt x="232969" y="701227"/>
                </a:cubicBezTo>
                <a:cubicBezTo>
                  <a:pt x="243721" y="709174"/>
                  <a:pt x="242319" y="712446"/>
                  <a:pt x="249799" y="715251"/>
                </a:cubicBezTo>
                <a:cubicBezTo>
                  <a:pt x="257279" y="718056"/>
                  <a:pt x="269901" y="712914"/>
                  <a:pt x="277848" y="718056"/>
                </a:cubicBezTo>
                <a:cubicBezTo>
                  <a:pt x="285795" y="723198"/>
                  <a:pt x="289068" y="739093"/>
                  <a:pt x="297482" y="746105"/>
                </a:cubicBezTo>
                <a:cubicBezTo>
                  <a:pt x="305896" y="753117"/>
                  <a:pt x="317584" y="757793"/>
                  <a:pt x="328336" y="760130"/>
                </a:cubicBezTo>
                <a:cubicBezTo>
                  <a:pt x="339088" y="762468"/>
                  <a:pt x="351243" y="754988"/>
                  <a:pt x="361995" y="760130"/>
                </a:cubicBezTo>
                <a:cubicBezTo>
                  <a:pt x="372747" y="765272"/>
                  <a:pt x="370410" y="779764"/>
                  <a:pt x="392849" y="790984"/>
                </a:cubicBezTo>
                <a:cubicBezTo>
                  <a:pt x="415288" y="802204"/>
                  <a:pt x="469049" y="820436"/>
                  <a:pt x="496631" y="827448"/>
                </a:cubicBezTo>
                <a:cubicBezTo>
                  <a:pt x="524213" y="834460"/>
                  <a:pt x="541510" y="832123"/>
                  <a:pt x="558339" y="833058"/>
                </a:cubicBezTo>
                <a:cubicBezTo>
                  <a:pt x="575168" y="833993"/>
                  <a:pt x="587790" y="830253"/>
                  <a:pt x="597607" y="833058"/>
                </a:cubicBezTo>
                <a:cubicBezTo>
                  <a:pt x="607424" y="835863"/>
                  <a:pt x="608827" y="843342"/>
                  <a:pt x="617242" y="849887"/>
                </a:cubicBezTo>
                <a:cubicBezTo>
                  <a:pt x="625657" y="856432"/>
                  <a:pt x="638746" y="865314"/>
                  <a:pt x="648096" y="872326"/>
                </a:cubicBezTo>
                <a:cubicBezTo>
                  <a:pt x="657446" y="879338"/>
                  <a:pt x="664458" y="887754"/>
                  <a:pt x="673340" y="891961"/>
                </a:cubicBezTo>
                <a:cubicBezTo>
                  <a:pt x="682222" y="896168"/>
                  <a:pt x="692974" y="897102"/>
                  <a:pt x="701389" y="897570"/>
                </a:cubicBezTo>
                <a:cubicBezTo>
                  <a:pt x="709804" y="898038"/>
                  <a:pt x="715413" y="891026"/>
                  <a:pt x="723828" y="894766"/>
                </a:cubicBezTo>
                <a:cubicBezTo>
                  <a:pt x="732243" y="898506"/>
                  <a:pt x="743930" y="912530"/>
                  <a:pt x="751877" y="920010"/>
                </a:cubicBezTo>
                <a:cubicBezTo>
                  <a:pt x="759824" y="927490"/>
                  <a:pt x="764032" y="933567"/>
                  <a:pt x="771512" y="939644"/>
                </a:cubicBezTo>
                <a:cubicBezTo>
                  <a:pt x="778992" y="945721"/>
                  <a:pt x="787874" y="951097"/>
                  <a:pt x="796756" y="956474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9" name="Полилиния 228"/>
          <p:cNvSpPr/>
          <p:nvPr/>
        </p:nvSpPr>
        <p:spPr>
          <a:xfrm>
            <a:off x="6148204" y="3924066"/>
            <a:ext cx="788423" cy="922815"/>
          </a:xfrm>
          <a:custGeom>
            <a:avLst/>
            <a:gdLst>
              <a:gd name="connsiteX0" fmla="*/ 322719 w 788423"/>
              <a:gd name="connsiteY0" fmla="*/ 0 h 922815"/>
              <a:gd name="connsiteX1" fmla="*/ 230157 w 788423"/>
              <a:gd name="connsiteY1" fmla="*/ 72928 h 922815"/>
              <a:gd name="connsiteX2" fmla="*/ 190888 w 788423"/>
              <a:gd name="connsiteY2" fmla="*/ 109392 h 922815"/>
              <a:gd name="connsiteX3" fmla="*/ 140400 w 788423"/>
              <a:gd name="connsiteY3" fmla="*/ 145855 h 922815"/>
              <a:gd name="connsiteX4" fmla="*/ 103936 w 788423"/>
              <a:gd name="connsiteY4" fmla="*/ 176709 h 922815"/>
              <a:gd name="connsiteX5" fmla="*/ 73082 w 788423"/>
              <a:gd name="connsiteY5" fmla="*/ 232808 h 922815"/>
              <a:gd name="connsiteX6" fmla="*/ 59057 w 788423"/>
              <a:gd name="connsiteY6" fmla="*/ 294516 h 922815"/>
              <a:gd name="connsiteX7" fmla="*/ 47838 w 788423"/>
              <a:gd name="connsiteY7" fmla="*/ 333784 h 922815"/>
              <a:gd name="connsiteX8" fmla="*/ 22594 w 788423"/>
              <a:gd name="connsiteY8" fmla="*/ 364638 h 922815"/>
              <a:gd name="connsiteX9" fmla="*/ 154 w 788423"/>
              <a:gd name="connsiteY9" fmla="*/ 389882 h 922815"/>
              <a:gd name="connsiteX10" fmla="*/ 14179 w 788423"/>
              <a:gd name="connsiteY10" fmla="*/ 437566 h 922815"/>
              <a:gd name="connsiteX11" fmla="*/ 42228 w 788423"/>
              <a:gd name="connsiteY11" fmla="*/ 479640 h 922815"/>
              <a:gd name="connsiteX12" fmla="*/ 89911 w 788423"/>
              <a:gd name="connsiteY12" fmla="*/ 524518 h 922815"/>
              <a:gd name="connsiteX13" fmla="*/ 151619 w 788423"/>
              <a:gd name="connsiteY13" fmla="*/ 594641 h 922815"/>
              <a:gd name="connsiteX14" fmla="*/ 171254 w 788423"/>
              <a:gd name="connsiteY14" fmla="*/ 622690 h 922815"/>
              <a:gd name="connsiteX15" fmla="*/ 199303 w 788423"/>
              <a:gd name="connsiteY15" fmla="*/ 650739 h 922815"/>
              <a:gd name="connsiteX16" fmla="*/ 232962 w 788423"/>
              <a:gd name="connsiteY16" fmla="*/ 670373 h 922815"/>
              <a:gd name="connsiteX17" fmla="*/ 258206 w 788423"/>
              <a:gd name="connsiteY17" fmla="*/ 681593 h 922815"/>
              <a:gd name="connsiteX18" fmla="*/ 272230 w 788423"/>
              <a:gd name="connsiteY18" fmla="*/ 681593 h 922815"/>
              <a:gd name="connsiteX19" fmla="*/ 294670 w 788423"/>
              <a:gd name="connsiteY19" fmla="*/ 709642 h 922815"/>
              <a:gd name="connsiteX20" fmla="*/ 308694 w 788423"/>
              <a:gd name="connsiteY20" fmla="*/ 718057 h 922815"/>
              <a:gd name="connsiteX21" fmla="*/ 331133 w 788423"/>
              <a:gd name="connsiteY21" fmla="*/ 718057 h 922815"/>
              <a:gd name="connsiteX22" fmla="*/ 356378 w 788423"/>
              <a:gd name="connsiteY22" fmla="*/ 729276 h 922815"/>
              <a:gd name="connsiteX23" fmla="*/ 381622 w 788423"/>
              <a:gd name="connsiteY23" fmla="*/ 748911 h 922815"/>
              <a:gd name="connsiteX24" fmla="*/ 429305 w 788423"/>
              <a:gd name="connsiteY24" fmla="*/ 774155 h 922815"/>
              <a:gd name="connsiteX25" fmla="*/ 507843 w 788423"/>
              <a:gd name="connsiteY25" fmla="*/ 793789 h 922815"/>
              <a:gd name="connsiteX26" fmla="*/ 555526 w 788423"/>
              <a:gd name="connsiteY26" fmla="*/ 790984 h 922815"/>
              <a:gd name="connsiteX27" fmla="*/ 586380 w 788423"/>
              <a:gd name="connsiteY27" fmla="*/ 796594 h 922815"/>
              <a:gd name="connsiteX28" fmla="*/ 614429 w 788423"/>
              <a:gd name="connsiteY28" fmla="*/ 813424 h 922815"/>
              <a:gd name="connsiteX29" fmla="*/ 631259 w 788423"/>
              <a:gd name="connsiteY29" fmla="*/ 833058 h 922815"/>
              <a:gd name="connsiteX30" fmla="*/ 659308 w 788423"/>
              <a:gd name="connsiteY30" fmla="*/ 849887 h 922815"/>
              <a:gd name="connsiteX31" fmla="*/ 673332 w 788423"/>
              <a:gd name="connsiteY31" fmla="*/ 855497 h 922815"/>
              <a:gd name="connsiteX32" fmla="*/ 698576 w 788423"/>
              <a:gd name="connsiteY32" fmla="*/ 855497 h 922815"/>
              <a:gd name="connsiteX33" fmla="*/ 718211 w 788423"/>
              <a:gd name="connsiteY33" fmla="*/ 855497 h 922815"/>
              <a:gd name="connsiteX34" fmla="*/ 751870 w 788423"/>
              <a:gd name="connsiteY34" fmla="*/ 891961 h 922815"/>
              <a:gd name="connsiteX35" fmla="*/ 782724 w 788423"/>
              <a:gd name="connsiteY35" fmla="*/ 917205 h 922815"/>
              <a:gd name="connsiteX36" fmla="*/ 788333 w 788423"/>
              <a:gd name="connsiteY36" fmla="*/ 922815 h 922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788423" h="922815">
                <a:moveTo>
                  <a:pt x="322719" y="0"/>
                </a:moveTo>
                <a:cubicBezTo>
                  <a:pt x="287424" y="27348"/>
                  <a:pt x="252129" y="54696"/>
                  <a:pt x="230157" y="72928"/>
                </a:cubicBezTo>
                <a:cubicBezTo>
                  <a:pt x="208185" y="91160"/>
                  <a:pt x="205847" y="97238"/>
                  <a:pt x="190888" y="109392"/>
                </a:cubicBezTo>
                <a:cubicBezTo>
                  <a:pt x="175928" y="121547"/>
                  <a:pt x="154892" y="134636"/>
                  <a:pt x="140400" y="145855"/>
                </a:cubicBezTo>
                <a:cubicBezTo>
                  <a:pt x="125908" y="157074"/>
                  <a:pt x="115156" y="162217"/>
                  <a:pt x="103936" y="176709"/>
                </a:cubicBezTo>
                <a:cubicBezTo>
                  <a:pt x="92716" y="191201"/>
                  <a:pt x="80562" y="213174"/>
                  <a:pt x="73082" y="232808"/>
                </a:cubicBezTo>
                <a:cubicBezTo>
                  <a:pt x="65602" y="252443"/>
                  <a:pt x="63264" y="277687"/>
                  <a:pt x="59057" y="294516"/>
                </a:cubicBezTo>
                <a:cubicBezTo>
                  <a:pt x="54850" y="311345"/>
                  <a:pt x="53915" y="322097"/>
                  <a:pt x="47838" y="333784"/>
                </a:cubicBezTo>
                <a:cubicBezTo>
                  <a:pt x="41761" y="345471"/>
                  <a:pt x="30541" y="355288"/>
                  <a:pt x="22594" y="364638"/>
                </a:cubicBezTo>
                <a:cubicBezTo>
                  <a:pt x="14647" y="373988"/>
                  <a:pt x="1556" y="377727"/>
                  <a:pt x="154" y="389882"/>
                </a:cubicBezTo>
                <a:cubicBezTo>
                  <a:pt x="-1249" y="402037"/>
                  <a:pt x="7167" y="422606"/>
                  <a:pt x="14179" y="437566"/>
                </a:cubicBezTo>
                <a:cubicBezTo>
                  <a:pt x="21191" y="452526"/>
                  <a:pt x="29606" y="465148"/>
                  <a:pt x="42228" y="479640"/>
                </a:cubicBezTo>
                <a:cubicBezTo>
                  <a:pt x="54850" y="494132"/>
                  <a:pt x="71679" y="505351"/>
                  <a:pt x="89911" y="524518"/>
                </a:cubicBezTo>
                <a:cubicBezTo>
                  <a:pt x="108143" y="543685"/>
                  <a:pt x="138062" y="578279"/>
                  <a:pt x="151619" y="594641"/>
                </a:cubicBezTo>
                <a:cubicBezTo>
                  <a:pt x="165176" y="611003"/>
                  <a:pt x="163307" y="613340"/>
                  <a:pt x="171254" y="622690"/>
                </a:cubicBezTo>
                <a:cubicBezTo>
                  <a:pt x="179201" y="632040"/>
                  <a:pt x="189018" y="642792"/>
                  <a:pt x="199303" y="650739"/>
                </a:cubicBezTo>
                <a:cubicBezTo>
                  <a:pt x="209588" y="658686"/>
                  <a:pt x="223145" y="665231"/>
                  <a:pt x="232962" y="670373"/>
                </a:cubicBezTo>
                <a:cubicBezTo>
                  <a:pt x="242779" y="675515"/>
                  <a:pt x="251661" y="679723"/>
                  <a:pt x="258206" y="681593"/>
                </a:cubicBezTo>
                <a:cubicBezTo>
                  <a:pt x="264751" y="683463"/>
                  <a:pt x="266153" y="676918"/>
                  <a:pt x="272230" y="681593"/>
                </a:cubicBezTo>
                <a:cubicBezTo>
                  <a:pt x="278307" y="686268"/>
                  <a:pt x="288593" y="703565"/>
                  <a:pt x="294670" y="709642"/>
                </a:cubicBezTo>
                <a:cubicBezTo>
                  <a:pt x="300747" y="715719"/>
                  <a:pt x="302617" y="716655"/>
                  <a:pt x="308694" y="718057"/>
                </a:cubicBezTo>
                <a:cubicBezTo>
                  <a:pt x="314771" y="719460"/>
                  <a:pt x="323186" y="716187"/>
                  <a:pt x="331133" y="718057"/>
                </a:cubicBezTo>
                <a:cubicBezTo>
                  <a:pt x="339080" y="719927"/>
                  <a:pt x="347963" y="724134"/>
                  <a:pt x="356378" y="729276"/>
                </a:cubicBezTo>
                <a:cubicBezTo>
                  <a:pt x="364793" y="734418"/>
                  <a:pt x="369468" y="741431"/>
                  <a:pt x="381622" y="748911"/>
                </a:cubicBezTo>
                <a:cubicBezTo>
                  <a:pt x="393776" y="756391"/>
                  <a:pt x="408268" y="766675"/>
                  <a:pt x="429305" y="774155"/>
                </a:cubicBezTo>
                <a:cubicBezTo>
                  <a:pt x="450342" y="781635"/>
                  <a:pt x="486806" y="790984"/>
                  <a:pt x="507843" y="793789"/>
                </a:cubicBezTo>
                <a:cubicBezTo>
                  <a:pt x="528880" y="796594"/>
                  <a:pt x="542437" y="790517"/>
                  <a:pt x="555526" y="790984"/>
                </a:cubicBezTo>
                <a:cubicBezTo>
                  <a:pt x="568615" y="791451"/>
                  <a:pt x="576563" y="792854"/>
                  <a:pt x="586380" y="796594"/>
                </a:cubicBezTo>
                <a:cubicBezTo>
                  <a:pt x="596197" y="800334"/>
                  <a:pt x="606949" y="807347"/>
                  <a:pt x="614429" y="813424"/>
                </a:cubicBezTo>
                <a:cubicBezTo>
                  <a:pt x="621909" y="819501"/>
                  <a:pt x="623779" y="826981"/>
                  <a:pt x="631259" y="833058"/>
                </a:cubicBezTo>
                <a:cubicBezTo>
                  <a:pt x="638739" y="839135"/>
                  <a:pt x="652296" y="846147"/>
                  <a:pt x="659308" y="849887"/>
                </a:cubicBezTo>
                <a:cubicBezTo>
                  <a:pt x="666320" y="853627"/>
                  <a:pt x="666787" y="854562"/>
                  <a:pt x="673332" y="855497"/>
                </a:cubicBezTo>
                <a:cubicBezTo>
                  <a:pt x="679877" y="856432"/>
                  <a:pt x="698576" y="855497"/>
                  <a:pt x="698576" y="855497"/>
                </a:cubicBezTo>
                <a:cubicBezTo>
                  <a:pt x="706056" y="855497"/>
                  <a:pt x="709329" y="849420"/>
                  <a:pt x="718211" y="855497"/>
                </a:cubicBezTo>
                <a:cubicBezTo>
                  <a:pt x="727093" y="861574"/>
                  <a:pt x="741118" y="881676"/>
                  <a:pt x="751870" y="891961"/>
                </a:cubicBezTo>
                <a:cubicBezTo>
                  <a:pt x="762622" y="902246"/>
                  <a:pt x="782724" y="917205"/>
                  <a:pt x="782724" y="917205"/>
                </a:cubicBezTo>
                <a:cubicBezTo>
                  <a:pt x="788801" y="922347"/>
                  <a:pt x="788567" y="922581"/>
                  <a:pt x="788333" y="92281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1" name="Полилиния 230"/>
          <p:cNvSpPr/>
          <p:nvPr/>
        </p:nvSpPr>
        <p:spPr>
          <a:xfrm>
            <a:off x="6103480" y="3884798"/>
            <a:ext cx="819033" cy="995742"/>
          </a:xfrm>
          <a:custGeom>
            <a:avLst/>
            <a:gdLst>
              <a:gd name="connsiteX0" fmla="*/ 345004 w 819033"/>
              <a:gd name="connsiteY0" fmla="*/ 0 h 995742"/>
              <a:gd name="connsiteX1" fmla="*/ 288905 w 819033"/>
              <a:gd name="connsiteY1" fmla="*/ 36463 h 995742"/>
              <a:gd name="connsiteX2" fmla="*/ 244027 w 819033"/>
              <a:gd name="connsiteY2" fmla="*/ 89757 h 995742"/>
              <a:gd name="connsiteX3" fmla="*/ 213173 w 819033"/>
              <a:gd name="connsiteY3" fmla="*/ 109391 h 995742"/>
              <a:gd name="connsiteX4" fmla="*/ 168294 w 819033"/>
              <a:gd name="connsiteY4" fmla="*/ 140245 h 995742"/>
              <a:gd name="connsiteX5" fmla="*/ 129026 w 819033"/>
              <a:gd name="connsiteY5" fmla="*/ 173904 h 995742"/>
              <a:gd name="connsiteX6" fmla="*/ 92562 w 819033"/>
              <a:gd name="connsiteY6" fmla="*/ 227197 h 995742"/>
              <a:gd name="connsiteX7" fmla="*/ 67318 w 819033"/>
              <a:gd name="connsiteY7" fmla="*/ 322564 h 995742"/>
              <a:gd name="connsiteX8" fmla="*/ 53293 w 819033"/>
              <a:gd name="connsiteY8" fmla="*/ 361833 h 995742"/>
              <a:gd name="connsiteX9" fmla="*/ 19634 w 819033"/>
              <a:gd name="connsiteY9" fmla="*/ 401101 h 995742"/>
              <a:gd name="connsiteX10" fmla="*/ 0 w 819033"/>
              <a:gd name="connsiteY10" fmla="*/ 440370 h 995742"/>
              <a:gd name="connsiteX11" fmla="*/ 19634 w 819033"/>
              <a:gd name="connsiteY11" fmla="*/ 493663 h 995742"/>
              <a:gd name="connsiteX12" fmla="*/ 50488 w 819033"/>
              <a:gd name="connsiteY12" fmla="*/ 544152 h 995742"/>
              <a:gd name="connsiteX13" fmla="*/ 98172 w 819033"/>
              <a:gd name="connsiteY13" fmla="*/ 577811 h 995742"/>
              <a:gd name="connsiteX14" fmla="*/ 143050 w 819033"/>
              <a:gd name="connsiteY14" fmla="*/ 617079 h 995742"/>
              <a:gd name="connsiteX15" fmla="*/ 171099 w 819033"/>
              <a:gd name="connsiteY15" fmla="*/ 653543 h 995742"/>
              <a:gd name="connsiteX16" fmla="*/ 190734 w 819033"/>
              <a:gd name="connsiteY16" fmla="*/ 701227 h 995742"/>
              <a:gd name="connsiteX17" fmla="*/ 230002 w 819033"/>
              <a:gd name="connsiteY17" fmla="*/ 723666 h 995742"/>
              <a:gd name="connsiteX18" fmla="*/ 255246 w 819033"/>
              <a:gd name="connsiteY18" fmla="*/ 743300 h 995742"/>
              <a:gd name="connsiteX19" fmla="*/ 269271 w 819033"/>
              <a:gd name="connsiteY19" fmla="*/ 757325 h 995742"/>
              <a:gd name="connsiteX20" fmla="*/ 294515 w 819033"/>
              <a:gd name="connsiteY20" fmla="*/ 757325 h 995742"/>
              <a:gd name="connsiteX21" fmla="*/ 308540 w 819033"/>
              <a:gd name="connsiteY21" fmla="*/ 779764 h 995742"/>
              <a:gd name="connsiteX22" fmla="*/ 336589 w 819033"/>
              <a:gd name="connsiteY22" fmla="*/ 796593 h 995742"/>
              <a:gd name="connsiteX23" fmla="*/ 367443 w 819033"/>
              <a:gd name="connsiteY23" fmla="*/ 802203 h 995742"/>
              <a:gd name="connsiteX24" fmla="*/ 387077 w 819033"/>
              <a:gd name="connsiteY24" fmla="*/ 816228 h 995742"/>
              <a:gd name="connsiteX25" fmla="*/ 429151 w 819033"/>
              <a:gd name="connsiteY25" fmla="*/ 835862 h 995742"/>
              <a:gd name="connsiteX26" fmla="*/ 479639 w 819033"/>
              <a:gd name="connsiteY26" fmla="*/ 861106 h 995742"/>
              <a:gd name="connsiteX27" fmla="*/ 544152 w 819033"/>
              <a:gd name="connsiteY27" fmla="*/ 872326 h 995742"/>
              <a:gd name="connsiteX28" fmla="*/ 611470 w 819033"/>
              <a:gd name="connsiteY28" fmla="*/ 877936 h 995742"/>
              <a:gd name="connsiteX29" fmla="*/ 639519 w 819033"/>
              <a:gd name="connsiteY29" fmla="*/ 889155 h 995742"/>
              <a:gd name="connsiteX30" fmla="*/ 687202 w 819033"/>
              <a:gd name="connsiteY30" fmla="*/ 922814 h 995742"/>
              <a:gd name="connsiteX31" fmla="*/ 715251 w 819033"/>
              <a:gd name="connsiteY31" fmla="*/ 939644 h 995742"/>
              <a:gd name="connsiteX32" fmla="*/ 734886 w 819033"/>
              <a:gd name="connsiteY32" fmla="*/ 942449 h 995742"/>
              <a:gd name="connsiteX33" fmla="*/ 748910 w 819033"/>
              <a:gd name="connsiteY33" fmla="*/ 942449 h 995742"/>
              <a:gd name="connsiteX34" fmla="*/ 774154 w 819033"/>
              <a:gd name="connsiteY34" fmla="*/ 964888 h 995742"/>
              <a:gd name="connsiteX35" fmla="*/ 793789 w 819033"/>
              <a:gd name="connsiteY35" fmla="*/ 984522 h 995742"/>
              <a:gd name="connsiteX36" fmla="*/ 813423 w 819033"/>
              <a:gd name="connsiteY36" fmla="*/ 992937 h 995742"/>
              <a:gd name="connsiteX37" fmla="*/ 819033 w 819033"/>
              <a:gd name="connsiteY37" fmla="*/ 995742 h 995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819033" h="995742">
                <a:moveTo>
                  <a:pt x="345004" y="0"/>
                </a:moveTo>
                <a:cubicBezTo>
                  <a:pt x="325369" y="10752"/>
                  <a:pt x="305734" y="21504"/>
                  <a:pt x="288905" y="36463"/>
                </a:cubicBezTo>
                <a:cubicBezTo>
                  <a:pt x="272075" y="51423"/>
                  <a:pt x="256649" y="77602"/>
                  <a:pt x="244027" y="89757"/>
                </a:cubicBezTo>
                <a:cubicBezTo>
                  <a:pt x="231405" y="101912"/>
                  <a:pt x="225795" y="100976"/>
                  <a:pt x="213173" y="109391"/>
                </a:cubicBezTo>
                <a:cubicBezTo>
                  <a:pt x="200551" y="117806"/>
                  <a:pt x="182318" y="129493"/>
                  <a:pt x="168294" y="140245"/>
                </a:cubicBezTo>
                <a:cubicBezTo>
                  <a:pt x="154270" y="150997"/>
                  <a:pt x="141648" y="159412"/>
                  <a:pt x="129026" y="173904"/>
                </a:cubicBezTo>
                <a:cubicBezTo>
                  <a:pt x="116404" y="188396"/>
                  <a:pt x="102847" y="202421"/>
                  <a:pt x="92562" y="227197"/>
                </a:cubicBezTo>
                <a:cubicBezTo>
                  <a:pt x="82277" y="251973"/>
                  <a:pt x="73863" y="300125"/>
                  <a:pt x="67318" y="322564"/>
                </a:cubicBezTo>
                <a:cubicBezTo>
                  <a:pt x="60773" y="345003"/>
                  <a:pt x="61240" y="348744"/>
                  <a:pt x="53293" y="361833"/>
                </a:cubicBezTo>
                <a:cubicBezTo>
                  <a:pt x="45346" y="374922"/>
                  <a:pt x="28516" y="388012"/>
                  <a:pt x="19634" y="401101"/>
                </a:cubicBezTo>
                <a:cubicBezTo>
                  <a:pt x="10752" y="414191"/>
                  <a:pt x="0" y="424943"/>
                  <a:pt x="0" y="440370"/>
                </a:cubicBezTo>
                <a:cubicBezTo>
                  <a:pt x="0" y="455797"/>
                  <a:pt x="11219" y="476366"/>
                  <a:pt x="19634" y="493663"/>
                </a:cubicBezTo>
                <a:cubicBezTo>
                  <a:pt x="28049" y="510960"/>
                  <a:pt x="37398" y="530127"/>
                  <a:pt x="50488" y="544152"/>
                </a:cubicBezTo>
                <a:cubicBezTo>
                  <a:pt x="63578" y="558177"/>
                  <a:pt x="82745" y="565657"/>
                  <a:pt x="98172" y="577811"/>
                </a:cubicBezTo>
                <a:cubicBezTo>
                  <a:pt x="113599" y="589966"/>
                  <a:pt x="130896" y="604457"/>
                  <a:pt x="143050" y="617079"/>
                </a:cubicBezTo>
                <a:cubicBezTo>
                  <a:pt x="155204" y="629701"/>
                  <a:pt x="163152" y="639518"/>
                  <a:pt x="171099" y="653543"/>
                </a:cubicBezTo>
                <a:cubicBezTo>
                  <a:pt x="179046" y="667568"/>
                  <a:pt x="180917" y="689540"/>
                  <a:pt x="190734" y="701227"/>
                </a:cubicBezTo>
                <a:cubicBezTo>
                  <a:pt x="200551" y="712914"/>
                  <a:pt x="219250" y="716654"/>
                  <a:pt x="230002" y="723666"/>
                </a:cubicBezTo>
                <a:cubicBezTo>
                  <a:pt x="240754" y="730678"/>
                  <a:pt x="248701" y="737690"/>
                  <a:pt x="255246" y="743300"/>
                </a:cubicBezTo>
                <a:cubicBezTo>
                  <a:pt x="261791" y="748910"/>
                  <a:pt x="262726" y="754987"/>
                  <a:pt x="269271" y="757325"/>
                </a:cubicBezTo>
                <a:cubicBezTo>
                  <a:pt x="275816" y="759663"/>
                  <a:pt x="287970" y="753585"/>
                  <a:pt x="294515" y="757325"/>
                </a:cubicBezTo>
                <a:cubicBezTo>
                  <a:pt x="301060" y="761065"/>
                  <a:pt x="301528" y="773219"/>
                  <a:pt x="308540" y="779764"/>
                </a:cubicBezTo>
                <a:cubicBezTo>
                  <a:pt x="315552" y="786309"/>
                  <a:pt x="326772" y="792853"/>
                  <a:pt x="336589" y="796593"/>
                </a:cubicBezTo>
                <a:cubicBezTo>
                  <a:pt x="346406" y="800333"/>
                  <a:pt x="359028" y="798931"/>
                  <a:pt x="367443" y="802203"/>
                </a:cubicBezTo>
                <a:cubicBezTo>
                  <a:pt x="375858" y="805475"/>
                  <a:pt x="376792" y="810618"/>
                  <a:pt x="387077" y="816228"/>
                </a:cubicBezTo>
                <a:cubicBezTo>
                  <a:pt x="397362" y="821838"/>
                  <a:pt x="413724" y="828382"/>
                  <a:pt x="429151" y="835862"/>
                </a:cubicBezTo>
                <a:cubicBezTo>
                  <a:pt x="444578" y="843342"/>
                  <a:pt x="460472" y="855029"/>
                  <a:pt x="479639" y="861106"/>
                </a:cubicBezTo>
                <a:cubicBezTo>
                  <a:pt x="498806" y="867183"/>
                  <a:pt x="522180" y="869521"/>
                  <a:pt x="544152" y="872326"/>
                </a:cubicBezTo>
                <a:cubicBezTo>
                  <a:pt x="566124" y="875131"/>
                  <a:pt x="595576" y="875131"/>
                  <a:pt x="611470" y="877936"/>
                </a:cubicBezTo>
                <a:cubicBezTo>
                  <a:pt x="627365" y="880741"/>
                  <a:pt x="626897" y="881675"/>
                  <a:pt x="639519" y="889155"/>
                </a:cubicBezTo>
                <a:cubicBezTo>
                  <a:pt x="652141" y="896635"/>
                  <a:pt x="674580" y="914399"/>
                  <a:pt x="687202" y="922814"/>
                </a:cubicBezTo>
                <a:cubicBezTo>
                  <a:pt x="699824" y="931229"/>
                  <a:pt x="707304" y="936372"/>
                  <a:pt x="715251" y="939644"/>
                </a:cubicBezTo>
                <a:cubicBezTo>
                  <a:pt x="723198" y="942917"/>
                  <a:pt x="729276" y="941982"/>
                  <a:pt x="734886" y="942449"/>
                </a:cubicBezTo>
                <a:cubicBezTo>
                  <a:pt x="740496" y="942916"/>
                  <a:pt x="742366" y="938709"/>
                  <a:pt x="748910" y="942449"/>
                </a:cubicBezTo>
                <a:cubicBezTo>
                  <a:pt x="755454" y="946189"/>
                  <a:pt x="766674" y="957876"/>
                  <a:pt x="774154" y="964888"/>
                </a:cubicBezTo>
                <a:cubicBezTo>
                  <a:pt x="781634" y="971900"/>
                  <a:pt x="787244" y="979847"/>
                  <a:pt x="793789" y="984522"/>
                </a:cubicBezTo>
                <a:cubicBezTo>
                  <a:pt x="800334" y="989197"/>
                  <a:pt x="813423" y="992937"/>
                  <a:pt x="813423" y="992937"/>
                </a:cubicBezTo>
                <a:cubicBezTo>
                  <a:pt x="817630" y="994807"/>
                  <a:pt x="818331" y="995274"/>
                  <a:pt x="819033" y="995742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2" name="Блок-схема: узел 231"/>
          <p:cNvSpPr/>
          <p:nvPr/>
        </p:nvSpPr>
        <p:spPr>
          <a:xfrm>
            <a:off x="6421714" y="3871845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5" name="Блок-схема: узел 224"/>
          <p:cNvSpPr/>
          <p:nvPr/>
        </p:nvSpPr>
        <p:spPr>
          <a:xfrm>
            <a:off x="6884506" y="4825536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7" name="Полилиния 236"/>
          <p:cNvSpPr/>
          <p:nvPr/>
        </p:nvSpPr>
        <p:spPr>
          <a:xfrm>
            <a:off x="6198847" y="5161031"/>
            <a:ext cx="14024" cy="129025"/>
          </a:xfrm>
          <a:custGeom>
            <a:avLst/>
            <a:gdLst>
              <a:gd name="connsiteX0" fmla="*/ 14024 w 14024"/>
              <a:gd name="connsiteY0" fmla="*/ 0 h 129025"/>
              <a:gd name="connsiteX1" fmla="*/ 0 w 14024"/>
              <a:gd name="connsiteY1" fmla="*/ 129025 h 129025"/>
              <a:gd name="connsiteX2" fmla="*/ 0 w 14024"/>
              <a:gd name="connsiteY2" fmla="*/ 129025 h 129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24" h="129025">
                <a:moveTo>
                  <a:pt x="14024" y="0"/>
                </a:moveTo>
                <a:lnTo>
                  <a:pt x="0" y="129025"/>
                </a:lnTo>
                <a:lnTo>
                  <a:pt x="0" y="129025"/>
                </a:lnTo>
              </a:path>
            </a:pathLst>
          </a:custGeom>
          <a:noFill/>
          <a:ln w="7620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8" name="Полилиния 237"/>
          <p:cNvSpPr/>
          <p:nvPr/>
        </p:nvSpPr>
        <p:spPr>
          <a:xfrm>
            <a:off x="6200415" y="5164766"/>
            <a:ext cx="12749" cy="129025"/>
          </a:xfrm>
          <a:custGeom>
            <a:avLst/>
            <a:gdLst>
              <a:gd name="connsiteX0" fmla="*/ 14024 w 14024"/>
              <a:gd name="connsiteY0" fmla="*/ 0 h 129025"/>
              <a:gd name="connsiteX1" fmla="*/ 0 w 14024"/>
              <a:gd name="connsiteY1" fmla="*/ 129025 h 129025"/>
              <a:gd name="connsiteX2" fmla="*/ 0 w 14024"/>
              <a:gd name="connsiteY2" fmla="*/ 129025 h 129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24" h="129025">
                <a:moveTo>
                  <a:pt x="14024" y="0"/>
                </a:moveTo>
                <a:lnTo>
                  <a:pt x="0" y="129025"/>
                </a:lnTo>
                <a:lnTo>
                  <a:pt x="0" y="129025"/>
                </a:ln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олилиния 49"/>
          <p:cNvSpPr/>
          <p:nvPr/>
        </p:nvSpPr>
        <p:spPr>
          <a:xfrm>
            <a:off x="5299638" y="5116133"/>
            <a:ext cx="1150944" cy="416600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олилиния 50"/>
          <p:cNvSpPr/>
          <p:nvPr/>
        </p:nvSpPr>
        <p:spPr>
          <a:xfrm>
            <a:off x="5302484" y="5112236"/>
            <a:ext cx="1150944" cy="416600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олилиния 51"/>
          <p:cNvSpPr/>
          <p:nvPr/>
        </p:nvSpPr>
        <p:spPr>
          <a:xfrm>
            <a:off x="5300267" y="5139323"/>
            <a:ext cx="1150944" cy="416600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олилиния 52"/>
          <p:cNvSpPr/>
          <p:nvPr/>
        </p:nvSpPr>
        <p:spPr>
          <a:xfrm>
            <a:off x="5303022" y="5092492"/>
            <a:ext cx="1150944" cy="416600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Блок-схема: узел 47"/>
          <p:cNvSpPr/>
          <p:nvPr/>
        </p:nvSpPr>
        <p:spPr>
          <a:xfrm>
            <a:off x="5229611" y="5495385"/>
            <a:ext cx="91399" cy="87283"/>
          </a:xfrm>
          <a:prstGeom prst="flowChartConnector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2" name="Полилиния 241"/>
          <p:cNvSpPr/>
          <p:nvPr/>
        </p:nvSpPr>
        <p:spPr>
          <a:xfrm>
            <a:off x="6226896" y="5166641"/>
            <a:ext cx="8415" cy="72927"/>
          </a:xfrm>
          <a:custGeom>
            <a:avLst/>
            <a:gdLst>
              <a:gd name="connsiteX0" fmla="*/ 8415 w 8415"/>
              <a:gd name="connsiteY0" fmla="*/ 0 h 72927"/>
              <a:gd name="connsiteX1" fmla="*/ 0 w 8415"/>
              <a:gd name="connsiteY1" fmla="*/ 72927 h 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15" h="72927">
                <a:moveTo>
                  <a:pt x="8415" y="0"/>
                </a:moveTo>
                <a:lnTo>
                  <a:pt x="0" y="72927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3" name="Полилиния 242"/>
          <p:cNvSpPr/>
          <p:nvPr/>
        </p:nvSpPr>
        <p:spPr>
          <a:xfrm>
            <a:off x="6187627" y="5155421"/>
            <a:ext cx="5610" cy="103781"/>
          </a:xfrm>
          <a:custGeom>
            <a:avLst/>
            <a:gdLst>
              <a:gd name="connsiteX0" fmla="*/ 5610 w 5610"/>
              <a:gd name="connsiteY0" fmla="*/ 0 h 103781"/>
              <a:gd name="connsiteX1" fmla="*/ 0 w 5610"/>
              <a:gd name="connsiteY1" fmla="*/ 103781 h 103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610" h="103781">
                <a:moveTo>
                  <a:pt x="5610" y="0"/>
                </a:moveTo>
                <a:lnTo>
                  <a:pt x="0" y="103781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1" name="Блок-схема: узел 220"/>
          <p:cNvSpPr/>
          <p:nvPr/>
        </p:nvSpPr>
        <p:spPr>
          <a:xfrm>
            <a:off x="6161680" y="5260403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4" name="Блок-схема: узел 243"/>
          <p:cNvSpPr/>
          <p:nvPr/>
        </p:nvSpPr>
        <p:spPr>
          <a:xfrm>
            <a:off x="5698440" y="5284742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5" name="Полилиния 244"/>
          <p:cNvSpPr/>
          <p:nvPr/>
        </p:nvSpPr>
        <p:spPr>
          <a:xfrm>
            <a:off x="6210066" y="4597244"/>
            <a:ext cx="108888" cy="572201"/>
          </a:xfrm>
          <a:custGeom>
            <a:avLst/>
            <a:gdLst>
              <a:gd name="connsiteX0" fmla="*/ 98172 w 108888"/>
              <a:gd name="connsiteY0" fmla="*/ 0 h 572201"/>
              <a:gd name="connsiteX1" fmla="*/ 95367 w 108888"/>
              <a:gd name="connsiteY1" fmla="*/ 84147 h 572201"/>
              <a:gd name="connsiteX2" fmla="*/ 100977 w 108888"/>
              <a:gd name="connsiteY2" fmla="*/ 123416 h 572201"/>
              <a:gd name="connsiteX3" fmla="*/ 106587 w 108888"/>
              <a:gd name="connsiteY3" fmla="*/ 168294 h 572201"/>
              <a:gd name="connsiteX4" fmla="*/ 106587 w 108888"/>
              <a:gd name="connsiteY4" fmla="*/ 193539 h 572201"/>
              <a:gd name="connsiteX5" fmla="*/ 78537 w 108888"/>
              <a:gd name="connsiteY5" fmla="*/ 227198 h 572201"/>
              <a:gd name="connsiteX6" fmla="*/ 67318 w 108888"/>
              <a:gd name="connsiteY6" fmla="*/ 241222 h 572201"/>
              <a:gd name="connsiteX7" fmla="*/ 30854 w 108888"/>
              <a:gd name="connsiteY7" fmla="*/ 266466 h 572201"/>
              <a:gd name="connsiteX8" fmla="*/ 14025 w 108888"/>
              <a:gd name="connsiteY8" fmla="*/ 274881 h 572201"/>
              <a:gd name="connsiteX9" fmla="*/ 33659 w 108888"/>
              <a:gd name="connsiteY9" fmla="*/ 297320 h 572201"/>
              <a:gd name="connsiteX10" fmla="*/ 56098 w 108888"/>
              <a:gd name="connsiteY10" fmla="*/ 325369 h 572201"/>
              <a:gd name="connsiteX11" fmla="*/ 78537 w 108888"/>
              <a:gd name="connsiteY11" fmla="*/ 350613 h 572201"/>
              <a:gd name="connsiteX12" fmla="*/ 89757 w 108888"/>
              <a:gd name="connsiteY12" fmla="*/ 375858 h 572201"/>
              <a:gd name="connsiteX13" fmla="*/ 89757 w 108888"/>
              <a:gd name="connsiteY13" fmla="*/ 406712 h 572201"/>
              <a:gd name="connsiteX14" fmla="*/ 89757 w 108888"/>
              <a:gd name="connsiteY14" fmla="*/ 440371 h 572201"/>
              <a:gd name="connsiteX15" fmla="*/ 84147 w 108888"/>
              <a:gd name="connsiteY15" fmla="*/ 476834 h 572201"/>
              <a:gd name="connsiteX16" fmla="*/ 78537 w 108888"/>
              <a:gd name="connsiteY16" fmla="*/ 499274 h 572201"/>
              <a:gd name="connsiteX17" fmla="*/ 50488 w 108888"/>
              <a:gd name="connsiteY17" fmla="*/ 532933 h 572201"/>
              <a:gd name="connsiteX18" fmla="*/ 44879 w 108888"/>
              <a:gd name="connsiteY18" fmla="*/ 546957 h 572201"/>
              <a:gd name="connsiteX19" fmla="*/ 8415 w 108888"/>
              <a:gd name="connsiteY19" fmla="*/ 552567 h 572201"/>
              <a:gd name="connsiteX20" fmla="*/ 0 w 108888"/>
              <a:gd name="connsiteY20" fmla="*/ 572201 h 572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8888" h="572201">
                <a:moveTo>
                  <a:pt x="98172" y="0"/>
                </a:moveTo>
                <a:cubicBezTo>
                  <a:pt x="96535" y="31789"/>
                  <a:pt x="94899" y="63578"/>
                  <a:pt x="95367" y="84147"/>
                </a:cubicBezTo>
                <a:cubicBezTo>
                  <a:pt x="95835" y="104716"/>
                  <a:pt x="99107" y="109392"/>
                  <a:pt x="100977" y="123416"/>
                </a:cubicBezTo>
                <a:cubicBezTo>
                  <a:pt x="102847" y="137440"/>
                  <a:pt x="105652" y="156607"/>
                  <a:pt x="106587" y="168294"/>
                </a:cubicBezTo>
                <a:cubicBezTo>
                  <a:pt x="107522" y="179981"/>
                  <a:pt x="111262" y="183722"/>
                  <a:pt x="106587" y="193539"/>
                </a:cubicBezTo>
                <a:cubicBezTo>
                  <a:pt x="101912" y="203356"/>
                  <a:pt x="85082" y="219251"/>
                  <a:pt x="78537" y="227198"/>
                </a:cubicBezTo>
                <a:cubicBezTo>
                  <a:pt x="71992" y="235145"/>
                  <a:pt x="75265" y="234677"/>
                  <a:pt x="67318" y="241222"/>
                </a:cubicBezTo>
                <a:cubicBezTo>
                  <a:pt x="59371" y="247767"/>
                  <a:pt x="39736" y="260856"/>
                  <a:pt x="30854" y="266466"/>
                </a:cubicBezTo>
                <a:cubicBezTo>
                  <a:pt x="21972" y="272076"/>
                  <a:pt x="13557" y="269739"/>
                  <a:pt x="14025" y="274881"/>
                </a:cubicBezTo>
                <a:cubicBezTo>
                  <a:pt x="14492" y="280023"/>
                  <a:pt x="26647" y="288905"/>
                  <a:pt x="33659" y="297320"/>
                </a:cubicBezTo>
                <a:cubicBezTo>
                  <a:pt x="40671" y="305735"/>
                  <a:pt x="48618" y="316487"/>
                  <a:pt x="56098" y="325369"/>
                </a:cubicBezTo>
                <a:cubicBezTo>
                  <a:pt x="63578" y="334251"/>
                  <a:pt x="72927" y="342198"/>
                  <a:pt x="78537" y="350613"/>
                </a:cubicBezTo>
                <a:cubicBezTo>
                  <a:pt x="84147" y="359028"/>
                  <a:pt x="87887" y="366508"/>
                  <a:pt x="89757" y="375858"/>
                </a:cubicBezTo>
                <a:cubicBezTo>
                  <a:pt x="91627" y="385208"/>
                  <a:pt x="89757" y="406712"/>
                  <a:pt x="89757" y="406712"/>
                </a:cubicBezTo>
                <a:cubicBezTo>
                  <a:pt x="89757" y="417464"/>
                  <a:pt x="90692" y="428684"/>
                  <a:pt x="89757" y="440371"/>
                </a:cubicBezTo>
                <a:cubicBezTo>
                  <a:pt x="88822" y="452058"/>
                  <a:pt x="86017" y="467017"/>
                  <a:pt x="84147" y="476834"/>
                </a:cubicBezTo>
                <a:cubicBezTo>
                  <a:pt x="82277" y="486651"/>
                  <a:pt x="84147" y="489924"/>
                  <a:pt x="78537" y="499274"/>
                </a:cubicBezTo>
                <a:cubicBezTo>
                  <a:pt x="72927" y="508624"/>
                  <a:pt x="56098" y="524986"/>
                  <a:pt x="50488" y="532933"/>
                </a:cubicBezTo>
                <a:cubicBezTo>
                  <a:pt x="44878" y="540880"/>
                  <a:pt x="51891" y="543685"/>
                  <a:pt x="44879" y="546957"/>
                </a:cubicBezTo>
                <a:cubicBezTo>
                  <a:pt x="37867" y="550229"/>
                  <a:pt x="15895" y="548360"/>
                  <a:pt x="8415" y="552567"/>
                </a:cubicBezTo>
                <a:cubicBezTo>
                  <a:pt x="935" y="556774"/>
                  <a:pt x="467" y="564487"/>
                  <a:pt x="0" y="572201"/>
                </a:cubicBezTo>
              </a:path>
            </a:pathLst>
          </a:custGeom>
          <a:noFill/>
          <a:ln w="57150">
            <a:solidFill>
              <a:srgbClr val="0045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6" name="Полилиния 245"/>
          <p:cNvSpPr/>
          <p:nvPr/>
        </p:nvSpPr>
        <p:spPr>
          <a:xfrm>
            <a:off x="6210066" y="4608464"/>
            <a:ext cx="107149" cy="572201"/>
          </a:xfrm>
          <a:custGeom>
            <a:avLst/>
            <a:gdLst>
              <a:gd name="connsiteX0" fmla="*/ 95367 w 107149"/>
              <a:gd name="connsiteY0" fmla="*/ 0 h 572201"/>
              <a:gd name="connsiteX1" fmla="*/ 98172 w 107149"/>
              <a:gd name="connsiteY1" fmla="*/ 103781 h 572201"/>
              <a:gd name="connsiteX2" fmla="*/ 103782 w 107149"/>
              <a:gd name="connsiteY2" fmla="*/ 143050 h 572201"/>
              <a:gd name="connsiteX3" fmla="*/ 106587 w 107149"/>
              <a:gd name="connsiteY3" fmla="*/ 171099 h 572201"/>
              <a:gd name="connsiteX4" fmla="*/ 92562 w 107149"/>
              <a:gd name="connsiteY4" fmla="*/ 193538 h 572201"/>
              <a:gd name="connsiteX5" fmla="*/ 72928 w 107149"/>
              <a:gd name="connsiteY5" fmla="*/ 224392 h 572201"/>
              <a:gd name="connsiteX6" fmla="*/ 33659 w 107149"/>
              <a:gd name="connsiteY6" fmla="*/ 249637 h 572201"/>
              <a:gd name="connsiteX7" fmla="*/ 16830 w 107149"/>
              <a:gd name="connsiteY7" fmla="*/ 263661 h 572201"/>
              <a:gd name="connsiteX8" fmla="*/ 36464 w 107149"/>
              <a:gd name="connsiteY8" fmla="*/ 291710 h 572201"/>
              <a:gd name="connsiteX9" fmla="*/ 67318 w 107149"/>
              <a:gd name="connsiteY9" fmla="*/ 333784 h 572201"/>
              <a:gd name="connsiteX10" fmla="*/ 86952 w 107149"/>
              <a:gd name="connsiteY10" fmla="*/ 387077 h 572201"/>
              <a:gd name="connsiteX11" fmla="*/ 92562 w 107149"/>
              <a:gd name="connsiteY11" fmla="*/ 437565 h 572201"/>
              <a:gd name="connsiteX12" fmla="*/ 84147 w 107149"/>
              <a:gd name="connsiteY12" fmla="*/ 485249 h 572201"/>
              <a:gd name="connsiteX13" fmla="*/ 56098 w 107149"/>
              <a:gd name="connsiteY13" fmla="*/ 513298 h 572201"/>
              <a:gd name="connsiteX14" fmla="*/ 33659 w 107149"/>
              <a:gd name="connsiteY14" fmla="*/ 527323 h 572201"/>
              <a:gd name="connsiteX15" fmla="*/ 11220 w 107149"/>
              <a:gd name="connsiteY15" fmla="*/ 549762 h 572201"/>
              <a:gd name="connsiteX16" fmla="*/ 2805 w 107149"/>
              <a:gd name="connsiteY16" fmla="*/ 566591 h 572201"/>
              <a:gd name="connsiteX17" fmla="*/ 0 w 107149"/>
              <a:gd name="connsiteY17" fmla="*/ 572201 h 572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7149" h="572201">
                <a:moveTo>
                  <a:pt x="95367" y="0"/>
                </a:moveTo>
                <a:cubicBezTo>
                  <a:pt x="96068" y="39969"/>
                  <a:pt x="96770" y="79939"/>
                  <a:pt x="98172" y="103781"/>
                </a:cubicBezTo>
                <a:cubicBezTo>
                  <a:pt x="99574" y="127623"/>
                  <a:pt x="102380" y="131830"/>
                  <a:pt x="103782" y="143050"/>
                </a:cubicBezTo>
                <a:cubicBezTo>
                  <a:pt x="105185" y="154270"/>
                  <a:pt x="108457" y="162684"/>
                  <a:pt x="106587" y="171099"/>
                </a:cubicBezTo>
                <a:cubicBezTo>
                  <a:pt x="104717" y="179514"/>
                  <a:pt x="98172" y="184656"/>
                  <a:pt x="92562" y="193538"/>
                </a:cubicBezTo>
                <a:cubicBezTo>
                  <a:pt x="86952" y="202420"/>
                  <a:pt x="82745" y="215042"/>
                  <a:pt x="72928" y="224392"/>
                </a:cubicBezTo>
                <a:cubicBezTo>
                  <a:pt x="63111" y="233742"/>
                  <a:pt x="43009" y="243092"/>
                  <a:pt x="33659" y="249637"/>
                </a:cubicBezTo>
                <a:cubicBezTo>
                  <a:pt x="24309" y="256182"/>
                  <a:pt x="16363" y="256649"/>
                  <a:pt x="16830" y="263661"/>
                </a:cubicBezTo>
                <a:cubicBezTo>
                  <a:pt x="17297" y="270673"/>
                  <a:pt x="28049" y="280023"/>
                  <a:pt x="36464" y="291710"/>
                </a:cubicBezTo>
                <a:cubicBezTo>
                  <a:pt x="44879" y="303397"/>
                  <a:pt x="58903" y="317889"/>
                  <a:pt x="67318" y="333784"/>
                </a:cubicBezTo>
                <a:cubicBezTo>
                  <a:pt x="75733" y="349679"/>
                  <a:pt x="82745" y="369780"/>
                  <a:pt x="86952" y="387077"/>
                </a:cubicBezTo>
                <a:cubicBezTo>
                  <a:pt x="91159" y="404374"/>
                  <a:pt x="93029" y="421203"/>
                  <a:pt x="92562" y="437565"/>
                </a:cubicBezTo>
                <a:cubicBezTo>
                  <a:pt x="92094" y="453927"/>
                  <a:pt x="90224" y="472627"/>
                  <a:pt x="84147" y="485249"/>
                </a:cubicBezTo>
                <a:cubicBezTo>
                  <a:pt x="78070" y="497871"/>
                  <a:pt x="64512" y="506286"/>
                  <a:pt x="56098" y="513298"/>
                </a:cubicBezTo>
                <a:cubicBezTo>
                  <a:pt x="47684" y="520310"/>
                  <a:pt x="41139" y="521246"/>
                  <a:pt x="33659" y="527323"/>
                </a:cubicBezTo>
                <a:cubicBezTo>
                  <a:pt x="26179" y="533400"/>
                  <a:pt x="16362" y="543217"/>
                  <a:pt x="11220" y="549762"/>
                </a:cubicBezTo>
                <a:cubicBezTo>
                  <a:pt x="6078" y="556307"/>
                  <a:pt x="2805" y="566591"/>
                  <a:pt x="2805" y="566591"/>
                </a:cubicBezTo>
                <a:lnTo>
                  <a:pt x="0" y="572201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4" name="Блок-схема: узел 223"/>
          <p:cNvSpPr/>
          <p:nvPr/>
        </p:nvSpPr>
        <p:spPr>
          <a:xfrm>
            <a:off x="6287648" y="4546115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7" name="Блок-схема: узел 246"/>
          <p:cNvSpPr/>
          <p:nvPr/>
        </p:nvSpPr>
        <p:spPr>
          <a:xfrm>
            <a:off x="1948330" y="4447459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8" name="Блок-схема: узел 247"/>
          <p:cNvSpPr/>
          <p:nvPr/>
        </p:nvSpPr>
        <p:spPr>
          <a:xfrm>
            <a:off x="8245559" y="3633783"/>
            <a:ext cx="74333" cy="70655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7" name="AutoShape 19"/>
          <p:cNvSpPr>
            <a:spLocks noChangeArrowheads="1"/>
          </p:cNvSpPr>
          <p:nvPr/>
        </p:nvSpPr>
        <p:spPr bwMode="auto">
          <a:xfrm>
            <a:off x="1948330" y="2896169"/>
            <a:ext cx="499526" cy="9593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андыагаш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188" name="AutoShape 19"/>
          <p:cNvSpPr>
            <a:spLocks noChangeArrowheads="1"/>
          </p:cNvSpPr>
          <p:nvPr/>
        </p:nvSpPr>
        <p:spPr bwMode="auto">
          <a:xfrm>
            <a:off x="2630004" y="2568515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ктобе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189" name="AutoShape 19"/>
          <p:cNvSpPr>
            <a:spLocks noChangeArrowheads="1"/>
          </p:cNvSpPr>
          <p:nvPr/>
        </p:nvSpPr>
        <p:spPr bwMode="auto">
          <a:xfrm>
            <a:off x="2172800" y="2320579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Мартук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190" name="AutoShape 19"/>
          <p:cNvSpPr>
            <a:spLocks noChangeArrowheads="1"/>
          </p:cNvSpPr>
          <p:nvPr/>
        </p:nvSpPr>
        <p:spPr bwMode="auto">
          <a:xfrm>
            <a:off x="1460071" y="2108001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Уральск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195" name="AutoShape 19"/>
          <p:cNvSpPr>
            <a:spLocks noChangeArrowheads="1"/>
          </p:cNvSpPr>
          <p:nvPr/>
        </p:nvSpPr>
        <p:spPr bwMode="auto">
          <a:xfrm>
            <a:off x="613778" y="2145476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kk-KZ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аменка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23" name="AutoShape 19"/>
          <p:cNvSpPr>
            <a:spLocks noChangeArrowheads="1"/>
          </p:cNvSpPr>
          <p:nvPr/>
        </p:nvSpPr>
        <p:spPr bwMode="auto">
          <a:xfrm>
            <a:off x="1007364" y="3576544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тыра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26" name="AutoShape 19"/>
          <p:cNvSpPr>
            <a:spLocks noChangeArrowheads="1"/>
          </p:cNvSpPr>
          <p:nvPr/>
        </p:nvSpPr>
        <p:spPr bwMode="auto">
          <a:xfrm>
            <a:off x="1678135" y="3428370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Доссор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28" name="AutoShape 19"/>
          <p:cNvSpPr>
            <a:spLocks noChangeArrowheads="1"/>
          </p:cNvSpPr>
          <p:nvPr/>
        </p:nvSpPr>
        <p:spPr bwMode="auto">
          <a:xfrm>
            <a:off x="1882841" y="4153881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Бейне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30" name="AutoShape 19"/>
          <p:cNvSpPr>
            <a:spLocks noChangeArrowheads="1"/>
          </p:cNvSpPr>
          <p:nvPr/>
        </p:nvSpPr>
        <p:spPr bwMode="auto">
          <a:xfrm>
            <a:off x="561602" y="4438151"/>
            <a:ext cx="30297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кта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33" name="AutoShape 19"/>
          <p:cNvSpPr>
            <a:spLocks noChangeArrowheads="1"/>
          </p:cNvSpPr>
          <p:nvPr/>
        </p:nvSpPr>
        <p:spPr bwMode="auto">
          <a:xfrm>
            <a:off x="1011959" y="4341509"/>
            <a:ext cx="322851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Шетпе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34" name="AutoShape 19"/>
          <p:cNvSpPr>
            <a:spLocks noChangeArrowheads="1"/>
          </p:cNvSpPr>
          <p:nvPr/>
        </p:nvSpPr>
        <p:spPr bwMode="auto">
          <a:xfrm>
            <a:off x="542925" y="4780694"/>
            <a:ext cx="4019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Жетыбай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35" name="AutoShape 19"/>
          <p:cNvSpPr>
            <a:spLocks noChangeArrowheads="1"/>
          </p:cNvSpPr>
          <p:nvPr/>
        </p:nvSpPr>
        <p:spPr bwMode="auto">
          <a:xfrm>
            <a:off x="1198408" y="4838817"/>
            <a:ext cx="43477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Жанаозен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36" name="AutoShape 19"/>
          <p:cNvSpPr>
            <a:spLocks noChangeArrowheads="1"/>
          </p:cNvSpPr>
          <p:nvPr/>
        </p:nvSpPr>
        <p:spPr bwMode="auto">
          <a:xfrm>
            <a:off x="1795834" y="4542308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кжигит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39" name="AutoShape 19"/>
          <p:cNvSpPr>
            <a:spLocks noChangeArrowheads="1"/>
          </p:cNvSpPr>
          <p:nvPr/>
        </p:nvSpPr>
        <p:spPr bwMode="auto">
          <a:xfrm>
            <a:off x="3390363" y="3309075"/>
            <a:ext cx="317199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Иргиз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40" name="AutoShape 19"/>
          <p:cNvSpPr>
            <a:spLocks noChangeArrowheads="1"/>
          </p:cNvSpPr>
          <p:nvPr/>
        </p:nvSpPr>
        <p:spPr bwMode="auto">
          <a:xfrm>
            <a:off x="4254719" y="4507350"/>
            <a:ext cx="51514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ызылорда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41" name="AutoShape 19"/>
          <p:cNvSpPr>
            <a:spLocks noChangeArrowheads="1"/>
          </p:cNvSpPr>
          <p:nvPr/>
        </p:nvSpPr>
        <p:spPr bwMode="auto">
          <a:xfrm>
            <a:off x="4733584" y="5495385"/>
            <a:ext cx="438949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Шымкент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49" name="AutoShape 19"/>
          <p:cNvSpPr>
            <a:spLocks noChangeArrowheads="1"/>
          </p:cNvSpPr>
          <p:nvPr/>
        </p:nvSpPr>
        <p:spPr bwMode="auto">
          <a:xfrm>
            <a:off x="5418743" y="5142838"/>
            <a:ext cx="312373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Тараз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0" name="AutoShape 19"/>
          <p:cNvSpPr>
            <a:spLocks noChangeArrowheads="1"/>
          </p:cNvSpPr>
          <p:nvPr/>
        </p:nvSpPr>
        <p:spPr bwMode="auto">
          <a:xfrm>
            <a:off x="6057900" y="5359155"/>
            <a:ext cx="312373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Мерке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1" name="AutoShape 19"/>
          <p:cNvSpPr>
            <a:spLocks noChangeArrowheads="1"/>
          </p:cNvSpPr>
          <p:nvPr/>
        </p:nvSpPr>
        <p:spPr bwMode="auto">
          <a:xfrm>
            <a:off x="7017709" y="5138900"/>
            <a:ext cx="3899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лматы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2" name="AutoShape 19"/>
          <p:cNvSpPr>
            <a:spLocks noChangeArrowheads="1"/>
          </p:cNvSpPr>
          <p:nvPr/>
        </p:nvSpPr>
        <p:spPr bwMode="auto">
          <a:xfrm>
            <a:off x="5683906" y="4556299"/>
            <a:ext cx="55333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Бурылбайтал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3" name="AutoShape 19"/>
          <p:cNvSpPr>
            <a:spLocks noChangeArrowheads="1"/>
          </p:cNvSpPr>
          <p:nvPr/>
        </p:nvSpPr>
        <p:spPr bwMode="auto">
          <a:xfrm>
            <a:off x="6003925" y="3780512"/>
            <a:ext cx="38648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Балхаш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4" name="AutoShape 19"/>
          <p:cNvSpPr>
            <a:spLocks noChangeArrowheads="1"/>
          </p:cNvSpPr>
          <p:nvPr/>
        </p:nvSpPr>
        <p:spPr bwMode="auto">
          <a:xfrm>
            <a:off x="7729263" y="4403911"/>
            <a:ext cx="33506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Хоргос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5" name="AutoShape 19"/>
          <p:cNvSpPr>
            <a:spLocks noChangeArrowheads="1"/>
          </p:cNvSpPr>
          <p:nvPr/>
        </p:nvSpPr>
        <p:spPr bwMode="auto">
          <a:xfrm>
            <a:off x="6709829" y="4383211"/>
            <a:ext cx="543801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Талдыкорган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6" name="AutoShape 19"/>
          <p:cNvSpPr>
            <a:spLocks noChangeArrowheads="1"/>
          </p:cNvSpPr>
          <p:nvPr/>
        </p:nvSpPr>
        <p:spPr bwMode="auto">
          <a:xfrm>
            <a:off x="6546850" y="4858562"/>
            <a:ext cx="295643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урты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7" name="AutoShape 19"/>
          <p:cNvSpPr>
            <a:spLocks noChangeArrowheads="1"/>
          </p:cNvSpPr>
          <p:nvPr/>
        </p:nvSpPr>
        <p:spPr bwMode="auto">
          <a:xfrm>
            <a:off x="7425524" y="3884798"/>
            <a:ext cx="362628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Ушарал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8" name="AutoShape 19"/>
          <p:cNvSpPr>
            <a:spLocks noChangeArrowheads="1"/>
          </p:cNvSpPr>
          <p:nvPr/>
        </p:nvSpPr>
        <p:spPr bwMode="auto">
          <a:xfrm>
            <a:off x="8152361" y="4177097"/>
            <a:ext cx="33506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Достык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59" name="AutoShape 19"/>
          <p:cNvSpPr>
            <a:spLocks noChangeArrowheads="1"/>
          </p:cNvSpPr>
          <p:nvPr/>
        </p:nvSpPr>
        <p:spPr bwMode="auto">
          <a:xfrm>
            <a:off x="7253630" y="3549482"/>
            <a:ext cx="44381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Таскескен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0" name="AutoShape 19"/>
          <p:cNvSpPr>
            <a:spLocks noChangeArrowheads="1"/>
          </p:cNvSpPr>
          <p:nvPr/>
        </p:nvSpPr>
        <p:spPr bwMode="auto">
          <a:xfrm>
            <a:off x="8152361" y="3716898"/>
            <a:ext cx="29105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Бахты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1" name="AutoShape 19"/>
          <p:cNvSpPr>
            <a:spLocks noChangeArrowheads="1"/>
          </p:cNvSpPr>
          <p:nvPr/>
        </p:nvSpPr>
        <p:spPr bwMode="auto">
          <a:xfrm>
            <a:off x="8412825" y="3055482"/>
            <a:ext cx="619459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Майкапшагай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2" name="AutoShape 19"/>
          <p:cNvSpPr>
            <a:spLocks noChangeArrowheads="1"/>
          </p:cNvSpPr>
          <p:nvPr/>
        </p:nvSpPr>
        <p:spPr bwMode="auto">
          <a:xfrm>
            <a:off x="7952916" y="2771077"/>
            <a:ext cx="44381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албата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3" name="AutoShape 19"/>
          <p:cNvSpPr>
            <a:spLocks noChangeArrowheads="1"/>
          </p:cNvSpPr>
          <p:nvPr/>
        </p:nvSpPr>
        <p:spPr bwMode="auto">
          <a:xfrm>
            <a:off x="7616821" y="2396511"/>
            <a:ext cx="77254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Усть-Каменогорск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4" name="AutoShape 19"/>
          <p:cNvSpPr>
            <a:spLocks noChangeArrowheads="1"/>
          </p:cNvSpPr>
          <p:nvPr/>
        </p:nvSpPr>
        <p:spPr bwMode="auto">
          <a:xfrm>
            <a:off x="7006684" y="2571750"/>
            <a:ext cx="386480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Семей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5" name="AutoShape 19"/>
          <p:cNvSpPr>
            <a:spLocks noChangeArrowheads="1"/>
          </p:cNvSpPr>
          <p:nvPr/>
        </p:nvSpPr>
        <p:spPr bwMode="auto">
          <a:xfrm>
            <a:off x="5466549" y="3076496"/>
            <a:ext cx="4678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араганда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6" name="AutoShape 19"/>
          <p:cNvSpPr>
            <a:spLocks noChangeArrowheads="1"/>
          </p:cNvSpPr>
          <p:nvPr/>
        </p:nvSpPr>
        <p:spPr bwMode="auto">
          <a:xfrm>
            <a:off x="5355015" y="2819724"/>
            <a:ext cx="4678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Темирта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7" name="AutoShape 19"/>
          <p:cNvSpPr>
            <a:spLocks noChangeArrowheads="1"/>
          </p:cNvSpPr>
          <p:nvPr/>
        </p:nvSpPr>
        <p:spPr bwMode="auto">
          <a:xfrm>
            <a:off x="5681521" y="2458436"/>
            <a:ext cx="324316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Астана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8" name="AutoShape 19"/>
          <p:cNvSpPr>
            <a:spLocks noChangeArrowheads="1"/>
          </p:cNvSpPr>
          <p:nvPr/>
        </p:nvSpPr>
        <p:spPr bwMode="auto">
          <a:xfrm>
            <a:off x="5326434" y="1879049"/>
            <a:ext cx="404682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Щучинск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69" name="AutoShape 19"/>
          <p:cNvSpPr>
            <a:spLocks noChangeArrowheads="1"/>
          </p:cNvSpPr>
          <p:nvPr/>
        </p:nvSpPr>
        <p:spPr bwMode="auto">
          <a:xfrm>
            <a:off x="4631266" y="1708362"/>
            <a:ext cx="421259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окшетау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70" name="AutoShape 19"/>
          <p:cNvSpPr>
            <a:spLocks noChangeArrowheads="1"/>
          </p:cNvSpPr>
          <p:nvPr/>
        </p:nvSpPr>
        <p:spPr bwMode="auto">
          <a:xfrm>
            <a:off x="4682212" y="2010537"/>
            <a:ext cx="380491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Зеренда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71" name="AutoShape 19"/>
          <p:cNvSpPr>
            <a:spLocks noChangeArrowheads="1"/>
          </p:cNvSpPr>
          <p:nvPr/>
        </p:nvSpPr>
        <p:spPr bwMode="auto">
          <a:xfrm>
            <a:off x="5114948" y="1253968"/>
            <a:ext cx="644975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Петропавловск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72" name="AutoShape 19"/>
          <p:cNvSpPr>
            <a:spLocks noChangeArrowheads="1"/>
          </p:cNvSpPr>
          <p:nvPr/>
        </p:nvSpPr>
        <p:spPr bwMode="auto">
          <a:xfrm>
            <a:off x="4000421" y="1733415"/>
            <a:ext cx="424516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Костанай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74" name="AutoShape 19"/>
          <p:cNvSpPr>
            <a:spLocks noChangeArrowheads="1"/>
          </p:cNvSpPr>
          <p:nvPr/>
        </p:nvSpPr>
        <p:spPr bwMode="auto">
          <a:xfrm>
            <a:off x="3080229" y="2129498"/>
            <a:ext cx="475388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Динисовка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75" name="AutoShape 19"/>
          <p:cNvSpPr>
            <a:spLocks noChangeArrowheads="1"/>
          </p:cNvSpPr>
          <p:nvPr/>
        </p:nvSpPr>
        <p:spPr bwMode="auto">
          <a:xfrm>
            <a:off x="6717273" y="1950627"/>
            <a:ext cx="467814" cy="1098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rPr>
              <a:t>Павлодар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284" name="TextBox 283"/>
          <p:cNvSpPr txBox="1">
            <a:spLocks noChangeArrowheads="1"/>
          </p:cNvSpPr>
          <p:nvPr/>
        </p:nvSpPr>
        <p:spPr bwMode="auto">
          <a:xfrm>
            <a:off x="1184430" y="175644"/>
            <a:ext cx="6757843" cy="306456"/>
          </a:xfrm>
          <a:prstGeom prst="rect">
            <a:avLst/>
          </a:prstGeom>
          <a:solidFill>
            <a:schemeClr val="bg1"/>
          </a:solidFill>
          <a:extLst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1400">
                <a:solidFill>
                  <a:schemeClr val="bg1"/>
                </a:solidFill>
                <a:latin typeface="Impact" pitchFamily="34" charset="0"/>
                <a:ea typeface="+mj-ea"/>
                <a:cs typeface="+mj-cs"/>
              </a:defRPr>
            </a:lvl1pPr>
          </a:lstStyle>
          <a:p>
            <a:r>
              <a:rPr lang="ru-RU" sz="1800" dirty="0" smtClean="0">
                <a:solidFill>
                  <a:schemeClr val="tx1"/>
                </a:solidFill>
                <a:cs typeface="Arial" pitchFamily="34" charset="0"/>
              </a:rPr>
              <a:t>РАЗВИТИЯ ПРИГРАНИЧНЫХ РЕГИОНОВ В </a:t>
            </a:r>
            <a:r>
              <a:rPr lang="ru-RU" sz="1800" dirty="0">
                <a:solidFill>
                  <a:schemeClr val="tx1"/>
                </a:solidFill>
                <a:cs typeface="Arial" pitchFamily="34" charset="0"/>
              </a:rPr>
              <a:t>РАМКАХ НУРЛЫ ЖОЛ</a:t>
            </a:r>
          </a:p>
        </p:txBody>
      </p:sp>
      <p:sp>
        <p:nvSpPr>
          <p:cNvPr id="285" name="Полилиния 284"/>
          <p:cNvSpPr/>
          <p:nvPr/>
        </p:nvSpPr>
        <p:spPr>
          <a:xfrm>
            <a:off x="1299990" y="4487537"/>
            <a:ext cx="183615" cy="84463"/>
          </a:xfrm>
          <a:custGeom>
            <a:avLst/>
            <a:gdLst>
              <a:gd name="connsiteX0" fmla="*/ 0 w 183615"/>
              <a:gd name="connsiteY0" fmla="*/ 84463 h 84463"/>
              <a:gd name="connsiteX1" fmla="*/ 183615 w 183615"/>
              <a:gd name="connsiteY1" fmla="*/ 0 h 84463"/>
              <a:gd name="connsiteX2" fmla="*/ 183615 w 183615"/>
              <a:gd name="connsiteY2" fmla="*/ 0 h 84463"/>
              <a:gd name="connsiteX3" fmla="*/ 183615 w 183615"/>
              <a:gd name="connsiteY3" fmla="*/ 0 h 8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615" h="84463">
                <a:moveTo>
                  <a:pt x="0" y="84463"/>
                </a:moveTo>
                <a:lnTo>
                  <a:pt x="183615" y="0"/>
                </a:lnTo>
                <a:lnTo>
                  <a:pt x="183615" y="0"/>
                </a:lnTo>
                <a:lnTo>
                  <a:pt x="183615" y="0"/>
                </a:ln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6" name="Полилиния 285"/>
          <p:cNvSpPr/>
          <p:nvPr/>
        </p:nvSpPr>
        <p:spPr>
          <a:xfrm>
            <a:off x="1298157" y="4485700"/>
            <a:ext cx="183615" cy="84463"/>
          </a:xfrm>
          <a:custGeom>
            <a:avLst/>
            <a:gdLst>
              <a:gd name="connsiteX0" fmla="*/ 0 w 183615"/>
              <a:gd name="connsiteY0" fmla="*/ 84463 h 84463"/>
              <a:gd name="connsiteX1" fmla="*/ 183615 w 183615"/>
              <a:gd name="connsiteY1" fmla="*/ 0 h 84463"/>
              <a:gd name="connsiteX2" fmla="*/ 183615 w 183615"/>
              <a:gd name="connsiteY2" fmla="*/ 0 h 84463"/>
              <a:gd name="connsiteX3" fmla="*/ 183615 w 183615"/>
              <a:gd name="connsiteY3" fmla="*/ 0 h 8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615" h="84463">
                <a:moveTo>
                  <a:pt x="0" y="84463"/>
                </a:moveTo>
                <a:lnTo>
                  <a:pt x="183615" y="0"/>
                </a:lnTo>
                <a:lnTo>
                  <a:pt x="183615" y="0"/>
                </a:lnTo>
                <a:lnTo>
                  <a:pt x="183615" y="0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3" name="Rectangle 44"/>
          <p:cNvSpPr>
            <a:spLocks noChangeArrowheads="1"/>
          </p:cNvSpPr>
          <p:nvPr/>
        </p:nvSpPr>
        <p:spPr bwMode="auto">
          <a:xfrm>
            <a:off x="6844381" y="5747402"/>
            <a:ext cx="1858973" cy="76827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87782" tIns="144000" rIns="87782" bIns="43891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452438" indent="-1270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b="1" dirty="0" smtClean="0">
                <a:latin typeface="Franklin Gothic Medium Cond" pitchFamily="34" charset="0"/>
                <a:cs typeface="Arial" charset="0"/>
              </a:rPr>
              <a:t>Условные обозначения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ru-RU" altLang="ru-RU" sz="200" dirty="0" smtClean="0">
              <a:solidFill>
                <a:schemeClr val="tx1">
                  <a:lumMod val="65000"/>
                  <a:lumOff val="35000"/>
                </a:schemeClr>
              </a:solidFill>
              <a:latin typeface="Franklin Gothic Medium Cond" pitchFamily="34" charset="0"/>
              <a:cs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Medium Cond" pitchFamily="34" charset="0"/>
                <a:cs typeface="Arial" charset="0"/>
              </a:rPr>
              <a:t>завершено до 2018 года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Medium Cond" pitchFamily="34" charset="0"/>
                <a:cs typeface="Arial" charset="0"/>
              </a:rPr>
              <a:t>о</a:t>
            </a:r>
            <a:r>
              <a:rPr lang="ru-RU" alt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Medium Cond" pitchFamily="34" charset="0"/>
                <a:cs typeface="Arial" charset="0"/>
              </a:rPr>
              <a:t>хват работами в 2018-2020 годы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Medium Cond" pitchFamily="34" charset="0"/>
                <a:cs typeface="Arial" charset="0"/>
              </a:rPr>
              <a:t>о</a:t>
            </a:r>
            <a:r>
              <a:rPr lang="ru-RU" alt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Medium Cond" pitchFamily="34" charset="0"/>
                <a:cs typeface="Arial" charset="0"/>
              </a:rPr>
              <a:t>ткрытие движение в 2018 году</a:t>
            </a:r>
          </a:p>
        </p:txBody>
      </p:sp>
      <p:sp>
        <p:nvSpPr>
          <p:cNvPr id="287" name="Line 45"/>
          <p:cNvSpPr>
            <a:spLocks noChangeShapeType="1"/>
          </p:cNvSpPr>
          <p:nvPr/>
        </p:nvSpPr>
        <p:spPr bwMode="auto">
          <a:xfrm>
            <a:off x="6519260" y="6446739"/>
            <a:ext cx="360000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89" name="Line 45"/>
          <p:cNvSpPr>
            <a:spLocks noChangeShapeType="1"/>
          </p:cNvSpPr>
          <p:nvPr/>
        </p:nvSpPr>
        <p:spPr bwMode="auto">
          <a:xfrm>
            <a:off x="6517806" y="6286921"/>
            <a:ext cx="360000" cy="0"/>
          </a:xfrm>
          <a:prstGeom prst="line">
            <a:avLst/>
          </a:prstGeom>
          <a:noFill/>
          <a:ln w="63500">
            <a:solidFill>
              <a:srgbClr val="0045DE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0" name="Line 45"/>
          <p:cNvSpPr>
            <a:spLocks noChangeShapeType="1"/>
          </p:cNvSpPr>
          <p:nvPr/>
        </p:nvSpPr>
        <p:spPr bwMode="auto">
          <a:xfrm>
            <a:off x="6511149" y="6137547"/>
            <a:ext cx="360000" cy="0"/>
          </a:xfrm>
          <a:prstGeom prst="line">
            <a:avLst/>
          </a:prstGeom>
          <a:noFill/>
          <a:ln w="63500">
            <a:solidFill>
              <a:srgbClr val="00B05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cxnSp>
        <p:nvCxnSpPr>
          <p:cNvPr id="276" name="Прямая со стрелкой 275"/>
          <p:cNvCxnSpPr>
            <a:stCxn id="277" idx="2"/>
            <a:endCxn id="90" idx="4"/>
          </p:cNvCxnSpPr>
          <p:nvPr/>
        </p:nvCxnSpPr>
        <p:spPr>
          <a:xfrm>
            <a:off x="1060832" y="1652631"/>
            <a:ext cx="152018" cy="515894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Скругленный прямоугольник 276"/>
          <p:cNvSpPr/>
          <p:nvPr/>
        </p:nvSpPr>
        <p:spPr bwMode="auto">
          <a:xfrm>
            <a:off x="173334" y="930249"/>
            <a:ext cx="1774995" cy="72238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Уральск-Каменка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</a:rPr>
              <a:t>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- 100 км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РБ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</a:t>
            </a: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7 млрд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тг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</a:t>
            </a:r>
            <a:endParaRPr lang="ru-RU" altLang="ru-RU" sz="900" dirty="0" smtClean="0">
              <a:solidFill>
                <a:srgbClr val="002060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  <a:p>
            <a:pPr algn="just" eaLnBrk="0" hangingPunct="0"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План на 2018 год 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9,5 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</a:rPr>
              <a:t>млрд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</a:rPr>
              <a:t>тг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</a:rPr>
              <a:t>.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реализации: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5-2018 г.</a:t>
            </a:r>
            <a:endParaRPr lang="ru-RU" altLang="ru-RU" sz="900" dirty="0" smtClean="0">
              <a:solidFill>
                <a:srgbClr val="595959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</p:txBody>
      </p:sp>
      <p:cxnSp>
        <p:nvCxnSpPr>
          <p:cNvPr id="280" name="Прямая со стрелкой 279"/>
          <p:cNvCxnSpPr>
            <a:stCxn id="281" idx="3"/>
            <a:endCxn id="181" idx="0"/>
          </p:cNvCxnSpPr>
          <p:nvPr/>
        </p:nvCxnSpPr>
        <p:spPr>
          <a:xfrm>
            <a:off x="4343349" y="962314"/>
            <a:ext cx="591948" cy="336934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Скругленный прямоугольник 280"/>
          <p:cNvSpPr/>
          <p:nvPr/>
        </p:nvSpPr>
        <p:spPr bwMode="auto">
          <a:xfrm>
            <a:off x="2630003" y="597705"/>
            <a:ext cx="1713346" cy="72921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Петропавловск-гр. РФ – 61 км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РБ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</a:t>
            </a: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8,3 млрд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тг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</a:t>
            </a:r>
          </a:p>
          <a:p>
            <a:pPr algn="just" eaLnBrk="0" hangingPunct="0"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План на 2018 год – 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</a:rPr>
              <a:t>12,9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 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</a:rPr>
              <a:t>млрд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</a:rPr>
              <a:t>тг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.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реализации: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7-2019 г.</a:t>
            </a:r>
            <a:endParaRPr lang="ru-RU" altLang="ru-RU" sz="900" dirty="0" smtClean="0">
              <a:solidFill>
                <a:srgbClr val="595959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</p:txBody>
      </p:sp>
      <p:cxnSp>
        <p:nvCxnSpPr>
          <p:cNvPr id="282" name="Прямая со стрелкой 281"/>
          <p:cNvCxnSpPr>
            <a:endCxn id="68" idx="12"/>
          </p:cNvCxnSpPr>
          <p:nvPr/>
        </p:nvCxnSpPr>
        <p:spPr>
          <a:xfrm flipH="1">
            <a:off x="8364938" y="2086967"/>
            <a:ext cx="239510" cy="1160060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Скругленный прямоугольник 287"/>
          <p:cNvSpPr/>
          <p:nvPr/>
        </p:nvSpPr>
        <p:spPr bwMode="auto">
          <a:xfrm>
            <a:off x="7297427" y="1370565"/>
            <a:ext cx="1734857" cy="7852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</a:rPr>
              <a:t>Калбатау-Майкапшагай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 - 415 км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Займ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</a:t>
            </a: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159 млрд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тг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</a:t>
            </a:r>
          </a:p>
          <a:p>
            <a:pPr algn="just" eaLnBrk="0" hangingPunct="0"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План на 2018 год 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3,1 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</a:rPr>
              <a:t>млрд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</a:rPr>
              <a:t>тг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.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реализации: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7-2020 г.</a:t>
            </a:r>
            <a:endParaRPr lang="ru-RU" altLang="ru-RU" sz="900" dirty="0" smtClean="0">
              <a:solidFill>
                <a:srgbClr val="595959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</p:txBody>
      </p:sp>
      <p:cxnSp>
        <p:nvCxnSpPr>
          <p:cNvPr id="291" name="Прямая со стрелкой 290"/>
          <p:cNvCxnSpPr>
            <a:stCxn id="292" idx="0"/>
            <a:endCxn id="80" idx="11"/>
          </p:cNvCxnSpPr>
          <p:nvPr/>
        </p:nvCxnSpPr>
        <p:spPr>
          <a:xfrm flipH="1" flipV="1">
            <a:off x="8010525" y="3975100"/>
            <a:ext cx="206942" cy="1117392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Скругленный прямоугольник 291"/>
          <p:cNvSpPr/>
          <p:nvPr/>
        </p:nvSpPr>
        <p:spPr bwMode="auto">
          <a:xfrm>
            <a:off x="7341513" y="5092492"/>
            <a:ext cx="1751907" cy="75442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Ушарал-Достык - 184 км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РБ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</a:t>
            </a: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47 млрд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тг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</a:t>
            </a:r>
          </a:p>
          <a:p>
            <a:pPr algn="just" eaLnBrk="0" hangingPunct="0"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План на 2018 год – </a:t>
            </a:r>
            <a:r>
              <a:rPr lang="ru-RU" altLang="ru-RU" sz="900" dirty="0" smtClean="0">
                <a:solidFill>
                  <a:schemeClr val="tx2">
                    <a:lumMod val="50000"/>
                  </a:schemeClr>
                </a:solidFill>
                <a:latin typeface="Impact" pitchFamily="34" charset="0"/>
                <a:ea typeface="MS PGothic"/>
                <a:cs typeface="MS PGothic"/>
              </a:rPr>
              <a:t>7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 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</a:rPr>
              <a:t>млрд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</a:rPr>
              <a:t>тг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.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реализации: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7-2020 г.</a:t>
            </a:r>
            <a:endParaRPr lang="ru-RU" altLang="ru-RU" sz="900" dirty="0" smtClean="0">
              <a:solidFill>
                <a:srgbClr val="595959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</p:txBody>
      </p:sp>
      <p:cxnSp>
        <p:nvCxnSpPr>
          <p:cNvPr id="293" name="Прямая со стрелкой 292"/>
          <p:cNvCxnSpPr>
            <a:stCxn id="294" idx="3"/>
            <a:endCxn id="79" idx="0"/>
          </p:cNvCxnSpPr>
          <p:nvPr/>
        </p:nvCxnSpPr>
        <p:spPr>
          <a:xfrm>
            <a:off x="7720348" y="3125432"/>
            <a:ext cx="166352" cy="468668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4" name="Скругленный прямоугольник 293"/>
          <p:cNvSpPr/>
          <p:nvPr/>
        </p:nvSpPr>
        <p:spPr bwMode="auto">
          <a:xfrm>
            <a:off x="5960572" y="2755081"/>
            <a:ext cx="1759776" cy="74070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Таскескен-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</a:rPr>
              <a:t>Бахты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 - 20 км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РБ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</a:t>
            </a: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– 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4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 млрд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тг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</a:t>
            </a:r>
          </a:p>
          <a:p>
            <a:pPr algn="just" eaLnBrk="0" hangingPunct="0"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План на 2018 год 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1,4 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</a:rPr>
              <a:t>млрд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</a:rPr>
              <a:t>тг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.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реализации: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7-2019 г.</a:t>
            </a:r>
            <a:endParaRPr lang="ru-RU" altLang="ru-RU" sz="900" dirty="0" smtClean="0">
              <a:solidFill>
                <a:srgbClr val="595959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</p:txBody>
      </p:sp>
      <p:cxnSp>
        <p:nvCxnSpPr>
          <p:cNvPr id="297" name="Прямая со стрелкой 296"/>
          <p:cNvCxnSpPr>
            <a:stCxn id="298" idx="0"/>
            <a:endCxn id="87" idx="2"/>
          </p:cNvCxnSpPr>
          <p:nvPr/>
        </p:nvCxnSpPr>
        <p:spPr>
          <a:xfrm flipH="1" flipV="1">
            <a:off x="1901825" y="4384675"/>
            <a:ext cx="1166285" cy="731459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Скругленный прямоугольник 297"/>
          <p:cNvSpPr/>
          <p:nvPr/>
        </p:nvSpPr>
        <p:spPr bwMode="auto">
          <a:xfrm>
            <a:off x="2208945" y="5116134"/>
            <a:ext cx="1718330" cy="74403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Бейнеу-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</a:rPr>
              <a:t>Акжигит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 - 85 км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Финансирование 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РБ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Стоимость </a:t>
            </a: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–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,1 млрд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тг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.</a:t>
            </a:r>
          </a:p>
          <a:p>
            <a:pPr algn="just" eaLnBrk="0" hangingPunct="0">
              <a:defRPr/>
            </a:pPr>
            <a:r>
              <a:rPr lang="ru-RU" altLang="ru-RU" sz="900" dirty="0">
                <a:solidFill>
                  <a:srgbClr val="595959"/>
                </a:solidFill>
                <a:latin typeface="Impact" pitchFamily="34" charset="0"/>
                <a:ea typeface="MS PGothic"/>
                <a:cs typeface="MS PGothic"/>
              </a:rPr>
              <a:t>План на 2018 год –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</a:rPr>
              <a:t> 7,9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млрд</a:t>
            </a:r>
            <a:r>
              <a:rPr lang="ru-RU" altLang="ru-RU" sz="900" dirty="0">
                <a:solidFill>
                  <a:srgbClr val="002060"/>
                </a:solidFill>
                <a:latin typeface="Impact" pitchFamily="34" charset="0"/>
              </a:rPr>
              <a:t>. </a:t>
            </a:r>
            <a:r>
              <a:rPr lang="ru-RU" altLang="ru-RU" sz="900" dirty="0" err="1" smtClean="0">
                <a:solidFill>
                  <a:srgbClr val="002060"/>
                </a:solidFill>
                <a:latin typeface="Impact" pitchFamily="34" charset="0"/>
              </a:rPr>
              <a:t>тг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</a:rPr>
              <a:t>.</a:t>
            </a:r>
            <a:endParaRPr lang="ru-RU" altLang="ru-RU" sz="900" dirty="0">
              <a:solidFill>
                <a:srgbClr val="002060"/>
              </a:solidFill>
              <a:latin typeface="Impact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dirty="0" smtClean="0">
                <a:solidFill>
                  <a:srgbClr val="595959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Период реализации: </a:t>
            </a:r>
            <a:r>
              <a:rPr lang="ru-RU" altLang="ru-RU" sz="900" dirty="0" smtClean="0">
                <a:solidFill>
                  <a:srgbClr val="002060"/>
                </a:solidFill>
                <a:latin typeface="Impact" pitchFamily="34" charset="0"/>
                <a:ea typeface="Calibri" pitchFamily="34" charset="0"/>
                <a:cs typeface="Calibri" pitchFamily="34" charset="0"/>
              </a:rPr>
              <a:t>2017-2019 г.</a:t>
            </a:r>
            <a:endParaRPr lang="ru-RU" altLang="ru-RU" sz="900" dirty="0" smtClean="0">
              <a:solidFill>
                <a:srgbClr val="595959"/>
              </a:solidFill>
              <a:latin typeface="Impact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00" name="Номер слайда 14"/>
          <p:cNvSpPr>
            <a:spLocks noGrp="1"/>
          </p:cNvSpPr>
          <p:nvPr>
            <p:ph type="sldNum" sz="quarter" idx="10"/>
          </p:nvPr>
        </p:nvSpPr>
        <p:spPr>
          <a:xfrm>
            <a:off x="8631807" y="6520259"/>
            <a:ext cx="620713" cy="365125"/>
          </a:xfrm>
        </p:spPr>
        <p:txBody>
          <a:bodyPr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  <a:latin typeface="Impact" pitchFamily="34" charset="0"/>
              </a:rPr>
              <a:t>6</a:t>
            </a:r>
          </a:p>
        </p:txBody>
      </p:sp>
      <p:pic>
        <p:nvPicPr>
          <p:cNvPr id="278" name="Picture 69" descr="E:\! WORK\For prezentations\Build\highway_construction_25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21638" y="5762023"/>
            <a:ext cx="108108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9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34887" y="5557175"/>
            <a:ext cx="540000" cy="5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208582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C:\Documents and Settings\tulegenov_e\Рабочий стол\БАКАД\Слайды\Карта Бакад\Карта Бакад______.jpg"/>
          <p:cNvPicPr>
            <a:picLocks noChangeAspect="1" noChangeArrowheads="1"/>
          </p:cNvPicPr>
          <p:nvPr/>
        </p:nvPicPr>
        <p:blipFill rotWithShape="1">
          <a:blip r:embed="rId2"/>
          <a:srcRect t="6378" r="2072" b="30662"/>
          <a:stretch/>
        </p:blipFill>
        <p:spPr bwMode="auto">
          <a:xfrm>
            <a:off x="4045852" y="666750"/>
            <a:ext cx="5048250" cy="4284663"/>
          </a:xfrm>
          <a:prstGeom prst="rect">
            <a:avLst/>
          </a:prstGeom>
          <a:noFill/>
          <a:effectLst>
            <a:outerShdw blurRad="50800" dist="38100" dir="16200000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4450" y="663575"/>
            <a:ext cx="3959225" cy="4284663"/>
          </a:xfrm>
          <a:prstGeom prst="rect">
            <a:avLst/>
          </a:prstGeom>
          <a:ln w="9525"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dk1"/>
              </a:buClr>
              <a:buSzPct val="25000"/>
              <a:defRPr/>
            </a:pPr>
            <a:r>
              <a:rPr lang="ru-RU" sz="1400" b="1" dirty="0">
                <a:solidFill>
                  <a:schemeClr val="tx1"/>
                </a:solidFill>
              </a:rPr>
              <a:t>Протяженность – </a:t>
            </a:r>
            <a:r>
              <a:rPr lang="ru-RU" sz="1400" b="1" dirty="0">
                <a:solidFill>
                  <a:srgbClr val="0070C0"/>
                </a:solidFill>
              </a:rPr>
              <a:t>66 км</a:t>
            </a:r>
          </a:p>
          <a:p>
            <a:pPr>
              <a:buClr>
                <a:schemeClr val="dk1"/>
              </a:buClr>
              <a:buSzPct val="25000"/>
              <a:defRPr/>
            </a:pPr>
            <a:r>
              <a:rPr lang="ru-RU" sz="1400" b="1" i="1" dirty="0">
                <a:solidFill>
                  <a:schemeClr val="tx1"/>
                </a:solidFill>
              </a:rPr>
              <a:t>(1-А категория с 6 полосным движением)</a:t>
            </a:r>
          </a:p>
          <a:p>
            <a:pPr>
              <a:buClr>
                <a:schemeClr val="dk1"/>
              </a:buClr>
              <a:buSzPct val="25000"/>
              <a:defRPr/>
            </a:pPr>
            <a:r>
              <a:rPr lang="ru-RU" sz="1400" b="1" dirty="0">
                <a:solidFill>
                  <a:schemeClr val="tx1"/>
                </a:solidFill>
              </a:rPr>
              <a:t>Прогнозная интенсивность движения до </a:t>
            </a:r>
            <a:br>
              <a:rPr lang="ru-RU" sz="1400" b="1" dirty="0">
                <a:solidFill>
                  <a:schemeClr val="tx1"/>
                </a:solidFill>
              </a:rPr>
            </a:br>
            <a:r>
              <a:rPr lang="ru-RU" sz="1400" b="1" dirty="0">
                <a:solidFill>
                  <a:srgbClr val="0070C0"/>
                </a:solidFill>
              </a:rPr>
              <a:t>38 тыс. АТС/сутки</a:t>
            </a:r>
            <a:endParaRPr lang="en-US" sz="1400" b="1" dirty="0">
              <a:solidFill>
                <a:srgbClr val="0070C0"/>
              </a:solidFill>
            </a:endParaRPr>
          </a:p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  <a:cs typeface="Times New Roman" pitchFamily="18" charset="0"/>
              </a:rPr>
              <a:t>Срок</a:t>
            </a: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  <a:cs typeface="Times New Roman" pitchFamily="18" charset="0"/>
              </a:rPr>
              <a:t>концессии</a:t>
            </a:r>
            <a:r>
              <a:rPr lang="ru-RU" sz="1400" b="1" dirty="0">
                <a:solidFill>
                  <a:schemeClr val="tx1"/>
                </a:solidFill>
              </a:rPr>
              <a:t> – </a:t>
            </a:r>
            <a:r>
              <a:rPr lang="ru-RU" sz="1400" b="1" dirty="0">
                <a:solidFill>
                  <a:srgbClr val="0070C0"/>
                </a:solidFill>
                <a:cs typeface="Times New Roman" pitchFamily="18" charset="0"/>
              </a:rPr>
              <a:t>20 лет</a:t>
            </a:r>
            <a:r>
              <a:rPr lang="ru-RU" sz="1400" b="1" dirty="0">
                <a:solidFill>
                  <a:schemeClr val="bg2"/>
                </a:solidFill>
                <a:cs typeface="Times New Roman" pitchFamily="18" charset="0"/>
              </a:rPr>
              <a:t>: </a:t>
            </a:r>
            <a:endParaRPr lang="en-US" sz="1400" b="1" dirty="0">
              <a:solidFill>
                <a:schemeClr val="bg2"/>
              </a:solidFill>
            </a:endParaRPr>
          </a:p>
          <a:p>
            <a:pPr>
              <a:defRPr/>
            </a:pPr>
            <a:r>
              <a:rPr lang="ru-RU" sz="1400" b="1" i="1" dirty="0">
                <a:solidFill>
                  <a:schemeClr val="tx1"/>
                </a:solidFill>
                <a:cs typeface="Times New Roman" pitchFamily="18" charset="0"/>
              </a:rPr>
              <a:t>Строительство –</a:t>
            </a:r>
            <a:r>
              <a:rPr lang="ru-RU" sz="1400" b="1" i="1" dirty="0">
                <a:solidFill>
                  <a:schemeClr val="bg2"/>
                </a:solidFill>
              </a:rPr>
              <a:t> </a:t>
            </a:r>
            <a:r>
              <a:rPr lang="ru-RU" sz="1400" b="1" i="1" dirty="0">
                <a:solidFill>
                  <a:srgbClr val="0070C0"/>
                </a:solidFill>
                <a:cs typeface="Times New Roman" pitchFamily="18" charset="0"/>
              </a:rPr>
              <a:t>4,5 года (2018-2022)</a:t>
            </a:r>
            <a:r>
              <a:rPr lang="ru-RU" sz="1400" b="1" i="1" dirty="0">
                <a:solidFill>
                  <a:srgbClr val="0070C0"/>
                </a:solidFill>
              </a:rPr>
              <a:t> </a:t>
            </a:r>
          </a:p>
          <a:p>
            <a:pPr>
              <a:defRPr/>
            </a:pPr>
            <a:r>
              <a:rPr lang="ru-RU" sz="1400" b="1" i="1" dirty="0">
                <a:solidFill>
                  <a:schemeClr val="tx1"/>
                </a:solidFill>
                <a:cs typeface="Times New Roman" pitchFamily="18" charset="0"/>
              </a:rPr>
              <a:t>Эксплуатация –</a:t>
            </a:r>
            <a:r>
              <a:rPr lang="ru-RU" sz="1400" b="1" i="1" dirty="0">
                <a:solidFill>
                  <a:schemeClr val="bg2"/>
                </a:solidFill>
              </a:rPr>
              <a:t> </a:t>
            </a:r>
            <a:r>
              <a:rPr lang="ru-RU" sz="1400" b="1" i="1" dirty="0">
                <a:solidFill>
                  <a:srgbClr val="0070C0"/>
                </a:solidFill>
                <a:cs typeface="Times New Roman" pitchFamily="18" charset="0"/>
              </a:rPr>
              <a:t>15,5 года (2022-2037)</a:t>
            </a:r>
            <a:endParaRPr lang="ru-RU" sz="1400" b="1" dirty="0">
              <a:solidFill>
                <a:schemeClr val="bg2"/>
              </a:solidFill>
            </a:endParaRPr>
          </a:p>
          <a:p>
            <a:pPr>
              <a:buClr>
                <a:srgbClr val="000000"/>
              </a:buClr>
              <a:buSzPct val="25000"/>
              <a:defRPr/>
            </a:pPr>
            <a:r>
              <a:rPr lang="ru-RU" sz="1400" b="1" dirty="0">
                <a:solidFill>
                  <a:schemeClr val="tx1"/>
                </a:solidFill>
              </a:rPr>
              <a:t>Стоимость контракта концессии – </a:t>
            </a:r>
            <a:r>
              <a:rPr lang="ru-RU" sz="1400" b="1" dirty="0">
                <a:solidFill>
                  <a:srgbClr val="0070C0"/>
                </a:solidFill>
              </a:rPr>
              <a:t>512 млрд. </a:t>
            </a:r>
            <a:r>
              <a:rPr lang="ru-RU" sz="1400" b="1" dirty="0" err="1">
                <a:solidFill>
                  <a:srgbClr val="0070C0"/>
                </a:solidFill>
              </a:rPr>
              <a:t>тг</a:t>
            </a:r>
            <a:endParaRPr lang="ru-RU" sz="1400" b="1" dirty="0">
              <a:solidFill>
                <a:srgbClr val="0070C0"/>
              </a:solidFill>
            </a:endParaRPr>
          </a:p>
          <a:p>
            <a:pPr>
              <a:buClr>
                <a:srgbClr val="000000"/>
              </a:buClr>
              <a:buSzPct val="25000"/>
              <a:defRPr/>
            </a:pPr>
            <a:r>
              <a:rPr lang="ru-RU" sz="1400" b="1" i="1" dirty="0">
                <a:solidFill>
                  <a:schemeClr val="tx1"/>
                </a:solidFill>
              </a:rPr>
              <a:t>Инвестиционные затраты – </a:t>
            </a:r>
            <a:r>
              <a:rPr lang="ru-RU" sz="1400" b="1" i="1" dirty="0">
                <a:solidFill>
                  <a:srgbClr val="0070C0"/>
                </a:solidFill>
                <a:cs typeface="Times New Roman" pitchFamily="18" charset="0"/>
              </a:rPr>
              <a:t>176,7 млрд. </a:t>
            </a:r>
            <a:r>
              <a:rPr lang="ru-RU" sz="1400" b="1" i="1" dirty="0" err="1">
                <a:solidFill>
                  <a:srgbClr val="0070C0"/>
                </a:solidFill>
                <a:cs typeface="Times New Roman" pitchFamily="18" charset="0"/>
              </a:rPr>
              <a:t>тг</a:t>
            </a:r>
            <a:r>
              <a:rPr lang="ru-RU" sz="1400" b="1" i="1" dirty="0">
                <a:solidFill>
                  <a:srgbClr val="0070C0"/>
                </a:solidFill>
                <a:cs typeface="Times New Roman" pitchFamily="18" charset="0"/>
              </a:rPr>
              <a:t> (СМР – 150 </a:t>
            </a:r>
            <a:r>
              <a:rPr lang="ru-RU" sz="1400" b="1" i="1" dirty="0" err="1">
                <a:solidFill>
                  <a:srgbClr val="0070C0"/>
                </a:solidFill>
                <a:cs typeface="Times New Roman" pitchFamily="18" charset="0"/>
              </a:rPr>
              <a:t>млрд.тг</a:t>
            </a:r>
            <a:r>
              <a:rPr lang="ru-RU" sz="1400" b="1" i="1" dirty="0">
                <a:solidFill>
                  <a:srgbClr val="0070C0"/>
                </a:solidFill>
                <a:cs typeface="Times New Roman" pitchFamily="18" charset="0"/>
              </a:rPr>
              <a:t>.) </a:t>
            </a:r>
          </a:p>
          <a:p>
            <a:pPr>
              <a:buClr>
                <a:srgbClr val="000000"/>
              </a:buClr>
              <a:buSzPct val="25000"/>
              <a:defRPr/>
            </a:pPr>
            <a:r>
              <a:rPr lang="ru-RU" sz="1400" b="1" i="1" dirty="0">
                <a:solidFill>
                  <a:schemeClr val="tx1"/>
                </a:solidFill>
              </a:rPr>
              <a:t>Эксплуатационные затраты – </a:t>
            </a:r>
            <a:r>
              <a:rPr lang="ru-RU" sz="1400" b="1" i="1" dirty="0">
                <a:solidFill>
                  <a:srgbClr val="0070C0"/>
                </a:solidFill>
                <a:cs typeface="Times New Roman" pitchFamily="18" charset="0"/>
              </a:rPr>
              <a:t>28 млрд. </a:t>
            </a:r>
            <a:r>
              <a:rPr lang="ru-RU" sz="1400" b="1" i="1" dirty="0" err="1">
                <a:solidFill>
                  <a:srgbClr val="0070C0"/>
                </a:solidFill>
                <a:cs typeface="Times New Roman" pitchFamily="18" charset="0"/>
              </a:rPr>
              <a:t>тг</a:t>
            </a:r>
            <a:r>
              <a:rPr lang="ru-RU" sz="1400" b="1" i="1" dirty="0">
                <a:solidFill>
                  <a:srgbClr val="0070C0"/>
                </a:solidFill>
                <a:cs typeface="Times New Roman" pitchFamily="18" charset="0"/>
              </a:rPr>
              <a:t>.</a:t>
            </a:r>
            <a:endParaRPr lang="en-US" sz="1400" b="1" i="1" dirty="0">
              <a:solidFill>
                <a:srgbClr val="0070C0"/>
              </a:solidFill>
            </a:endParaRPr>
          </a:p>
          <a:p>
            <a:pPr>
              <a:buClr>
                <a:srgbClr val="000000"/>
              </a:buClr>
              <a:buSzPct val="25000"/>
              <a:defRPr/>
            </a:pPr>
            <a:r>
              <a:rPr lang="ru-RU" sz="1400" b="1" i="1" dirty="0">
                <a:solidFill>
                  <a:schemeClr val="tx1"/>
                </a:solidFill>
              </a:rPr>
              <a:t>Вознаграждение </a:t>
            </a:r>
            <a:endParaRPr lang="en-US" sz="1400" b="1" i="1" dirty="0">
              <a:solidFill>
                <a:schemeClr val="tx1"/>
              </a:solidFill>
            </a:endParaRPr>
          </a:p>
          <a:p>
            <a:pPr>
              <a:buClr>
                <a:srgbClr val="000000"/>
              </a:buClr>
              <a:buSzPct val="25000"/>
              <a:defRPr/>
            </a:pPr>
            <a:r>
              <a:rPr lang="ru-RU" sz="1400" b="1" i="1" dirty="0">
                <a:solidFill>
                  <a:schemeClr val="tx1"/>
                </a:solidFill>
              </a:rPr>
              <a:t>за управление проектом – </a:t>
            </a:r>
            <a:r>
              <a:rPr lang="ru-RU" sz="1400" b="1" i="1" dirty="0">
                <a:solidFill>
                  <a:srgbClr val="0070C0"/>
                </a:solidFill>
                <a:cs typeface="Times New Roman" pitchFamily="18" charset="0"/>
              </a:rPr>
              <a:t>302,6 млрд. </a:t>
            </a:r>
            <a:r>
              <a:rPr lang="ru-RU" sz="1400" b="1" i="1" dirty="0" err="1">
                <a:solidFill>
                  <a:srgbClr val="0070C0"/>
                </a:solidFill>
                <a:cs typeface="Times New Roman" pitchFamily="18" charset="0"/>
              </a:rPr>
              <a:t>тг</a:t>
            </a:r>
            <a:r>
              <a:rPr lang="ru-RU" sz="1400" b="1" i="1" dirty="0">
                <a:solidFill>
                  <a:schemeClr val="bg2"/>
                </a:solidFill>
                <a:cs typeface="Times New Roman" pitchFamily="18" charset="0"/>
              </a:rPr>
              <a:t>.</a:t>
            </a:r>
            <a:endParaRPr lang="ru-RU" sz="1400" b="1" dirty="0">
              <a:solidFill>
                <a:schemeClr val="bg2"/>
              </a:solidFill>
            </a:endParaRPr>
          </a:p>
          <a:p>
            <a:pPr>
              <a:buClr>
                <a:srgbClr val="000000"/>
              </a:buClr>
              <a:buSzPct val="25000"/>
              <a:defRPr/>
            </a:pPr>
            <a:r>
              <a:rPr lang="ru-RU" sz="1400" b="1" dirty="0">
                <a:solidFill>
                  <a:schemeClr val="tx1"/>
                </a:solidFill>
              </a:rPr>
              <a:t>Ожидаемый сбор платы за проезд:</a:t>
            </a:r>
          </a:p>
          <a:p>
            <a:pPr>
              <a:buClr>
                <a:srgbClr val="000000"/>
              </a:buClr>
              <a:buSzPct val="25000"/>
              <a:defRPr/>
            </a:pPr>
            <a:r>
              <a:rPr lang="ru-RU" sz="1400" b="1" dirty="0">
                <a:solidFill>
                  <a:schemeClr val="tx1"/>
                </a:solidFill>
              </a:rPr>
              <a:t>за 15,5 лет – </a:t>
            </a:r>
            <a:r>
              <a:rPr lang="ru-RU" sz="1400" b="1" dirty="0">
                <a:solidFill>
                  <a:srgbClr val="0070C0"/>
                </a:solidFill>
                <a:cs typeface="Times New Roman" pitchFamily="18" charset="0"/>
              </a:rPr>
              <a:t>231 </a:t>
            </a:r>
            <a:r>
              <a:rPr lang="ru-RU" sz="1400" b="1" dirty="0" err="1">
                <a:solidFill>
                  <a:srgbClr val="0070C0"/>
                </a:solidFill>
                <a:cs typeface="Times New Roman" pitchFamily="18" charset="0"/>
              </a:rPr>
              <a:t>млрд.тг</a:t>
            </a:r>
            <a:r>
              <a:rPr lang="ru-RU" sz="1400" b="1" dirty="0">
                <a:solidFill>
                  <a:srgbClr val="0070C0"/>
                </a:solidFill>
                <a:cs typeface="Times New Roman" pitchFamily="18" charset="0"/>
              </a:rPr>
              <a:t>.</a:t>
            </a:r>
          </a:p>
          <a:p>
            <a:pPr>
              <a:buClr>
                <a:srgbClr val="000000"/>
              </a:buClr>
              <a:buSzPct val="25000"/>
              <a:defRPr/>
            </a:pPr>
            <a:r>
              <a:rPr lang="ru-RU" sz="1400" b="1" dirty="0">
                <a:solidFill>
                  <a:schemeClr val="tx1"/>
                </a:solidFill>
              </a:rPr>
              <a:t>за 25,5 лет – </a:t>
            </a:r>
            <a:r>
              <a:rPr lang="ru-RU" sz="1400" b="1" dirty="0">
                <a:solidFill>
                  <a:srgbClr val="0070C0"/>
                </a:solidFill>
                <a:cs typeface="Times New Roman" pitchFamily="18" charset="0"/>
              </a:rPr>
              <a:t>570 </a:t>
            </a:r>
            <a:r>
              <a:rPr lang="ru-RU" sz="1400" b="1" dirty="0" err="1">
                <a:solidFill>
                  <a:srgbClr val="0070C0"/>
                </a:solidFill>
                <a:cs typeface="Times New Roman" pitchFamily="18" charset="0"/>
              </a:rPr>
              <a:t>млрд.тг</a:t>
            </a:r>
            <a:r>
              <a:rPr lang="ru-RU" sz="1400" b="1" dirty="0">
                <a:solidFill>
                  <a:srgbClr val="0070C0"/>
                </a:solidFill>
                <a:cs typeface="Times New Roman" pitchFamily="18" charset="0"/>
              </a:rPr>
              <a:t>.</a:t>
            </a:r>
          </a:p>
          <a:p>
            <a:pPr>
              <a:buClr>
                <a:srgbClr val="000000"/>
              </a:buClr>
              <a:buSzPct val="25000"/>
              <a:defRPr/>
            </a:pPr>
            <a:r>
              <a:rPr lang="ru-RU" sz="1400" b="1" i="1" dirty="0">
                <a:solidFill>
                  <a:schemeClr val="tx1"/>
                </a:solidFill>
                <a:cs typeface="Times New Roman" pitchFamily="18" charset="0"/>
              </a:rPr>
              <a:t>(будет поступать в РБ)</a:t>
            </a:r>
          </a:p>
        </p:txBody>
      </p:sp>
      <p:sp>
        <p:nvSpPr>
          <p:cNvPr id="21508" name="Прямоугольник 9"/>
          <p:cNvSpPr>
            <a:spLocks noChangeArrowheads="1"/>
          </p:cNvSpPr>
          <p:nvPr/>
        </p:nvSpPr>
        <p:spPr bwMode="auto">
          <a:xfrm>
            <a:off x="3175" y="12700"/>
            <a:ext cx="9131300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/>
          <a:p>
            <a:pPr algn="ctr">
              <a:lnSpc>
                <a:spcPct val="90000"/>
              </a:lnSpc>
            </a:pPr>
            <a:r>
              <a:rPr lang="ru-RU" altLang="ru-RU" b="1" dirty="0">
                <a:cs typeface="Times New Roman" pitchFamily="18" charset="0"/>
              </a:rPr>
              <a:t>Концессионный проект </a:t>
            </a:r>
            <a:r>
              <a:rPr lang="ru-RU" altLang="ru-RU" b="1" dirty="0" smtClean="0">
                <a:cs typeface="Times New Roman" pitchFamily="18" charset="0"/>
              </a:rPr>
              <a:t>«</a:t>
            </a:r>
            <a:r>
              <a:rPr lang="ru-RU" altLang="ru-RU" b="1" dirty="0">
                <a:cs typeface="Times New Roman" pitchFamily="18" charset="0"/>
              </a:rPr>
              <a:t>Строительство и эксплуатация </a:t>
            </a:r>
            <a:r>
              <a:rPr lang="ru-RU" b="1" dirty="0"/>
              <a:t>Большой </a:t>
            </a:r>
            <a:r>
              <a:rPr lang="ru-RU" b="1" dirty="0" err="1"/>
              <a:t>Алматинской</a:t>
            </a:r>
            <a:r>
              <a:rPr lang="ru-RU" b="1" dirty="0"/>
              <a:t> кольцевой автомобильной дороги</a:t>
            </a:r>
            <a:r>
              <a:rPr lang="ru-RU" altLang="ru-RU" b="1" dirty="0">
                <a:cs typeface="Times New Roman" pitchFamily="18" charset="0"/>
              </a:rPr>
              <a:t>»</a:t>
            </a:r>
          </a:p>
        </p:txBody>
      </p:sp>
      <p:cxnSp>
        <p:nvCxnSpPr>
          <p:cNvPr id="11" name="Shape 221"/>
          <p:cNvCxnSpPr/>
          <p:nvPr/>
        </p:nvCxnSpPr>
        <p:spPr>
          <a:xfrm>
            <a:off x="0" y="539750"/>
            <a:ext cx="9120188" cy="0"/>
          </a:xfrm>
          <a:prstGeom prst="straightConnector1">
            <a:avLst/>
          </a:prstGeom>
          <a:noFill/>
          <a:ln w="19050" cap="flat" cmpd="sng">
            <a:solidFill>
              <a:schemeClr val="accent5"/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13" name="Прямоугольник 12"/>
          <p:cNvSpPr/>
          <p:nvPr/>
        </p:nvSpPr>
        <p:spPr>
          <a:xfrm>
            <a:off x="79375" y="5019675"/>
            <a:ext cx="8967788" cy="1800225"/>
          </a:xfrm>
          <a:prstGeom prst="rect">
            <a:avLst/>
          </a:prstGeom>
          <a:noFill/>
          <a:ln w="12700"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400" b="1" dirty="0">
                <a:solidFill>
                  <a:srgbClr val="002060"/>
                </a:solidFill>
              </a:rPr>
              <a:t>7 февраля 2018 года заключен договор концессии с Консорциумом «</a:t>
            </a:r>
            <a:r>
              <a:rPr lang="ru-RU" sz="1400" b="1" dirty="0" err="1">
                <a:solidFill>
                  <a:srgbClr val="002060"/>
                </a:solidFill>
              </a:rPr>
              <a:t>Алсим</a:t>
            </a:r>
            <a:r>
              <a:rPr lang="ru-RU" sz="1400" b="1" dirty="0">
                <a:solidFill>
                  <a:srgbClr val="002060"/>
                </a:solidFill>
              </a:rPr>
              <a:t> </a:t>
            </a:r>
            <a:r>
              <a:rPr lang="ru-RU" sz="1400" b="1" dirty="0" err="1">
                <a:solidFill>
                  <a:srgbClr val="002060"/>
                </a:solidFill>
              </a:rPr>
              <a:t>Аларко</a:t>
            </a:r>
            <a:r>
              <a:rPr lang="ru-RU" sz="1400" b="1" dirty="0">
                <a:solidFill>
                  <a:srgbClr val="002060"/>
                </a:solidFill>
              </a:rPr>
              <a:t> (Турция) – </a:t>
            </a:r>
            <a:r>
              <a:rPr lang="ru-RU" sz="1400" b="1" dirty="0" err="1">
                <a:solidFill>
                  <a:srgbClr val="002060"/>
                </a:solidFill>
              </a:rPr>
              <a:t>Макйол</a:t>
            </a:r>
            <a:r>
              <a:rPr lang="ru-RU" sz="1400" b="1" dirty="0">
                <a:solidFill>
                  <a:srgbClr val="002060"/>
                </a:solidFill>
              </a:rPr>
              <a:t> (Турция) – СК (Корея) - Корея </a:t>
            </a:r>
            <a:r>
              <a:rPr lang="ru-RU" sz="1400" b="1" dirty="0" err="1">
                <a:solidFill>
                  <a:srgbClr val="002060"/>
                </a:solidFill>
              </a:rPr>
              <a:t>Экспрессвэй</a:t>
            </a:r>
            <a:r>
              <a:rPr lang="ru-RU" sz="1400" b="1" dirty="0">
                <a:solidFill>
                  <a:srgbClr val="002060"/>
                </a:solidFill>
              </a:rPr>
              <a:t> (Корея)»;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endParaRPr lang="ru-RU" sz="1100" b="1" dirty="0">
              <a:solidFill>
                <a:srgbClr val="002060"/>
              </a:solidFill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400" b="1" dirty="0">
                <a:solidFill>
                  <a:srgbClr val="002060"/>
                </a:solidFill>
              </a:rPr>
              <a:t>31 мая 2018 года – начата реализация проекта </a:t>
            </a:r>
            <a:r>
              <a:rPr lang="ru-RU" sz="1400" b="1" i="1" dirty="0">
                <a:solidFill>
                  <a:srgbClr val="002060"/>
                </a:solidFill>
              </a:rPr>
              <a:t>(строительство двух вахтовых городков, мобилизация техники и персонала, оформление карьеров, подготовка территории к строительно-монтажным работам)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endParaRPr lang="ru-RU" sz="1100" b="1" i="1" dirty="0">
              <a:solidFill>
                <a:srgbClr val="002060"/>
              </a:solidFill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400" b="1" dirty="0">
                <a:solidFill>
                  <a:srgbClr val="002060"/>
                </a:solidFill>
              </a:rPr>
              <a:t>Завершение строительства – 2021 год</a:t>
            </a:r>
          </a:p>
        </p:txBody>
      </p:sp>
      <p:sp>
        <p:nvSpPr>
          <p:cNvPr id="8" name="Номер слайда 14"/>
          <p:cNvSpPr>
            <a:spLocks noGrp="1"/>
          </p:cNvSpPr>
          <p:nvPr>
            <p:ph type="sldNum" sz="quarter" idx="10"/>
          </p:nvPr>
        </p:nvSpPr>
        <p:spPr>
          <a:xfrm>
            <a:off x="8631807" y="6520259"/>
            <a:ext cx="620713" cy="365125"/>
          </a:xfrm>
        </p:spPr>
        <p:txBody>
          <a:bodyPr/>
          <a:lstStyle/>
          <a:p>
            <a:pPr algn="ctr">
              <a:defRPr/>
            </a:pPr>
            <a:r>
              <a:rPr lang="kk-KZ" dirty="0" smtClean="0">
                <a:solidFill>
                  <a:schemeClr val="tx1"/>
                </a:solidFill>
                <a:latin typeface="Impact" pitchFamily="34" charset="0"/>
              </a:rPr>
              <a:t>7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840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/>
        </p:nvCxnSpPr>
        <p:spPr>
          <a:xfrm>
            <a:off x="0" y="620688"/>
            <a:ext cx="9144000" cy="158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/>
        </p:nvCxnSpPr>
        <p:spPr>
          <a:xfrm>
            <a:off x="2854039" y="698056"/>
            <a:ext cx="42668" cy="260518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35"/>
          <p:cNvSpPr>
            <a:spLocks noChangeArrowheads="1"/>
          </p:cNvSpPr>
          <p:nvPr/>
        </p:nvSpPr>
        <p:spPr bwMode="auto">
          <a:xfrm>
            <a:off x="286890" y="809462"/>
            <a:ext cx="2220089" cy="5475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35981" tIns="35981" rIns="35981" bIns="35981"/>
          <a:lstStyle/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ru-RU" sz="1400" dirty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В </a:t>
            </a:r>
            <a:r>
              <a:rPr lang="ru-RU" sz="14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2015 </a:t>
            </a:r>
            <a:r>
              <a:rPr lang="ru-RU" sz="1400" dirty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году </a:t>
            </a:r>
            <a:r>
              <a:rPr lang="ru-RU" sz="14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 отремонтировано 1 088 км </a:t>
            </a:r>
            <a:endParaRPr lang="ru-RU" sz="1400" dirty="0">
              <a:solidFill>
                <a:srgbClr val="1F497D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6" name="Rectangle 35"/>
          <p:cNvSpPr>
            <a:spLocks noChangeArrowheads="1"/>
          </p:cNvSpPr>
          <p:nvPr/>
        </p:nvSpPr>
        <p:spPr bwMode="auto">
          <a:xfrm>
            <a:off x="107504" y="1356964"/>
            <a:ext cx="2592288" cy="138245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35981" tIns="35981" rIns="35981" bIns="35981"/>
          <a:lstStyle/>
          <a:p>
            <a:pPr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endParaRPr lang="ru-RU" sz="1400" dirty="0">
              <a:solidFill>
                <a:srgbClr val="00B050"/>
              </a:solidFill>
              <a:latin typeface="Impact" pitchFamily="34" charset="0"/>
              <a:cs typeface="Arial" charset="0"/>
            </a:endParaRPr>
          </a:p>
          <a:p>
            <a:pPr marL="171450" indent="-171450"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Капитальный ремонт </a:t>
            </a:r>
            <a:r>
              <a:rPr lang="ru-RU" sz="1400" dirty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– </a:t>
            </a:r>
            <a:r>
              <a:rPr lang="ru-RU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104 </a:t>
            </a:r>
            <a:r>
              <a:rPr lang="ru-RU" sz="1400" dirty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км </a:t>
            </a:r>
            <a:endParaRPr lang="en-US" sz="1400" dirty="0">
              <a:solidFill>
                <a:srgbClr val="00B050"/>
              </a:solidFill>
              <a:latin typeface="Impact" pitchFamily="34" charset="0"/>
              <a:cs typeface="Arial" charset="0"/>
            </a:endParaRPr>
          </a:p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en-US" sz="1400" dirty="0">
                <a:solidFill>
                  <a:srgbClr val="0070C0"/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Impact" pitchFamily="34" charset="0"/>
                <a:cs typeface="Arial" charset="0"/>
              </a:rPr>
              <a:t>     </a:t>
            </a:r>
            <a:r>
              <a:rPr lang="ru-RU" sz="1400" dirty="0" smtClean="0">
                <a:solidFill>
                  <a:prstClr val="black"/>
                </a:solidFill>
                <a:cs typeface="Arial" charset="0"/>
              </a:rPr>
              <a:t>    </a:t>
            </a:r>
            <a:r>
              <a:rPr lang="en-US" sz="1400" dirty="0" smtClean="0">
                <a:solidFill>
                  <a:prstClr val="black"/>
                </a:solidFill>
                <a:cs typeface="Arial" charset="0"/>
              </a:rPr>
              <a:t> </a:t>
            </a:r>
            <a:endParaRPr lang="ru-RU" sz="1400" dirty="0">
              <a:solidFill>
                <a:prstClr val="black"/>
              </a:solidFill>
              <a:cs typeface="Arial" charset="0"/>
            </a:endParaRPr>
          </a:p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itchFamily="2" charset="2"/>
              <a:buChar char="ü"/>
            </a:pPr>
            <a:r>
              <a:rPr lang="en-US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 </a:t>
            </a:r>
            <a:r>
              <a:rPr lang="ru-RU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Средний ремонт– 984 </a:t>
            </a:r>
            <a:r>
              <a:rPr lang="ru-RU" sz="1400" dirty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км </a:t>
            </a:r>
            <a:endParaRPr lang="en-US" sz="1400" dirty="0" smtClean="0">
              <a:solidFill>
                <a:srgbClr val="00B050"/>
              </a:solidFill>
              <a:latin typeface="Impact" pitchFamily="34" charset="0"/>
              <a:cs typeface="Arial" charset="0"/>
            </a:endParaRPr>
          </a:p>
          <a:p>
            <a:pPr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en-US" sz="1400" dirty="0" smtClean="0">
                <a:solidFill>
                  <a:prstClr val="black"/>
                </a:solidFill>
                <a:cs typeface="Arial" charset="0"/>
              </a:rPr>
              <a:t>    </a:t>
            </a:r>
            <a:endParaRPr lang="ru-RU" sz="1400" dirty="0">
              <a:solidFill>
                <a:prstClr val="black"/>
              </a:solidFill>
              <a:cs typeface="Arial" charset="0"/>
            </a:endParaRPr>
          </a:p>
          <a:p>
            <a:pPr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itchFamily="2" charset="2"/>
              <a:buChar char="ü"/>
            </a:pPr>
            <a:endParaRPr lang="ru-RU" sz="1400" dirty="0">
              <a:solidFill>
                <a:srgbClr val="9BBB59">
                  <a:lumMod val="50000"/>
                </a:srgbClr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7" name="Rectangle 35"/>
          <p:cNvSpPr>
            <a:spLocks noChangeArrowheads="1"/>
          </p:cNvSpPr>
          <p:nvPr/>
        </p:nvSpPr>
        <p:spPr bwMode="auto">
          <a:xfrm>
            <a:off x="3468035" y="770645"/>
            <a:ext cx="2220089" cy="5475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35981" tIns="35981" rIns="35981" bIns="35981"/>
          <a:lstStyle/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ru-RU" sz="1400" dirty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В </a:t>
            </a:r>
            <a:r>
              <a:rPr lang="ru-RU" sz="14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2016 </a:t>
            </a:r>
            <a:r>
              <a:rPr lang="ru-RU" sz="1400" dirty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году </a:t>
            </a:r>
            <a:r>
              <a:rPr lang="ru-RU" sz="14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 отремонтировано 1 040 км </a:t>
            </a:r>
            <a:endParaRPr lang="ru-RU" sz="1400" dirty="0">
              <a:solidFill>
                <a:srgbClr val="1F497D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8" name="Rectangle 35"/>
          <p:cNvSpPr>
            <a:spLocks noChangeArrowheads="1"/>
          </p:cNvSpPr>
          <p:nvPr/>
        </p:nvSpPr>
        <p:spPr bwMode="auto">
          <a:xfrm>
            <a:off x="6609281" y="770645"/>
            <a:ext cx="2220089" cy="5475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35981" tIns="35981" rIns="35981" bIns="35981"/>
          <a:lstStyle/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ru-RU" sz="1400" dirty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В </a:t>
            </a:r>
            <a:r>
              <a:rPr lang="ru-RU" sz="14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2017 </a:t>
            </a:r>
            <a:r>
              <a:rPr lang="ru-RU" sz="1400" dirty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году </a:t>
            </a:r>
            <a:r>
              <a:rPr lang="ru-RU" sz="14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 отремонтировано 1 972 км </a:t>
            </a:r>
            <a:endParaRPr lang="ru-RU" sz="1400" dirty="0">
              <a:solidFill>
                <a:srgbClr val="1F497D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9" name="Rectangle 35"/>
          <p:cNvSpPr>
            <a:spLocks noChangeArrowheads="1"/>
          </p:cNvSpPr>
          <p:nvPr/>
        </p:nvSpPr>
        <p:spPr bwMode="auto">
          <a:xfrm>
            <a:off x="3261390" y="1348222"/>
            <a:ext cx="2563863" cy="138245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35981" tIns="35981" rIns="35981" bIns="35981"/>
          <a:lstStyle/>
          <a:p>
            <a:pPr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endParaRPr lang="ru-RU" sz="1400" dirty="0">
              <a:solidFill>
                <a:srgbClr val="00B050"/>
              </a:solidFill>
              <a:latin typeface="Impact" pitchFamily="34" charset="0"/>
              <a:cs typeface="Arial" charset="0"/>
            </a:endParaRPr>
          </a:p>
          <a:p>
            <a:pPr marL="171450" indent="-171450"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Капитальный ремонт </a:t>
            </a:r>
            <a:r>
              <a:rPr lang="ru-RU" sz="1400" dirty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– </a:t>
            </a:r>
            <a:r>
              <a:rPr lang="ru-RU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43 </a:t>
            </a:r>
            <a:r>
              <a:rPr lang="ru-RU" sz="1400" dirty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км </a:t>
            </a:r>
            <a:endParaRPr lang="en-US" sz="1400" dirty="0">
              <a:solidFill>
                <a:srgbClr val="00B050"/>
              </a:solidFill>
              <a:latin typeface="Impact" pitchFamily="34" charset="0"/>
              <a:cs typeface="Arial" charset="0"/>
            </a:endParaRPr>
          </a:p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en-US" sz="1400" dirty="0">
                <a:solidFill>
                  <a:srgbClr val="0070C0"/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Impact" pitchFamily="34" charset="0"/>
                <a:cs typeface="Arial" charset="0"/>
              </a:rPr>
              <a:t>     </a:t>
            </a:r>
            <a:r>
              <a:rPr lang="ru-RU" sz="1400" dirty="0" smtClean="0">
                <a:solidFill>
                  <a:prstClr val="black"/>
                </a:solidFill>
                <a:cs typeface="Arial" charset="0"/>
              </a:rPr>
              <a:t>    </a:t>
            </a:r>
            <a:r>
              <a:rPr lang="en-US" sz="1400" dirty="0" smtClean="0">
                <a:solidFill>
                  <a:prstClr val="black"/>
                </a:solidFill>
                <a:cs typeface="Arial" charset="0"/>
              </a:rPr>
              <a:t> </a:t>
            </a:r>
            <a:endParaRPr lang="ru-RU" sz="1400" dirty="0">
              <a:solidFill>
                <a:prstClr val="black"/>
              </a:solidFill>
              <a:cs typeface="Arial" charset="0"/>
            </a:endParaRPr>
          </a:p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itchFamily="2" charset="2"/>
              <a:buChar char="ü"/>
            </a:pPr>
            <a:r>
              <a:rPr lang="en-US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 </a:t>
            </a:r>
            <a:r>
              <a:rPr lang="ru-RU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Средний ремонт– 997 </a:t>
            </a:r>
            <a:r>
              <a:rPr lang="ru-RU" sz="1400" dirty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км </a:t>
            </a:r>
            <a:endParaRPr lang="en-US" sz="1400" dirty="0" smtClean="0">
              <a:solidFill>
                <a:srgbClr val="00B050"/>
              </a:solidFill>
              <a:latin typeface="Impact" pitchFamily="34" charset="0"/>
              <a:cs typeface="Arial" charset="0"/>
            </a:endParaRPr>
          </a:p>
          <a:p>
            <a:pPr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en-US" sz="1400" dirty="0" smtClean="0">
                <a:solidFill>
                  <a:prstClr val="black"/>
                </a:solidFill>
                <a:cs typeface="Arial" charset="0"/>
              </a:rPr>
              <a:t>    </a:t>
            </a:r>
            <a:endParaRPr lang="ru-RU" sz="1400" dirty="0">
              <a:solidFill>
                <a:prstClr val="black"/>
              </a:solidFill>
              <a:cs typeface="Arial" charset="0"/>
            </a:endParaRPr>
          </a:p>
          <a:p>
            <a:pPr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itchFamily="2" charset="2"/>
              <a:buChar char="ü"/>
            </a:pPr>
            <a:endParaRPr lang="ru-RU" sz="1400" dirty="0">
              <a:solidFill>
                <a:srgbClr val="9BBB59">
                  <a:lumMod val="50000"/>
                </a:srgbClr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10" name="Rectangle 35"/>
          <p:cNvSpPr>
            <a:spLocks noChangeArrowheads="1"/>
          </p:cNvSpPr>
          <p:nvPr/>
        </p:nvSpPr>
        <p:spPr bwMode="auto">
          <a:xfrm>
            <a:off x="6432906" y="1318147"/>
            <a:ext cx="2640873" cy="138245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35981" tIns="35981" rIns="35981" bIns="35981"/>
          <a:lstStyle/>
          <a:p>
            <a:pPr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endParaRPr lang="ru-RU" sz="1400" dirty="0">
              <a:solidFill>
                <a:srgbClr val="00B050"/>
              </a:solidFill>
              <a:latin typeface="Impact" pitchFamily="34" charset="0"/>
              <a:cs typeface="Arial" charset="0"/>
            </a:endParaRPr>
          </a:p>
          <a:p>
            <a:pPr marL="171450" indent="-171450"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Капитальный ремонт </a:t>
            </a:r>
            <a:r>
              <a:rPr lang="ru-RU" sz="1400" dirty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– </a:t>
            </a:r>
            <a:r>
              <a:rPr lang="ru-RU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140 </a:t>
            </a:r>
            <a:r>
              <a:rPr lang="ru-RU" sz="1400" dirty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км </a:t>
            </a:r>
            <a:endParaRPr lang="en-US" sz="1400" dirty="0">
              <a:solidFill>
                <a:srgbClr val="00B050"/>
              </a:solidFill>
              <a:latin typeface="Impact" pitchFamily="34" charset="0"/>
              <a:cs typeface="Arial" charset="0"/>
            </a:endParaRPr>
          </a:p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en-US" sz="1400" dirty="0">
                <a:solidFill>
                  <a:srgbClr val="0070C0"/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Impact" pitchFamily="34" charset="0"/>
                <a:cs typeface="Arial" charset="0"/>
              </a:rPr>
              <a:t>     </a:t>
            </a:r>
            <a:r>
              <a:rPr lang="ru-RU" sz="1400" dirty="0" smtClean="0">
                <a:solidFill>
                  <a:prstClr val="black"/>
                </a:solidFill>
                <a:cs typeface="Arial" charset="0"/>
              </a:rPr>
              <a:t>    </a:t>
            </a:r>
            <a:r>
              <a:rPr lang="en-US" sz="1400" dirty="0" smtClean="0">
                <a:solidFill>
                  <a:prstClr val="black"/>
                </a:solidFill>
                <a:cs typeface="Arial" charset="0"/>
              </a:rPr>
              <a:t> </a:t>
            </a:r>
            <a:endParaRPr lang="ru-RU" sz="1400" dirty="0">
              <a:solidFill>
                <a:prstClr val="black"/>
              </a:solidFill>
              <a:cs typeface="Arial" charset="0"/>
            </a:endParaRPr>
          </a:p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itchFamily="2" charset="2"/>
              <a:buChar char="ü"/>
            </a:pPr>
            <a:r>
              <a:rPr lang="en-US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 </a:t>
            </a:r>
            <a:r>
              <a:rPr lang="ru-RU" sz="1400" dirty="0" smtClean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Средний ремонт– 1 832 </a:t>
            </a:r>
            <a:r>
              <a:rPr lang="ru-RU" sz="1400" dirty="0">
                <a:solidFill>
                  <a:srgbClr val="00B050"/>
                </a:solidFill>
                <a:latin typeface="Impact" pitchFamily="34" charset="0"/>
                <a:cs typeface="Arial" charset="0"/>
              </a:rPr>
              <a:t>км </a:t>
            </a:r>
            <a:endParaRPr lang="en-US" sz="1400" dirty="0" smtClean="0">
              <a:solidFill>
                <a:srgbClr val="00B050"/>
              </a:solidFill>
              <a:latin typeface="Impact" pitchFamily="34" charset="0"/>
              <a:cs typeface="Arial" charset="0"/>
            </a:endParaRPr>
          </a:p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en-US" sz="1400" dirty="0" smtClean="0">
                <a:solidFill>
                  <a:prstClr val="black"/>
                </a:solidFill>
                <a:cs typeface="Arial" charset="0"/>
              </a:rPr>
              <a:t>    </a:t>
            </a:r>
            <a:endParaRPr lang="ru-RU" sz="1400" dirty="0">
              <a:solidFill>
                <a:prstClr val="black"/>
              </a:solidFill>
              <a:cs typeface="Arial" charset="0"/>
            </a:endParaRPr>
          </a:p>
          <a:p>
            <a:pPr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itchFamily="2" charset="2"/>
              <a:buChar char="ü"/>
            </a:pPr>
            <a:endParaRPr lang="ru-RU" sz="1400" dirty="0">
              <a:solidFill>
                <a:srgbClr val="9BBB59">
                  <a:lumMod val="50000"/>
                </a:srgbClr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11" name="Rectangle 35"/>
          <p:cNvSpPr>
            <a:spLocks noChangeArrowheads="1"/>
          </p:cNvSpPr>
          <p:nvPr/>
        </p:nvSpPr>
        <p:spPr bwMode="auto">
          <a:xfrm>
            <a:off x="115020" y="2737482"/>
            <a:ext cx="2220089" cy="5475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35981" tIns="35981" rIns="35981" bIns="35981"/>
          <a:lstStyle/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ru-RU" sz="1600" dirty="0">
                <a:solidFill>
                  <a:srgbClr val="0070C0"/>
                </a:solidFill>
                <a:latin typeface="Impact" pitchFamily="34" charset="0"/>
              </a:rPr>
              <a:t>Бюджет</a:t>
            </a:r>
            <a:r>
              <a:rPr lang="ru-RU" sz="16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 -  25 </a:t>
            </a:r>
            <a:r>
              <a:rPr lang="ru-RU" sz="1600" dirty="0" err="1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млрд.тг</a:t>
            </a:r>
            <a:endParaRPr lang="ru-RU" sz="1600" dirty="0">
              <a:solidFill>
                <a:srgbClr val="1F497D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12" name="Rectangle 35"/>
          <p:cNvSpPr>
            <a:spLocks noChangeArrowheads="1"/>
          </p:cNvSpPr>
          <p:nvPr/>
        </p:nvSpPr>
        <p:spPr bwMode="auto">
          <a:xfrm>
            <a:off x="3412316" y="2737482"/>
            <a:ext cx="2220089" cy="5475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35981" tIns="35981" rIns="35981" bIns="35981"/>
          <a:lstStyle/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ru-RU" sz="1600" dirty="0">
                <a:solidFill>
                  <a:srgbClr val="0070C0"/>
                </a:solidFill>
                <a:latin typeface="Impact" pitchFamily="34" charset="0"/>
              </a:rPr>
              <a:t>Бюджет</a:t>
            </a:r>
            <a:r>
              <a:rPr lang="ru-RU" sz="16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 </a:t>
            </a:r>
            <a:r>
              <a:rPr lang="ru-RU" sz="1600" dirty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- </a:t>
            </a:r>
            <a:r>
              <a:rPr lang="ru-RU" sz="16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26,4 </a:t>
            </a:r>
            <a:r>
              <a:rPr lang="ru-RU" sz="1600" dirty="0" err="1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млрд.тг</a:t>
            </a:r>
            <a:endParaRPr lang="ru-RU" sz="1600" dirty="0">
              <a:solidFill>
                <a:srgbClr val="1F497D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13" name="Rectangle 35"/>
          <p:cNvSpPr>
            <a:spLocks noChangeArrowheads="1"/>
          </p:cNvSpPr>
          <p:nvPr/>
        </p:nvSpPr>
        <p:spPr bwMode="auto">
          <a:xfrm>
            <a:off x="6518113" y="2700601"/>
            <a:ext cx="2220089" cy="5475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35981" tIns="35981" rIns="35981" bIns="35981"/>
          <a:lstStyle/>
          <a:p>
            <a:pPr algn="ctr" defTabSz="984250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ru-RU" sz="1600" dirty="0">
                <a:solidFill>
                  <a:srgbClr val="0070C0"/>
                </a:solidFill>
                <a:latin typeface="Impact" pitchFamily="34" charset="0"/>
              </a:rPr>
              <a:t>Бюджет</a:t>
            </a:r>
            <a:r>
              <a:rPr lang="ru-RU" sz="16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 </a:t>
            </a:r>
            <a:r>
              <a:rPr lang="ru-RU" sz="1600" dirty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- </a:t>
            </a:r>
            <a:r>
              <a:rPr lang="ru-RU" sz="1600" dirty="0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51,8 </a:t>
            </a:r>
            <a:r>
              <a:rPr lang="ru-RU" sz="1600" dirty="0" err="1" smtClean="0">
                <a:solidFill>
                  <a:srgbClr val="1F497D"/>
                </a:solidFill>
                <a:latin typeface="Impact" pitchFamily="34" charset="0"/>
                <a:cs typeface="Arial" charset="0"/>
              </a:rPr>
              <a:t>млрд.тг</a:t>
            </a:r>
            <a:endParaRPr lang="ru-RU" sz="1600" dirty="0">
              <a:solidFill>
                <a:srgbClr val="1F497D"/>
              </a:solidFill>
              <a:latin typeface="Impact" pitchFamily="34" charset="0"/>
              <a:cs typeface="Arial" charset="0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6168398" y="698056"/>
            <a:ext cx="35335" cy="255004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9"/>
          <p:cNvSpPr txBox="1">
            <a:spLocks noChangeArrowheads="1"/>
          </p:cNvSpPr>
          <p:nvPr/>
        </p:nvSpPr>
        <p:spPr bwMode="auto">
          <a:xfrm>
            <a:off x="916910" y="4466139"/>
            <a:ext cx="7849568" cy="996033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9525">
            <a:noFill/>
            <a:miter lim="800000"/>
            <a:headEnd/>
            <a:tailEnd/>
          </a:ln>
        </p:spPr>
        <p:txBody>
          <a:bodyPr wrap="square" lIns="72000" tIns="36000" rIns="72000" bIns="36000">
            <a:spAutoFit/>
          </a:bodyPr>
          <a:lstStyle/>
          <a:p>
            <a:pPr marL="228600" indent="-228600" algn="ctr" eaLnBrk="1" hangingPunct="1">
              <a:defRPr/>
            </a:pPr>
            <a:r>
              <a:rPr lang="ru-RU" altLang="ru-RU" kern="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Охват капитальным ремонтом – </a:t>
            </a:r>
            <a:r>
              <a:rPr lang="ru-RU" altLang="ru-RU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181 км</a:t>
            </a:r>
          </a:p>
          <a:p>
            <a:pPr marL="228600" indent="-228600" algn="ctr" eaLnBrk="1" hangingPunct="1">
              <a:defRPr/>
            </a:pPr>
            <a:r>
              <a:rPr lang="ru-RU" altLang="ru-RU" sz="2000" kern="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 </a:t>
            </a:r>
            <a:r>
              <a:rPr lang="ru-RU" altLang="ru-RU" kern="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из них ввод в эксплуатацию </a:t>
            </a:r>
            <a:r>
              <a:rPr lang="ru-RU" altLang="ru-RU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99 км</a:t>
            </a:r>
          </a:p>
          <a:p>
            <a:pPr marL="228600" indent="-228600" algn="ctr" eaLnBrk="1" hangingPunct="1">
              <a:defRPr/>
            </a:pPr>
            <a:endParaRPr lang="ru-RU" altLang="ru-RU" sz="200" kern="0" dirty="0" smtClean="0">
              <a:solidFill>
                <a:srgbClr val="C00000"/>
              </a:solidFill>
              <a:latin typeface="Impact" pitchFamily="34" charset="0"/>
              <a:ea typeface="MS PGothic"/>
              <a:cs typeface="Arial" pitchFamily="34" charset="0"/>
            </a:endParaRPr>
          </a:p>
          <a:p>
            <a:pPr marL="228600" indent="-228600" algn="ctr">
              <a:defRPr/>
            </a:pPr>
            <a:r>
              <a:rPr lang="ru-RU" altLang="ru-RU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 </a:t>
            </a:r>
            <a:r>
              <a:rPr lang="ru-RU" altLang="ru-RU" kern="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Выделено</a:t>
            </a:r>
            <a:r>
              <a:rPr lang="ru-RU" altLang="ru-RU" sz="2000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 </a:t>
            </a:r>
            <a:r>
              <a:rPr lang="ru-RU" altLang="ru-RU" sz="2000" kern="0" dirty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 – </a:t>
            </a:r>
            <a:r>
              <a:rPr lang="ru-RU" altLang="ru-RU" sz="2000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 </a:t>
            </a:r>
            <a:r>
              <a:rPr lang="ru-RU" altLang="ru-RU" sz="2000" kern="0" dirty="0" smtClean="0">
                <a:solidFill>
                  <a:srgbClr val="0066FF"/>
                </a:solidFill>
                <a:latin typeface="Impact" pitchFamily="34" charset="0"/>
                <a:ea typeface="MS PGothic"/>
                <a:cs typeface="Arial" pitchFamily="34" charset="0"/>
              </a:rPr>
              <a:t>13,7 </a:t>
            </a:r>
            <a:r>
              <a:rPr lang="ru-RU" altLang="ru-RU" sz="2000" kern="0" dirty="0">
                <a:solidFill>
                  <a:srgbClr val="0066FF"/>
                </a:solidFill>
                <a:latin typeface="Impact" pitchFamily="34" charset="0"/>
                <a:ea typeface="MS PGothic"/>
                <a:cs typeface="Arial" pitchFamily="34" charset="0"/>
              </a:rPr>
              <a:t>млрд. тенге </a:t>
            </a:r>
            <a:endParaRPr lang="ru-RU" altLang="ru-RU" kern="0" dirty="0">
              <a:solidFill>
                <a:srgbClr val="0066FF"/>
              </a:solidFill>
              <a:latin typeface="Impact" pitchFamily="34" charset="0"/>
              <a:ea typeface="MS PGothic"/>
              <a:cs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2721186" y="3896530"/>
            <a:ext cx="4267688" cy="475318"/>
          </a:xfrm>
          <a:prstGeom prst="roundRect">
            <a:avLst>
              <a:gd name="adj" fmla="val 40776"/>
            </a:avLst>
          </a:prstGeom>
          <a:solidFill>
            <a:schemeClr val="bg1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587" tIns="10794" rIns="21587" bIns="10794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70C0"/>
                </a:solidFill>
                <a:latin typeface="Impact" pitchFamily="34" charset="0"/>
              </a:rPr>
              <a:t>Бюджет</a:t>
            </a:r>
            <a:r>
              <a:rPr lang="en-US" dirty="0">
                <a:solidFill>
                  <a:srgbClr val="0070C0"/>
                </a:solidFill>
                <a:latin typeface="Impact" pitchFamily="34" charset="0"/>
              </a:rPr>
              <a:t> </a:t>
            </a:r>
            <a:r>
              <a:rPr lang="ru-RU" dirty="0" smtClean="0">
                <a:solidFill>
                  <a:srgbClr val="0070C0"/>
                </a:solidFill>
                <a:latin typeface="Impact" pitchFamily="34" charset="0"/>
              </a:rPr>
              <a:t> 2018 года – </a:t>
            </a:r>
            <a:r>
              <a:rPr lang="ru-RU" sz="2000" dirty="0" smtClean="0">
                <a:solidFill>
                  <a:srgbClr val="FF0000"/>
                </a:solidFill>
                <a:latin typeface="Impact" pitchFamily="34" charset="0"/>
              </a:rPr>
              <a:t>77,9 </a:t>
            </a:r>
            <a:r>
              <a:rPr lang="ru-RU" sz="2000" dirty="0">
                <a:solidFill>
                  <a:srgbClr val="FF0000"/>
                </a:solidFill>
                <a:latin typeface="Impact" pitchFamily="34" charset="0"/>
              </a:rPr>
              <a:t>млрд. тенге</a:t>
            </a:r>
            <a:endParaRPr lang="ru-RU" dirty="0">
              <a:solidFill>
                <a:schemeClr val="tx2">
                  <a:lumMod val="60000"/>
                  <a:lumOff val="40000"/>
                </a:schemeClr>
              </a:solidFill>
              <a:latin typeface="Impact" pitchFamily="34" charset="0"/>
            </a:endParaRPr>
          </a:p>
        </p:txBody>
      </p:sp>
      <p:sp>
        <p:nvSpPr>
          <p:cNvPr id="19" name="Заголовок 1"/>
          <p:cNvSpPr>
            <a:spLocks/>
          </p:cNvSpPr>
          <p:nvPr/>
        </p:nvSpPr>
        <p:spPr bwMode="auto">
          <a:xfrm>
            <a:off x="107503" y="140042"/>
            <a:ext cx="8966275" cy="3600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5783" tIns="47891" rIns="95783" bIns="47891" anchor="ctr"/>
          <a:lstStyle/>
          <a:p>
            <a:pPr algn="ctr" defTabSz="957263" eaLnBrk="0" hangingPunct="0"/>
            <a:r>
              <a:rPr lang="ru-RU" altLang="ru-RU" dirty="0" smtClean="0">
                <a:latin typeface="Impact" pitchFamily="34" charset="0"/>
              </a:rPr>
              <a:t>Капитальный и средний ремонт автомобильных дорогах республиканского значения</a:t>
            </a:r>
          </a:p>
        </p:txBody>
      </p:sp>
      <p:sp>
        <p:nvSpPr>
          <p:cNvPr id="21" name="Номер слайда 14"/>
          <p:cNvSpPr txBox="1">
            <a:spLocks/>
          </p:cNvSpPr>
          <p:nvPr/>
        </p:nvSpPr>
        <p:spPr>
          <a:xfrm>
            <a:off x="8631807" y="6520259"/>
            <a:ext cx="6207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  <a:latin typeface="Impact" pitchFamily="34" charset="0"/>
              </a:rPr>
              <a:t>8</a:t>
            </a:r>
            <a:endParaRPr lang="ru-RU" dirty="0">
              <a:solidFill>
                <a:schemeClr val="tx1"/>
              </a:solidFill>
              <a:latin typeface="Impact" pitchFamily="34" charset="0"/>
            </a:endParaRPr>
          </a:p>
        </p:txBody>
      </p:sp>
      <p:sp>
        <p:nvSpPr>
          <p:cNvPr id="22" name="Пятиугольник 21"/>
          <p:cNvSpPr/>
          <p:nvPr/>
        </p:nvSpPr>
        <p:spPr bwMode="auto">
          <a:xfrm>
            <a:off x="1007528" y="3381168"/>
            <a:ext cx="7758950" cy="464841"/>
          </a:xfrm>
          <a:prstGeom prst="homePlate">
            <a:avLst>
              <a:gd name="adj" fmla="val 31617"/>
            </a:avLst>
          </a:prstGeom>
          <a:solidFill>
            <a:schemeClr val="tx1">
              <a:lumMod val="65000"/>
              <a:lumOff val="35000"/>
            </a:schemeClr>
          </a:solidFill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just" eaLnBrk="0" hangingPunct="0"/>
            <a:endParaRPr lang="ru-RU" sz="2133" dirty="0">
              <a:solidFill>
                <a:schemeClr val="tx1"/>
              </a:solidFill>
              <a:latin typeface="Calibri" pitchFamily="34" charset="0"/>
            </a:endParaRPr>
          </a:p>
        </p:txBody>
      </p:sp>
      <p:cxnSp>
        <p:nvCxnSpPr>
          <p:cNvPr id="23" name="Прямая соединительная линия 22"/>
          <p:cNvCxnSpPr>
            <a:endCxn id="22" idx="3"/>
          </p:cNvCxnSpPr>
          <p:nvPr/>
        </p:nvCxnSpPr>
        <p:spPr>
          <a:xfrm flipV="1">
            <a:off x="1139080" y="3613589"/>
            <a:ext cx="7627398" cy="25166"/>
          </a:xfrm>
          <a:prstGeom prst="line">
            <a:avLst/>
          </a:prstGeom>
          <a:ln w="19050"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68" descr="E:\! WORK\For prezentations\Build\road_work_ahead_256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402" y="3039836"/>
            <a:ext cx="1340392" cy="109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9"/>
          <p:cNvSpPr txBox="1">
            <a:spLocks noChangeArrowheads="1"/>
          </p:cNvSpPr>
          <p:nvPr/>
        </p:nvSpPr>
        <p:spPr bwMode="auto">
          <a:xfrm>
            <a:off x="-104" y="5516746"/>
            <a:ext cx="9144000" cy="934478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9525">
            <a:noFill/>
            <a:miter lim="800000"/>
            <a:headEnd/>
            <a:tailEnd/>
          </a:ln>
        </p:spPr>
        <p:txBody>
          <a:bodyPr wrap="square" lIns="72000" tIns="36000" rIns="72000" bIns="36000">
            <a:spAutoFit/>
          </a:bodyPr>
          <a:lstStyle/>
          <a:p>
            <a:pPr marL="228600" indent="-228600" algn="ctr">
              <a:defRPr/>
            </a:pPr>
            <a:r>
              <a:rPr lang="ru-RU" altLang="ru-RU" kern="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 Охват средним ремонтом – </a:t>
            </a:r>
            <a:r>
              <a:rPr lang="ru-RU" altLang="ru-RU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1 620 км</a:t>
            </a:r>
          </a:p>
          <a:p>
            <a:pPr marL="228600" indent="-228600" algn="ctr">
              <a:defRPr/>
            </a:pPr>
            <a:r>
              <a:rPr lang="ru-RU" altLang="ru-RU" sz="1600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 </a:t>
            </a:r>
            <a:r>
              <a:rPr lang="ru-RU" altLang="ru-RU" sz="1400" i="1" kern="0" dirty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из них по технологии ресайклинга – </a:t>
            </a:r>
            <a:r>
              <a:rPr lang="ru-RU" altLang="ru-RU" sz="1400" i="1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650 </a:t>
            </a:r>
            <a:r>
              <a:rPr lang="ru-RU" altLang="ru-RU" sz="1400" i="1" kern="0" dirty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км</a:t>
            </a:r>
            <a:r>
              <a:rPr lang="ru-RU" altLang="ru-RU" sz="1400" i="1" kern="0" dirty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, по технологии ШПО – </a:t>
            </a:r>
            <a:r>
              <a:rPr lang="ru-RU" altLang="ru-RU" sz="1400" i="1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491 </a:t>
            </a:r>
            <a:r>
              <a:rPr lang="ru-RU" altLang="ru-RU" sz="1400" i="1" kern="0" dirty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км</a:t>
            </a:r>
            <a:r>
              <a:rPr lang="ru-RU" altLang="ru-RU" sz="1400" i="1" kern="0" dirty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, по </a:t>
            </a:r>
            <a:r>
              <a:rPr lang="ru-RU" altLang="ru-RU" sz="1400" i="1" kern="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устройству </a:t>
            </a:r>
            <a:r>
              <a:rPr lang="ru-RU" altLang="ru-RU" sz="1400" i="1" kern="0" dirty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покрытия– </a:t>
            </a:r>
            <a:r>
              <a:rPr lang="ru-RU" altLang="ru-RU" sz="1400" i="1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479 км</a:t>
            </a:r>
            <a:r>
              <a:rPr lang="ru-RU" altLang="ru-RU" sz="1600" kern="0" dirty="0" smtClean="0">
                <a:solidFill>
                  <a:srgbClr val="C00000"/>
                </a:solidFill>
                <a:latin typeface="Impact" pitchFamily="34" charset="0"/>
                <a:ea typeface="MS PGothic"/>
                <a:cs typeface="Arial" pitchFamily="34" charset="0"/>
              </a:rPr>
              <a:t> </a:t>
            </a:r>
          </a:p>
          <a:p>
            <a:pPr marL="228600" indent="-228600" algn="ctr">
              <a:defRPr/>
            </a:pPr>
            <a:r>
              <a:rPr lang="ru-RU" altLang="ru-RU" kern="0" dirty="0" smtClean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Выделено </a:t>
            </a:r>
            <a:r>
              <a:rPr lang="ru-RU" altLang="ru-RU" kern="0" dirty="0">
                <a:solidFill>
                  <a:srgbClr val="002060"/>
                </a:solidFill>
                <a:latin typeface="Impact" pitchFamily="34" charset="0"/>
                <a:ea typeface="MS PGothic"/>
                <a:cs typeface="Arial" pitchFamily="34" charset="0"/>
              </a:rPr>
              <a:t> –  </a:t>
            </a:r>
            <a:r>
              <a:rPr lang="ru-RU" altLang="ru-RU" sz="2000" kern="0" dirty="0" smtClean="0">
                <a:solidFill>
                  <a:srgbClr val="0066FF"/>
                </a:solidFill>
                <a:latin typeface="Impact" pitchFamily="34" charset="0"/>
                <a:ea typeface="MS PGothic"/>
                <a:cs typeface="Arial" pitchFamily="34" charset="0"/>
              </a:rPr>
              <a:t>38,9 </a:t>
            </a:r>
            <a:r>
              <a:rPr lang="ru-RU" altLang="ru-RU" sz="2000" kern="0" dirty="0">
                <a:solidFill>
                  <a:srgbClr val="0066FF"/>
                </a:solidFill>
                <a:latin typeface="Impact" pitchFamily="34" charset="0"/>
                <a:ea typeface="MS PGothic"/>
                <a:cs typeface="Arial" pitchFamily="34" charset="0"/>
              </a:rPr>
              <a:t>млрд. тенге </a:t>
            </a:r>
            <a:endParaRPr lang="ru-RU" altLang="ru-RU" kern="0" dirty="0">
              <a:solidFill>
                <a:srgbClr val="0066FF"/>
              </a:solidFill>
              <a:latin typeface="Impact" pitchFamily="34" charset="0"/>
              <a:ea typeface="MS PGothic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58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e9UyhHxEGfuaie.oh_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e9UyhHxEGfuaie.oh_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e9UyhHxEGfuaie.oh_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e9UyhHxEGfuaie.oh_c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34</TotalTime>
  <Words>2102</Words>
  <Application>Microsoft Office PowerPoint</Application>
  <PresentationFormat>Экран (4:3)</PresentationFormat>
  <Paragraphs>525</Paragraphs>
  <Slides>15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5</vt:i4>
      </vt:variant>
    </vt:vector>
  </HeadingPairs>
  <TitlesOfParts>
    <vt:vector size="19" baseType="lpstr">
      <vt:lpstr>Тема Office</vt:lpstr>
      <vt:lpstr>Лист</vt:lpstr>
      <vt:lpstr>Диаграмма Microsoft Excel</vt:lpstr>
      <vt:lpstr>Visio</vt:lpstr>
      <vt:lpstr> «Нұрлы жол» инфрақұрылымды дамытудың 2015 – 2019 жылдарға арналған мемлекеттік бағдарламасы шеңберінде автомобиль жолдарын дамыту»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Дастан Рамазанов</dc:creator>
  <cp:lastModifiedBy>Асылбек Шалибеков</cp:lastModifiedBy>
  <cp:revision>312</cp:revision>
  <cp:lastPrinted>2018-09-06T14:41:42Z</cp:lastPrinted>
  <dcterms:modified xsi:type="dcterms:W3CDTF">2018-09-10T03:00:58Z</dcterms:modified>
</cp:coreProperties>
</file>